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4"/>
  </p:notesMasterIdLst>
  <p:handoutMasterIdLst>
    <p:handoutMasterId r:id="rId35"/>
  </p:handoutMasterIdLst>
  <p:sldIdLst>
    <p:sldId id="256" r:id="rId2"/>
    <p:sldId id="274" r:id="rId3"/>
    <p:sldId id="258" r:id="rId4"/>
    <p:sldId id="285" r:id="rId5"/>
    <p:sldId id="286" r:id="rId6"/>
    <p:sldId id="287" r:id="rId7"/>
    <p:sldId id="288" r:id="rId8"/>
    <p:sldId id="289" r:id="rId9"/>
    <p:sldId id="270" r:id="rId10"/>
    <p:sldId id="275" r:id="rId11"/>
    <p:sldId id="276" r:id="rId12"/>
    <p:sldId id="277" r:id="rId13"/>
    <p:sldId id="278" r:id="rId14"/>
    <p:sldId id="279" r:id="rId15"/>
    <p:sldId id="271" r:id="rId16"/>
    <p:sldId id="280" r:id="rId17"/>
    <p:sldId id="281" r:id="rId18"/>
    <p:sldId id="282" r:id="rId19"/>
    <p:sldId id="283" r:id="rId20"/>
    <p:sldId id="284" r:id="rId21"/>
    <p:sldId id="272" r:id="rId22"/>
    <p:sldId id="295" r:id="rId23"/>
    <p:sldId id="296" r:id="rId24"/>
    <p:sldId id="297" r:id="rId25"/>
    <p:sldId id="298" r:id="rId26"/>
    <p:sldId id="294" r:id="rId27"/>
    <p:sldId id="273" r:id="rId28"/>
    <p:sldId id="290" r:id="rId29"/>
    <p:sldId id="291" r:id="rId30"/>
    <p:sldId id="292" r:id="rId31"/>
    <p:sldId id="293" r:id="rId32"/>
    <p:sldId id="261" r:id="rId33"/>
  </p:sldIdLst>
  <p:sldSz cx="12192000" cy="6858000"/>
  <p:notesSz cx="6858000" cy="9144000"/>
  <p:custDataLst>
    <p:tags r:id="rId3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ABB3"/>
    <a:srgbClr val="E6E6E6"/>
    <a:srgbClr val="FAB534"/>
    <a:srgbClr val="FFDA93"/>
    <a:srgbClr val="A20000"/>
    <a:srgbClr val="A40000"/>
    <a:srgbClr val="9E0000"/>
    <a:srgbClr val="C7450B"/>
    <a:srgbClr val="E24E0C"/>
    <a:srgbClr val="DC61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440" autoAdjust="0"/>
    <p:restoredTop sz="96201" autoAdjust="0"/>
  </p:normalViewPr>
  <p:slideViewPr>
    <p:cSldViewPr snapToGrid="0">
      <p:cViewPr varScale="1">
        <p:scale>
          <a:sx n="91" d="100"/>
          <a:sy n="91" d="100"/>
        </p:scale>
        <p:origin x="68" y="2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199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A8390C06-8B84-4AE8-AD4F-7BAD10A6431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00C346-5F78-4EF7-9FF6-89BD317363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B076D3-E097-4D3E-89C8-FC671BBB14DD}" type="datetimeFigureOut">
              <a:rPr lang="zh-CN" altLang="en-US" smtClean="0"/>
              <a:t>2022/9/1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B484F306-7717-4CC6-8DA0-F7804626ADA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5F7E19F3-6DBF-4473-A668-F8308E4F164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3344263-BEEF-4DFF-AF79-EE4CD985464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766965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9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:a16="http://schemas.microsoft.com/office/drawing/2014/main" id="{D79CBCB7-444E-4E8F-B59D-6445B76A86DE}"/>
              </a:ext>
            </a:extLst>
          </p:cNvPr>
          <p:cNvSpPr/>
          <p:nvPr userDrawn="1"/>
        </p:nvSpPr>
        <p:spPr>
          <a:xfrm>
            <a:off x="6295436" y="983795"/>
            <a:ext cx="4919967" cy="4288670"/>
          </a:xfrm>
          <a:prstGeom prst="rect">
            <a:avLst/>
          </a:prstGeom>
          <a:noFill/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8749D8FD-CBE5-4071-B6AF-E9021C278B03}"/>
              </a:ext>
            </a:extLst>
          </p:cNvPr>
          <p:cNvSpPr/>
          <p:nvPr userDrawn="1"/>
        </p:nvSpPr>
        <p:spPr>
          <a:xfrm>
            <a:off x="6600521" y="1284665"/>
            <a:ext cx="4919967" cy="428867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976596" y="1565789"/>
            <a:ext cx="5866380" cy="1397868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21" name="副标题 220">
            <a:extLst>
              <a:ext uri="{FF2B5EF4-FFF2-40B4-BE49-F238E27FC236}">
                <a16:creationId xmlns:a16="http://schemas.microsoft.com/office/drawing/2014/main" id="{6364D9E1-C49E-4007-9CCB-7FE1C62C5535}"/>
              </a:ext>
            </a:extLst>
          </p:cNvPr>
          <p:cNvSpPr>
            <a:spLocks noGrp="1"/>
          </p:cNvSpPr>
          <p:nvPr userDrawn="1">
            <p:ph type="subTitle" idx="1"/>
          </p:nvPr>
        </p:nvSpPr>
        <p:spPr>
          <a:xfrm>
            <a:off x="975848" y="2981279"/>
            <a:ext cx="5866380" cy="558799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9" name="文本占位符 118">
            <a:extLst>
              <a:ext uri="{FF2B5EF4-FFF2-40B4-BE49-F238E27FC236}">
                <a16:creationId xmlns:a16="http://schemas.microsoft.com/office/drawing/2014/main" id="{0A2D9ACF-06F0-45E1-A8D6-DD67D4EA4CD5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75847" y="4862556"/>
            <a:ext cx="5866381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8" name="文本占位符 17">
            <a:extLst>
              <a:ext uri="{FF2B5EF4-FFF2-40B4-BE49-F238E27FC236}">
                <a16:creationId xmlns:a16="http://schemas.microsoft.com/office/drawing/2014/main" id="{40B0C5AF-5B56-4850-B9E8-B1501536E965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975846" y="4469861"/>
            <a:ext cx="2338853" cy="296271"/>
          </a:xfrm>
          <a:prstGeom prst="roundRect">
            <a:avLst>
              <a:gd name="adj" fmla="val 0"/>
            </a:avLst>
          </a:prstGeom>
          <a:solidFill>
            <a:schemeClr val="accent1"/>
          </a:solidFill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885024" y="2245979"/>
            <a:ext cx="5029982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886140" y="3141329"/>
            <a:ext cx="5029982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DD643707-A1AD-49E3-8E29-65E9D2A4D133}"/>
              </a:ext>
            </a:extLst>
          </p:cNvPr>
          <p:cNvSpPr/>
          <p:nvPr userDrawn="1"/>
        </p:nvSpPr>
        <p:spPr>
          <a:xfrm>
            <a:off x="1114425" y="1447282"/>
            <a:ext cx="3890639" cy="3391418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7F7D7B5-A2A6-4EF4-AC76-246810E968B1}"/>
              </a:ext>
            </a:extLst>
          </p:cNvPr>
          <p:cNvSpPr/>
          <p:nvPr userDrawn="1"/>
        </p:nvSpPr>
        <p:spPr>
          <a:xfrm>
            <a:off x="2949140" y="2202058"/>
            <a:ext cx="2562659" cy="1938142"/>
          </a:xfrm>
          <a:prstGeom prst="rect">
            <a:avLst/>
          </a:prstGeom>
          <a:noFill/>
          <a:ln w="762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2/9/1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OfficePLUS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2/9/1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/>
              <a:t>OfficePLUS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697194" y="1971117"/>
            <a:ext cx="4823293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697194" y="4453072"/>
            <a:ext cx="4823293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7195" y="4156801"/>
            <a:ext cx="4823293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grpSp>
        <p:nvGrpSpPr>
          <p:cNvPr id="3" name="组合 2">
            <a:extLst>
              <a:ext uri="{FF2B5EF4-FFF2-40B4-BE49-F238E27FC236}">
                <a16:creationId xmlns:a16="http://schemas.microsoft.com/office/drawing/2014/main" id="{CD0F5EF3-F208-4488-BEB7-2C499D32260C}"/>
              </a:ext>
            </a:extLst>
          </p:cNvPr>
          <p:cNvGrpSpPr/>
          <p:nvPr userDrawn="1"/>
        </p:nvGrpSpPr>
        <p:grpSpPr>
          <a:xfrm>
            <a:off x="870948" y="1028700"/>
            <a:ext cx="5225052" cy="4589540"/>
            <a:chOff x="6295436" y="727830"/>
            <a:chExt cx="5225052" cy="4589540"/>
          </a:xfrm>
        </p:grpSpPr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7442C3DA-6B0C-4A24-B1F6-B0831DA2AE6E}"/>
                </a:ext>
              </a:extLst>
            </p:cNvPr>
            <p:cNvSpPr/>
            <p:nvPr userDrawn="1"/>
          </p:nvSpPr>
          <p:spPr>
            <a:xfrm>
              <a:off x="6295436" y="727830"/>
              <a:ext cx="4919967" cy="4288670"/>
            </a:xfrm>
            <a:prstGeom prst="rect">
              <a:avLst/>
            </a:prstGeom>
            <a:noFill/>
            <a:ln w="762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A56C09AC-96EA-4746-9CAA-B8FE1D3FA539}"/>
                </a:ext>
              </a:extLst>
            </p:cNvPr>
            <p:cNvSpPr/>
            <p:nvPr userDrawn="1"/>
          </p:nvSpPr>
          <p:spPr>
            <a:xfrm>
              <a:off x="6600521" y="1028700"/>
              <a:ext cx="4919967" cy="4288670"/>
            </a:xfrm>
            <a:prstGeom prst="rect">
              <a:avLst/>
            </a:prstGeom>
            <a:blipFill>
              <a:blip r:embed="rId2"/>
              <a:stretch>
                <a:fillRect/>
              </a:stretch>
            </a:blip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2/9/13</a:t>
            </a:fld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OfficePLUS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7.xml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/>
              <a:t>简约简洁风主题模板</a:t>
            </a: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/>
              <a:t>Subtitle here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en-US" dirty="0"/>
              <a:t>Designed by OfficePLUS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Speaker name and title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62F1114-FFF8-4A5E-9C31-3405ACF8C3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803F837-7277-4340-B526-E059335261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011B48B-DC6E-49A1-B433-E3A8C70402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p:sp>
        <p:nvSpPr>
          <p:cNvPr id="96" name="任意多边形: 形状 95">
            <a:extLst>
              <a:ext uri="{FF2B5EF4-FFF2-40B4-BE49-F238E27FC236}">
                <a16:creationId xmlns:a16="http://schemas.microsoft.com/office/drawing/2014/main" id="{6D18DDB3-CB9C-4669-A95B-3C5306CCD0CB}"/>
              </a:ext>
            </a:extLst>
          </p:cNvPr>
          <p:cNvSpPr/>
          <p:nvPr/>
        </p:nvSpPr>
        <p:spPr bwMode="auto">
          <a:xfrm>
            <a:off x="5847923" y="1572975"/>
            <a:ext cx="1197193" cy="1271854"/>
          </a:xfrm>
          <a:custGeom>
            <a:avLst/>
            <a:gdLst>
              <a:gd name="T0" fmla="*/ 163 w 270"/>
              <a:gd name="T1" fmla="*/ 37 h 287"/>
              <a:gd name="T2" fmla="*/ 227 w 270"/>
              <a:gd name="T3" fmla="*/ 267 h 287"/>
              <a:gd name="T4" fmla="*/ 245 w 270"/>
              <a:gd name="T5" fmla="*/ 278 h 287"/>
              <a:gd name="T6" fmla="*/ 258 w 270"/>
              <a:gd name="T7" fmla="*/ 276 h 287"/>
              <a:gd name="T8" fmla="*/ 268 w 270"/>
              <a:gd name="T9" fmla="*/ 259 h 287"/>
              <a:gd name="T10" fmla="*/ 202 w 270"/>
              <a:gd name="T11" fmla="*/ 17 h 287"/>
              <a:gd name="T12" fmla="*/ 162 w 270"/>
              <a:gd name="T13" fmla="*/ 17 h 287"/>
              <a:gd name="T14" fmla="*/ 140 w 270"/>
              <a:gd name="T15" fmla="*/ 0 h 287"/>
              <a:gd name="T16" fmla="*/ 140 w 270"/>
              <a:gd name="T17" fmla="*/ 0 h 287"/>
              <a:gd name="T18" fmla="*/ 118 w 270"/>
              <a:gd name="T19" fmla="*/ 17 h 287"/>
              <a:gd name="T20" fmla="*/ 78 w 270"/>
              <a:gd name="T21" fmla="*/ 17 h 287"/>
              <a:gd name="T22" fmla="*/ 2 w 270"/>
              <a:gd name="T23" fmla="*/ 266 h 287"/>
              <a:gd name="T24" fmla="*/ 13 w 270"/>
              <a:gd name="T25" fmla="*/ 283 h 287"/>
              <a:gd name="T26" fmla="*/ 25 w 270"/>
              <a:gd name="T27" fmla="*/ 285 h 287"/>
              <a:gd name="T28" fmla="*/ 44 w 270"/>
              <a:gd name="T29" fmla="*/ 274 h 287"/>
              <a:gd name="T30" fmla="*/ 117 w 270"/>
              <a:gd name="T31" fmla="*/ 30 h 287"/>
              <a:gd name="T32" fmla="*/ 117 w 270"/>
              <a:gd name="T33" fmla="*/ 191 h 287"/>
              <a:gd name="T34" fmla="*/ 140 w 270"/>
              <a:gd name="T35" fmla="*/ 214 h 287"/>
              <a:gd name="T36" fmla="*/ 140 w 270"/>
              <a:gd name="T37" fmla="*/ 214 h 287"/>
              <a:gd name="T38" fmla="*/ 163 w 270"/>
              <a:gd name="T39" fmla="*/ 191 h 287"/>
              <a:gd name="T40" fmla="*/ 163 w 270"/>
              <a:gd name="T41" fmla="*/ 37 h 2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70" h="287">
                <a:moveTo>
                  <a:pt x="163" y="37"/>
                </a:moveTo>
                <a:cubicBezTo>
                  <a:pt x="227" y="267"/>
                  <a:pt x="227" y="267"/>
                  <a:pt x="227" y="267"/>
                </a:cubicBezTo>
                <a:cubicBezTo>
                  <a:pt x="229" y="275"/>
                  <a:pt x="237" y="280"/>
                  <a:pt x="245" y="278"/>
                </a:cubicBezTo>
                <a:cubicBezTo>
                  <a:pt x="258" y="276"/>
                  <a:pt x="258" y="276"/>
                  <a:pt x="258" y="276"/>
                </a:cubicBezTo>
                <a:cubicBezTo>
                  <a:pt x="266" y="274"/>
                  <a:pt x="270" y="267"/>
                  <a:pt x="268" y="259"/>
                </a:cubicBezTo>
                <a:cubicBezTo>
                  <a:pt x="202" y="17"/>
                  <a:pt x="202" y="17"/>
                  <a:pt x="202" y="17"/>
                </a:cubicBezTo>
                <a:cubicBezTo>
                  <a:pt x="162" y="17"/>
                  <a:pt x="162" y="17"/>
                  <a:pt x="162" y="17"/>
                </a:cubicBezTo>
                <a:cubicBezTo>
                  <a:pt x="160" y="8"/>
                  <a:pt x="151" y="0"/>
                  <a:pt x="140" y="0"/>
                </a:cubicBezTo>
                <a:cubicBezTo>
                  <a:pt x="140" y="0"/>
                  <a:pt x="140" y="0"/>
                  <a:pt x="140" y="0"/>
                </a:cubicBezTo>
                <a:cubicBezTo>
                  <a:pt x="130" y="0"/>
                  <a:pt x="121" y="8"/>
                  <a:pt x="118" y="17"/>
                </a:cubicBezTo>
                <a:cubicBezTo>
                  <a:pt x="78" y="17"/>
                  <a:pt x="78" y="17"/>
                  <a:pt x="78" y="17"/>
                </a:cubicBezTo>
                <a:cubicBezTo>
                  <a:pt x="2" y="266"/>
                  <a:pt x="2" y="266"/>
                  <a:pt x="2" y="266"/>
                </a:cubicBezTo>
                <a:cubicBezTo>
                  <a:pt x="0" y="274"/>
                  <a:pt x="5" y="282"/>
                  <a:pt x="13" y="283"/>
                </a:cubicBezTo>
                <a:cubicBezTo>
                  <a:pt x="25" y="285"/>
                  <a:pt x="25" y="285"/>
                  <a:pt x="25" y="285"/>
                </a:cubicBezTo>
                <a:cubicBezTo>
                  <a:pt x="33" y="287"/>
                  <a:pt x="42" y="282"/>
                  <a:pt x="44" y="274"/>
                </a:cubicBezTo>
                <a:cubicBezTo>
                  <a:pt x="117" y="30"/>
                  <a:pt x="117" y="30"/>
                  <a:pt x="117" y="30"/>
                </a:cubicBezTo>
                <a:cubicBezTo>
                  <a:pt x="117" y="191"/>
                  <a:pt x="117" y="191"/>
                  <a:pt x="117" y="191"/>
                </a:cubicBezTo>
                <a:cubicBezTo>
                  <a:pt x="117" y="204"/>
                  <a:pt x="128" y="214"/>
                  <a:pt x="140" y="214"/>
                </a:cubicBezTo>
                <a:cubicBezTo>
                  <a:pt x="140" y="214"/>
                  <a:pt x="140" y="214"/>
                  <a:pt x="140" y="214"/>
                </a:cubicBezTo>
                <a:cubicBezTo>
                  <a:pt x="153" y="214"/>
                  <a:pt x="163" y="204"/>
                  <a:pt x="163" y="191"/>
                </a:cubicBezTo>
                <a:lnTo>
                  <a:pt x="163" y="37"/>
                </a:lnTo>
                <a:close/>
              </a:path>
            </a:pathLst>
          </a:custGeom>
          <a:solidFill>
            <a:srgbClr val="FEE3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97" name="任意多边形: 形状 96">
            <a:extLst>
              <a:ext uri="{FF2B5EF4-FFF2-40B4-BE49-F238E27FC236}">
                <a16:creationId xmlns:a16="http://schemas.microsoft.com/office/drawing/2014/main" id="{6DE6078B-1857-4183-B63F-E2E15AD5D814}"/>
              </a:ext>
            </a:extLst>
          </p:cNvPr>
          <p:cNvSpPr/>
          <p:nvPr/>
        </p:nvSpPr>
        <p:spPr bwMode="auto">
          <a:xfrm>
            <a:off x="6367993" y="1745474"/>
            <a:ext cx="203394" cy="92687"/>
          </a:xfrm>
          <a:custGeom>
            <a:avLst/>
            <a:gdLst>
              <a:gd name="T0" fmla="*/ 0 w 79"/>
              <a:gd name="T1" fmla="*/ 0 h 36"/>
              <a:gd name="T2" fmla="*/ 0 w 79"/>
              <a:gd name="T3" fmla="*/ 36 h 36"/>
              <a:gd name="T4" fmla="*/ 79 w 79"/>
              <a:gd name="T5" fmla="*/ 33 h 36"/>
              <a:gd name="T6" fmla="*/ 79 w 79"/>
              <a:gd name="T7" fmla="*/ 0 h 36"/>
              <a:gd name="T8" fmla="*/ 0 w 79"/>
              <a:gd name="T9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9" h="36">
                <a:moveTo>
                  <a:pt x="0" y="0"/>
                </a:moveTo>
                <a:lnTo>
                  <a:pt x="0" y="36"/>
                </a:lnTo>
                <a:lnTo>
                  <a:pt x="79" y="33"/>
                </a:lnTo>
                <a:lnTo>
                  <a:pt x="79" y="0"/>
                </a:lnTo>
                <a:lnTo>
                  <a:pt x="0" y="0"/>
                </a:lnTo>
                <a:close/>
              </a:path>
            </a:pathLst>
          </a:custGeom>
          <a:solidFill>
            <a:srgbClr val="BBA38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98" name="任意多边形: 形状 97">
            <a:extLst>
              <a:ext uri="{FF2B5EF4-FFF2-40B4-BE49-F238E27FC236}">
                <a16:creationId xmlns:a16="http://schemas.microsoft.com/office/drawing/2014/main" id="{D467F799-F612-4B18-AC31-8637D41C982C}"/>
              </a:ext>
            </a:extLst>
          </p:cNvPr>
          <p:cNvSpPr/>
          <p:nvPr/>
        </p:nvSpPr>
        <p:spPr bwMode="auto">
          <a:xfrm>
            <a:off x="6576535" y="1745474"/>
            <a:ext cx="216266" cy="87537"/>
          </a:xfrm>
          <a:custGeom>
            <a:avLst/>
            <a:gdLst>
              <a:gd name="T0" fmla="*/ 0 w 84"/>
              <a:gd name="T1" fmla="*/ 0 h 34"/>
              <a:gd name="T2" fmla="*/ 75 w 84"/>
              <a:gd name="T3" fmla="*/ 0 h 34"/>
              <a:gd name="T4" fmla="*/ 84 w 84"/>
              <a:gd name="T5" fmla="*/ 33 h 34"/>
              <a:gd name="T6" fmla="*/ 10 w 84"/>
              <a:gd name="T7" fmla="*/ 34 h 34"/>
              <a:gd name="T8" fmla="*/ 0 w 84"/>
              <a:gd name="T9" fmla="*/ 0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4" h="34">
                <a:moveTo>
                  <a:pt x="0" y="0"/>
                </a:moveTo>
                <a:lnTo>
                  <a:pt x="75" y="0"/>
                </a:lnTo>
                <a:lnTo>
                  <a:pt x="84" y="33"/>
                </a:lnTo>
                <a:lnTo>
                  <a:pt x="10" y="34"/>
                </a:lnTo>
                <a:lnTo>
                  <a:pt x="0" y="0"/>
                </a:lnTo>
                <a:close/>
              </a:path>
            </a:pathLst>
          </a:custGeom>
          <a:solidFill>
            <a:srgbClr val="BBA38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99" name="任意多边形: 形状 98">
            <a:extLst>
              <a:ext uri="{FF2B5EF4-FFF2-40B4-BE49-F238E27FC236}">
                <a16:creationId xmlns:a16="http://schemas.microsoft.com/office/drawing/2014/main" id="{A512008A-9554-4344-8349-4F033ECB2B53}"/>
              </a:ext>
            </a:extLst>
          </p:cNvPr>
          <p:cNvSpPr/>
          <p:nvPr/>
        </p:nvSpPr>
        <p:spPr bwMode="auto">
          <a:xfrm>
            <a:off x="5327852" y="223882"/>
            <a:ext cx="2149797" cy="1526742"/>
          </a:xfrm>
          <a:custGeom>
            <a:avLst/>
            <a:gdLst>
              <a:gd name="T0" fmla="*/ 33 w 484"/>
              <a:gd name="T1" fmla="*/ 0 h 344"/>
              <a:gd name="T2" fmla="*/ 451 w 484"/>
              <a:gd name="T3" fmla="*/ 0 h 344"/>
              <a:gd name="T4" fmla="*/ 484 w 484"/>
              <a:gd name="T5" fmla="*/ 33 h 344"/>
              <a:gd name="T6" fmla="*/ 484 w 484"/>
              <a:gd name="T7" fmla="*/ 311 h 344"/>
              <a:gd name="T8" fmla="*/ 451 w 484"/>
              <a:gd name="T9" fmla="*/ 344 h 344"/>
              <a:gd name="T10" fmla="*/ 33 w 484"/>
              <a:gd name="T11" fmla="*/ 344 h 344"/>
              <a:gd name="T12" fmla="*/ 0 w 484"/>
              <a:gd name="T13" fmla="*/ 311 h 344"/>
              <a:gd name="T14" fmla="*/ 0 w 484"/>
              <a:gd name="T15" fmla="*/ 33 h 344"/>
              <a:gd name="T16" fmla="*/ 33 w 484"/>
              <a:gd name="T17" fmla="*/ 0 h 3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84" h="344">
                <a:moveTo>
                  <a:pt x="33" y="0"/>
                </a:moveTo>
                <a:cubicBezTo>
                  <a:pt x="451" y="0"/>
                  <a:pt x="451" y="0"/>
                  <a:pt x="451" y="0"/>
                </a:cubicBezTo>
                <a:cubicBezTo>
                  <a:pt x="469" y="0"/>
                  <a:pt x="484" y="15"/>
                  <a:pt x="484" y="33"/>
                </a:cubicBezTo>
                <a:cubicBezTo>
                  <a:pt x="484" y="311"/>
                  <a:pt x="484" y="311"/>
                  <a:pt x="484" y="311"/>
                </a:cubicBezTo>
                <a:cubicBezTo>
                  <a:pt x="484" y="329"/>
                  <a:pt x="469" y="344"/>
                  <a:pt x="451" y="344"/>
                </a:cubicBezTo>
                <a:cubicBezTo>
                  <a:pt x="33" y="344"/>
                  <a:pt x="33" y="344"/>
                  <a:pt x="33" y="344"/>
                </a:cubicBezTo>
                <a:cubicBezTo>
                  <a:pt x="15" y="344"/>
                  <a:pt x="0" y="329"/>
                  <a:pt x="0" y="311"/>
                </a:cubicBezTo>
                <a:cubicBezTo>
                  <a:pt x="0" y="33"/>
                  <a:pt x="0" y="33"/>
                  <a:pt x="0" y="33"/>
                </a:cubicBezTo>
                <a:cubicBezTo>
                  <a:pt x="0" y="15"/>
                  <a:pt x="15" y="0"/>
                  <a:pt x="33" y="0"/>
                </a:cubicBezTo>
                <a:close/>
              </a:path>
            </a:pathLst>
          </a:custGeom>
          <a:solidFill>
            <a:srgbClr val="DABD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00" name="任意多边形: 形状 99">
            <a:extLst>
              <a:ext uri="{FF2B5EF4-FFF2-40B4-BE49-F238E27FC236}">
                <a16:creationId xmlns:a16="http://schemas.microsoft.com/office/drawing/2014/main" id="{D304EEB4-13C1-45E9-B7A8-EACCCBA1F2EA}"/>
              </a:ext>
            </a:extLst>
          </p:cNvPr>
          <p:cNvSpPr/>
          <p:nvPr/>
        </p:nvSpPr>
        <p:spPr bwMode="auto">
          <a:xfrm>
            <a:off x="5394793" y="223882"/>
            <a:ext cx="2082856" cy="1477824"/>
          </a:xfrm>
          <a:custGeom>
            <a:avLst/>
            <a:gdLst>
              <a:gd name="T0" fmla="*/ 32 w 469"/>
              <a:gd name="T1" fmla="*/ 0 h 333"/>
              <a:gd name="T2" fmla="*/ 437 w 469"/>
              <a:gd name="T3" fmla="*/ 0 h 333"/>
              <a:gd name="T4" fmla="*/ 469 w 469"/>
              <a:gd name="T5" fmla="*/ 32 h 333"/>
              <a:gd name="T6" fmla="*/ 469 w 469"/>
              <a:gd name="T7" fmla="*/ 301 h 333"/>
              <a:gd name="T8" fmla="*/ 437 w 469"/>
              <a:gd name="T9" fmla="*/ 333 h 333"/>
              <a:gd name="T10" fmla="*/ 32 w 469"/>
              <a:gd name="T11" fmla="*/ 333 h 333"/>
              <a:gd name="T12" fmla="*/ 0 w 469"/>
              <a:gd name="T13" fmla="*/ 301 h 333"/>
              <a:gd name="T14" fmla="*/ 0 w 469"/>
              <a:gd name="T15" fmla="*/ 32 h 333"/>
              <a:gd name="T16" fmla="*/ 32 w 469"/>
              <a:gd name="T17" fmla="*/ 0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69" h="333">
                <a:moveTo>
                  <a:pt x="32" y="0"/>
                </a:moveTo>
                <a:cubicBezTo>
                  <a:pt x="437" y="0"/>
                  <a:pt x="437" y="0"/>
                  <a:pt x="437" y="0"/>
                </a:cubicBezTo>
                <a:cubicBezTo>
                  <a:pt x="455" y="0"/>
                  <a:pt x="469" y="14"/>
                  <a:pt x="469" y="32"/>
                </a:cubicBezTo>
                <a:cubicBezTo>
                  <a:pt x="469" y="301"/>
                  <a:pt x="469" y="301"/>
                  <a:pt x="469" y="301"/>
                </a:cubicBezTo>
                <a:cubicBezTo>
                  <a:pt x="469" y="318"/>
                  <a:pt x="455" y="333"/>
                  <a:pt x="437" y="333"/>
                </a:cubicBezTo>
                <a:cubicBezTo>
                  <a:pt x="32" y="333"/>
                  <a:pt x="32" y="333"/>
                  <a:pt x="32" y="333"/>
                </a:cubicBezTo>
                <a:cubicBezTo>
                  <a:pt x="14" y="333"/>
                  <a:pt x="0" y="318"/>
                  <a:pt x="0" y="301"/>
                </a:cubicBezTo>
                <a:cubicBezTo>
                  <a:pt x="0" y="32"/>
                  <a:pt x="0" y="32"/>
                  <a:pt x="0" y="32"/>
                </a:cubicBezTo>
                <a:cubicBezTo>
                  <a:pt x="0" y="14"/>
                  <a:pt x="14" y="0"/>
                  <a:pt x="32" y="0"/>
                </a:cubicBezTo>
                <a:close/>
              </a:path>
            </a:pathLst>
          </a:custGeom>
          <a:solidFill>
            <a:srgbClr val="FEE3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01" name="任意多边形: 形状 100">
            <a:extLst>
              <a:ext uri="{FF2B5EF4-FFF2-40B4-BE49-F238E27FC236}">
                <a16:creationId xmlns:a16="http://schemas.microsoft.com/office/drawing/2014/main" id="{B04B14F5-3F73-47B3-8C89-514BA1733D51}"/>
              </a:ext>
            </a:extLst>
          </p:cNvPr>
          <p:cNvSpPr/>
          <p:nvPr/>
        </p:nvSpPr>
        <p:spPr bwMode="auto">
          <a:xfrm>
            <a:off x="5495201" y="295971"/>
            <a:ext cx="1879461" cy="1328496"/>
          </a:xfrm>
          <a:custGeom>
            <a:avLst/>
            <a:gdLst>
              <a:gd name="T0" fmla="*/ 29 w 423"/>
              <a:gd name="T1" fmla="*/ 0 h 300"/>
              <a:gd name="T2" fmla="*/ 394 w 423"/>
              <a:gd name="T3" fmla="*/ 0 h 300"/>
              <a:gd name="T4" fmla="*/ 423 w 423"/>
              <a:gd name="T5" fmla="*/ 29 h 300"/>
              <a:gd name="T6" fmla="*/ 423 w 423"/>
              <a:gd name="T7" fmla="*/ 271 h 300"/>
              <a:gd name="T8" fmla="*/ 394 w 423"/>
              <a:gd name="T9" fmla="*/ 300 h 300"/>
              <a:gd name="T10" fmla="*/ 29 w 423"/>
              <a:gd name="T11" fmla="*/ 300 h 300"/>
              <a:gd name="T12" fmla="*/ 0 w 423"/>
              <a:gd name="T13" fmla="*/ 271 h 300"/>
              <a:gd name="T14" fmla="*/ 0 w 423"/>
              <a:gd name="T15" fmla="*/ 29 h 300"/>
              <a:gd name="T16" fmla="*/ 29 w 423"/>
              <a:gd name="T17" fmla="*/ 0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23" h="300">
                <a:moveTo>
                  <a:pt x="29" y="0"/>
                </a:moveTo>
                <a:cubicBezTo>
                  <a:pt x="394" y="0"/>
                  <a:pt x="394" y="0"/>
                  <a:pt x="394" y="0"/>
                </a:cubicBezTo>
                <a:cubicBezTo>
                  <a:pt x="410" y="0"/>
                  <a:pt x="423" y="13"/>
                  <a:pt x="423" y="29"/>
                </a:cubicBezTo>
                <a:cubicBezTo>
                  <a:pt x="423" y="271"/>
                  <a:pt x="423" y="271"/>
                  <a:pt x="423" y="271"/>
                </a:cubicBezTo>
                <a:cubicBezTo>
                  <a:pt x="423" y="287"/>
                  <a:pt x="410" y="300"/>
                  <a:pt x="394" y="300"/>
                </a:cubicBezTo>
                <a:cubicBezTo>
                  <a:pt x="29" y="300"/>
                  <a:pt x="29" y="300"/>
                  <a:pt x="29" y="300"/>
                </a:cubicBezTo>
                <a:cubicBezTo>
                  <a:pt x="13" y="300"/>
                  <a:pt x="0" y="287"/>
                  <a:pt x="0" y="271"/>
                </a:cubicBezTo>
                <a:cubicBezTo>
                  <a:pt x="0" y="29"/>
                  <a:pt x="0" y="29"/>
                  <a:pt x="0" y="29"/>
                </a:cubicBezTo>
                <a:cubicBezTo>
                  <a:pt x="0" y="13"/>
                  <a:pt x="13" y="0"/>
                  <a:pt x="29" y="0"/>
                </a:cubicBezTo>
                <a:close/>
              </a:path>
            </a:pathLst>
          </a:custGeom>
          <a:solidFill>
            <a:srgbClr val="52525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dirty="0">
                <a:solidFill>
                  <a:schemeClr val="bg1"/>
                </a:solidFill>
              </a:rPr>
              <a:t>…….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102" name="任意多边形: 形状 101">
            <a:extLst>
              <a:ext uri="{FF2B5EF4-FFF2-40B4-BE49-F238E27FC236}">
                <a16:creationId xmlns:a16="http://schemas.microsoft.com/office/drawing/2014/main" id="{4E273364-8767-46F5-A99A-B5777C243EED}"/>
              </a:ext>
            </a:extLst>
          </p:cNvPr>
          <p:cNvSpPr/>
          <p:nvPr/>
        </p:nvSpPr>
        <p:spPr bwMode="auto">
          <a:xfrm>
            <a:off x="5487477" y="285672"/>
            <a:ext cx="1894909" cy="1351668"/>
          </a:xfrm>
          <a:custGeom>
            <a:avLst/>
            <a:gdLst>
              <a:gd name="T0" fmla="*/ 31 w 427"/>
              <a:gd name="T1" fmla="*/ 0 h 305"/>
              <a:gd name="T2" fmla="*/ 396 w 427"/>
              <a:gd name="T3" fmla="*/ 0 h 305"/>
              <a:gd name="T4" fmla="*/ 418 w 427"/>
              <a:gd name="T5" fmla="*/ 9 h 305"/>
              <a:gd name="T6" fmla="*/ 427 w 427"/>
              <a:gd name="T7" fmla="*/ 31 h 305"/>
              <a:gd name="T8" fmla="*/ 427 w 427"/>
              <a:gd name="T9" fmla="*/ 273 h 305"/>
              <a:gd name="T10" fmla="*/ 418 w 427"/>
              <a:gd name="T11" fmla="*/ 295 h 305"/>
              <a:gd name="T12" fmla="*/ 396 w 427"/>
              <a:gd name="T13" fmla="*/ 305 h 305"/>
              <a:gd name="T14" fmla="*/ 31 w 427"/>
              <a:gd name="T15" fmla="*/ 305 h 305"/>
              <a:gd name="T16" fmla="*/ 9 w 427"/>
              <a:gd name="T17" fmla="*/ 295 h 305"/>
              <a:gd name="T18" fmla="*/ 0 w 427"/>
              <a:gd name="T19" fmla="*/ 273 h 305"/>
              <a:gd name="T20" fmla="*/ 0 w 427"/>
              <a:gd name="T21" fmla="*/ 31 h 305"/>
              <a:gd name="T22" fmla="*/ 9 w 427"/>
              <a:gd name="T23" fmla="*/ 9 h 305"/>
              <a:gd name="T24" fmla="*/ 31 w 427"/>
              <a:gd name="T25" fmla="*/ 0 h 305"/>
              <a:gd name="T26" fmla="*/ 396 w 427"/>
              <a:gd name="T27" fmla="*/ 4 h 305"/>
              <a:gd name="T28" fmla="*/ 31 w 427"/>
              <a:gd name="T29" fmla="*/ 4 h 305"/>
              <a:gd name="T30" fmla="*/ 12 w 427"/>
              <a:gd name="T31" fmla="*/ 12 h 305"/>
              <a:gd name="T32" fmla="*/ 5 w 427"/>
              <a:gd name="T33" fmla="*/ 31 h 305"/>
              <a:gd name="T34" fmla="*/ 5 w 427"/>
              <a:gd name="T35" fmla="*/ 273 h 305"/>
              <a:gd name="T36" fmla="*/ 12 w 427"/>
              <a:gd name="T37" fmla="*/ 292 h 305"/>
              <a:gd name="T38" fmla="*/ 31 w 427"/>
              <a:gd name="T39" fmla="*/ 300 h 305"/>
              <a:gd name="T40" fmla="*/ 396 w 427"/>
              <a:gd name="T41" fmla="*/ 300 h 305"/>
              <a:gd name="T42" fmla="*/ 415 w 427"/>
              <a:gd name="T43" fmla="*/ 292 h 305"/>
              <a:gd name="T44" fmla="*/ 423 w 427"/>
              <a:gd name="T45" fmla="*/ 273 h 305"/>
              <a:gd name="T46" fmla="*/ 423 w 427"/>
              <a:gd name="T47" fmla="*/ 31 h 305"/>
              <a:gd name="T48" fmla="*/ 415 w 427"/>
              <a:gd name="T49" fmla="*/ 12 h 305"/>
              <a:gd name="T50" fmla="*/ 396 w 427"/>
              <a:gd name="T51" fmla="*/ 4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427" h="305">
                <a:moveTo>
                  <a:pt x="31" y="0"/>
                </a:moveTo>
                <a:cubicBezTo>
                  <a:pt x="396" y="0"/>
                  <a:pt x="396" y="0"/>
                  <a:pt x="396" y="0"/>
                </a:cubicBezTo>
                <a:cubicBezTo>
                  <a:pt x="405" y="0"/>
                  <a:pt x="413" y="3"/>
                  <a:pt x="418" y="9"/>
                </a:cubicBezTo>
                <a:cubicBezTo>
                  <a:pt x="424" y="15"/>
                  <a:pt x="427" y="22"/>
                  <a:pt x="427" y="31"/>
                </a:cubicBezTo>
                <a:cubicBezTo>
                  <a:pt x="427" y="273"/>
                  <a:pt x="427" y="273"/>
                  <a:pt x="427" y="273"/>
                </a:cubicBezTo>
                <a:cubicBezTo>
                  <a:pt x="427" y="282"/>
                  <a:pt x="424" y="290"/>
                  <a:pt x="418" y="295"/>
                </a:cubicBezTo>
                <a:cubicBezTo>
                  <a:pt x="413" y="301"/>
                  <a:pt x="405" y="305"/>
                  <a:pt x="396" y="305"/>
                </a:cubicBezTo>
                <a:cubicBezTo>
                  <a:pt x="31" y="305"/>
                  <a:pt x="31" y="305"/>
                  <a:pt x="31" y="305"/>
                </a:cubicBezTo>
                <a:cubicBezTo>
                  <a:pt x="23" y="305"/>
                  <a:pt x="15" y="301"/>
                  <a:pt x="9" y="295"/>
                </a:cubicBezTo>
                <a:cubicBezTo>
                  <a:pt x="3" y="290"/>
                  <a:pt x="0" y="282"/>
                  <a:pt x="0" y="273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22"/>
                  <a:pt x="3" y="15"/>
                  <a:pt x="9" y="9"/>
                </a:cubicBezTo>
                <a:cubicBezTo>
                  <a:pt x="15" y="3"/>
                  <a:pt x="23" y="0"/>
                  <a:pt x="31" y="0"/>
                </a:cubicBezTo>
                <a:close/>
                <a:moveTo>
                  <a:pt x="396" y="4"/>
                </a:moveTo>
                <a:cubicBezTo>
                  <a:pt x="31" y="4"/>
                  <a:pt x="31" y="4"/>
                  <a:pt x="31" y="4"/>
                </a:cubicBezTo>
                <a:cubicBezTo>
                  <a:pt x="24" y="4"/>
                  <a:pt x="17" y="7"/>
                  <a:pt x="12" y="12"/>
                </a:cubicBezTo>
                <a:cubicBezTo>
                  <a:pt x="8" y="17"/>
                  <a:pt x="5" y="24"/>
                  <a:pt x="5" y="31"/>
                </a:cubicBezTo>
                <a:cubicBezTo>
                  <a:pt x="5" y="273"/>
                  <a:pt x="5" y="273"/>
                  <a:pt x="5" y="273"/>
                </a:cubicBezTo>
                <a:cubicBezTo>
                  <a:pt x="5" y="281"/>
                  <a:pt x="8" y="287"/>
                  <a:pt x="12" y="292"/>
                </a:cubicBezTo>
                <a:cubicBezTo>
                  <a:pt x="17" y="297"/>
                  <a:pt x="24" y="300"/>
                  <a:pt x="31" y="300"/>
                </a:cubicBezTo>
                <a:cubicBezTo>
                  <a:pt x="396" y="300"/>
                  <a:pt x="396" y="300"/>
                  <a:pt x="396" y="300"/>
                </a:cubicBezTo>
                <a:cubicBezTo>
                  <a:pt x="403" y="300"/>
                  <a:pt x="410" y="297"/>
                  <a:pt x="415" y="292"/>
                </a:cubicBezTo>
                <a:cubicBezTo>
                  <a:pt x="420" y="287"/>
                  <a:pt x="423" y="281"/>
                  <a:pt x="423" y="273"/>
                </a:cubicBezTo>
                <a:cubicBezTo>
                  <a:pt x="423" y="31"/>
                  <a:pt x="423" y="31"/>
                  <a:pt x="423" y="31"/>
                </a:cubicBezTo>
                <a:cubicBezTo>
                  <a:pt x="423" y="24"/>
                  <a:pt x="420" y="17"/>
                  <a:pt x="415" y="12"/>
                </a:cubicBezTo>
                <a:cubicBezTo>
                  <a:pt x="410" y="7"/>
                  <a:pt x="403" y="4"/>
                  <a:pt x="396" y="4"/>
                </a:cubicBezTo>
                <a:close/>
              </a:path>
            </a:pathLst>
          </a:custGeom>
          <a:solidFill>
            <a:srgbClr val="FEFEF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103" name="任意多边形: 形状 102">
            <a:extLst>
              <a:ext uri="{FF2B5EF4-FFF2-40B4-BE49-F238E27FC236}">
                <a16:creationId xmlns:a16="http://schemas.microsoft.com/office/drawing/2014/main" id="{E8E2AF1D-618A-4660-93C0-BCAF6AC2A5DF}"/>
              </a:ext>
            </a:extLst>
          </p:cNvPr>
          <p:cNvSpPr/>
          <p:nvPr/>
        </p:nvSpPr>
        <p:spPr bwMode="auto">
          <a:xfrm>
            <a:off x="6903511" y="1572975"/>
            <a:ext cx="285781" cy="56642"/>
          </a:xfrm>
          <a:custGeom>
            <a:avLst/>
            <a:gdLst>
              <a:gd name="T0" fmla="*/ 4 w 64"/>
              <a:gd name="T1" fmla="*/ 0 h 13"/>
              <a:gd name="T2" fmla="*/ 61 w 64"/>
              <a:gd name="T3" fmla="*/ 0 h 13"/>
              <a:gd name="T4" fmla="*/ 63 w 64"/>
              <a:gd name="T5" fmla="*/ 1 h 13"/>
              <a:gd name="T6" fmla="*/ 63 w 64"/>
              <a:gd name="T7" fmla="*/ 1 h 13"/>
              <a:gd name="T8" fmla="*/ 64 w 64"/>
              <a:gd name="T9" fmla="*/ 4 h 13"/>
              <a:gd name="T10" fmla="*/ 64 w 64"/>
              <a:gd name="T11" fmla="*/ 10 h 13"/>
              <a:gd name="T12" fmla="*/ 63 w 64"/>
              <a:gd name="T13" fmla="*/ 12 h 13"/>
              <a:gd name="T14" fmla="*/ 63 w 64"/>
              <a:gd name="T15" fmla="*/ 12 h 13"/>
              <a:gd name="T16" fmla="*/ 61 w 64"/>
              <a:gd name="T17" fmla="*/ 13 h 13"/>
              <a:gd name="T18" fmla="*/ 4 w 64"/>
              <a:gd name="T19" fmla="*/ 13 h 13"/>
              <a:gd name="T20" fmla="*/ 2 w 64"/>
              <a:gd name="T21" fmla="*/ 12 h 13"/>
              <a:gd name="T22" fmla="*/ 2 w 64"/>
              <a:gd name="T23" fmla="*/ 12 h 13"/>
              <a:gd name="T24" fmla="*/ 0 w 64"/>
              <a:gd name="T25" fmla="*/ 10 h 13"/>
              <a:gd name="T26" fmla="*/ 0 w 64"/>
              <a:gd name="T27" fmla="*/ 4 h 13"/>
              <a:gd name="T28" fmla="*/ 2 w 64"/>
              <a:gd name="T29" fmla="*/ 1 h 13"/>
              <a:gd name="T30" fmla="*/ 2 w 64"/>
              <a:gd name="T31" fmla="*/ 1 h 13"/>
              <a:gd name="T32" fmla="*/ 4 w 64"/>
              <a:gd name="T33" fmla="*/ 0 h 13"/>
              <a:gd name="T34" fmla="*/ 61 w 64"/>
              <a:gd name="T35" fmla="*/ 1 h 13"/>
              <a:gd name="T36" fmla="*/ 4 w 64"/>
              <a:gd name="T37" fmla="*/ 1 h 13"/>
              <a:gd name="T38" fmla="*/ 2 w 64"/>
              <a:gd name="T39" fmla="*/ 2 h 13"/>
              <a:gd name="T40" fmla="*/ 2 w 64"/>
              <a:gd name="T41" fmla="*/ 2 h 13"/>
              <a:gd name="T42" fmla="*/ 1 w 64"/>
              <a:gd name="T43" fmla="*/ 4 h 13"/>
              <a:gd name="T44" fmla="*/ 1 w 64"/>
              <a:gd name="T45" fmla="*/ 10 h 13"/>
              <a:gd name="T46" fmla="*/ 2 w 64"/>
              <a:gd name="T47" fmla="*/ 12 h 13"/>
              <a:gd name="T48" fmla="*/ 2 w 64"/>
              <a:gd name="T49" fmla="*/ 12 h 13"/>
              <a:gd name="T50" fmla="*/ 4 w 64"/>
              <a:gd name="T51" fmla="*/ 13 h 13"/>
              <a:gd name="T52" fmla="*/ 61 w 64"/>
              <a:gd name="T53" fmla="*/ 13 h 13"/>
              <a:gd name="T54" fmla="*/ 63 w 64"/>
              <a:gd name="T55" fmla="*/ 12 h 13"/>
              <a:gd name="T56" fmla="*/ 63 w 64"/>
              <a:gd name="T57" fmla="*/ 12 h 13"/>
              <a:gd name="T58" fmla="*/ 63 w 64"/>
              <a:gd name="T59" fmla="*/ 10 h 13"/>
              <a:gd name="T60" fmla="*/ 63 w 64"/>
              <a:gd name="T61" fmla="*/ 4 h 13"/>
              <a:gd name="T62" fmla="*/ 63 w 64"/>
              <a:gd name="T63" fmla="*/ 2 h 13"/>
              <a:gd name="T64" fmla="*/ 63 w 64"/>
              <a:gd name="T65" fmla="*/ 2 h 13"/>
              <a:gd name="T66" fmla="*/ 61 w 64"/>
              <a:gd name="T67" fmla="*/ 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4" h="13">
                <a:moveTo>
                  <a:pt x="4" y="0"/>
                </a:moveTo>
                <a:cubicBezTo>
                  <a:pt x="61" y="0"/>
                  <a:pt x="61" y="0"/>
                  <a:pt x="61" y="0"/>
                </a:cubicBezTo>
                <a:cubicBezTo>
                  <a:pt x="62" y="0"/>
                  <a:pt x="63" y="0"/>
                  <a:pt x="63" y="1"/>
                </a:cubicBezTo>
                <a:cubicBezTo>
                  <a:pt x="63" y="1"/>
                  <a:pt x="63" y="1"/>
                  <a:pt x="63" y="1"/>
                </a:cubicBezTo>
                <a:cubicBezTo>
                  <a:pt x="64" y="2"/>
                  <a:pt x="64" y="3"/>
                  <a:pt x="64" y="4"/>
                </a:cubicBezTo>
                <a:cubicBezTo>
                  <a:pt x="64" y="10"/>
                  <a:pt x="64" y="10"/>
                  <a:pt x="64" y="10"/>
                </a:cubicBezTo>
                <a:cubicBezTo>
                  <a:pt x="64" y="11"/>
                  <a:pt x="64" y="12"/>
                  <a:pt x="63" y="12"/>
                </a:cubicBezTo>
                <a:cubicBezTo>
                  <a:pt x="63" y="12"/>
                  <a:pt x="63" y="12"/>
                  <a:pt x="63" y="12"/>
                </a:cubicBezTo>
                <a:cubicBezTo>
                  <a:pt x="63" y="13"/>
                  <a:pt x="62" y="13"/>
                  <a:pt x="61" y="13"/>
                </a:cubicBezTo>
                <a:cubicBezTo>
                  <a:pt x="4" y="13"/>
                  <a:pt x="4" y="13"/>
                  <a:pt x="4" y="13"/>
                </a:cubicBezTo>
                <a:cubicBezTo>
                  <a:pt x="3" y="13"/>
                  <a:pt x="2" y="13"/>
                  <a:pt x="2" y="12"/>
                </a:cubicBezTo>
                <a:cubicBezTo>
                  <a:pt x="2" y="12"/>
                  <a:pt x="2" y="12"/>
                  <a:pt x="2" y="12"/>
                </a:cubicBezTo>
                <a:cubicBezTo>
                  <a:pt x="1" y="12"/>
                  <a:pt x="0" y="11"/>
                  <a:pt x="0" y="10"/>
                </a:cubicBezTo>
                <a:cubicBezTo>
                  <a:pt x="0" y="4"/>
                  <a:pt x="0" y="4"/>
                  <a:pt x="0" y="4"/>
                </a:cubicBezTo>
                <a:cubicBezTo>
                  <a:pt x="0" y="3"/>
                  <a:pt x="1" y="2"/>
                  <a:pt x="2" y="1"/>
                </a:cubicBezTo>
                <a:cubicBezTo>
                  <a:pt x="2" y="1"/>
                  <a:pt x="2" y="1"/>
                  <a:pt x="2" y="1"/>
                </a:cubicBezTo>
                <a:cubicBezTo>
                  <a:pt x="2" y="0"/>
                  <a:pt x="3" y="0"/>
                  <a:pt x="4" y="0"/>
                </a:cubicBezTo>
                <a:close/>
                <a:moveTo>
                  <a:pt x="61" y="1"/>
                </a:moveTo>
                <a:cubicBezTo>
                  <a:pt x="4" y="1"/>
                  <a:pt x="4" y="1"/>
                  <a:pt x="4" y="1"/>
                </a:cubicBezTo>
                <a:cubicBezTo>
                  <a:pt x="3" y="1"/>
                  <a:pt x="3" y="1"/>
                  <a:pt x="2" y="2"/>
                </a:cubicBezTo>
                <a:cubicBezTo>
                  <a:pt x="2" y="2"/>
                  <a:pt x="2" y="2"/>
                  <a:pt x="2" y="2"/>
                </a:cubicBezTo>
                <a:cubicBezTo>
                  <a:pt x="2" y="2"/>
                  <a:pt x="1" y="3"/>
                  <a:pt x="1" y="4"/>
                </a:cubicBezTo>
                <a:cubicBezTo>
                  <a:pt x="1" y="10"/>
                  <a:pt x="1" y="10"/>
                  <a:pt x="1" y="10"/>
                </a:cubicBezTo>
                <a:cubicBezTo>
                  <a:pt x="1" y="11"/>
                  <a:pt x="2" y="11"/>
                  <a:pt x="2" y="12"/>
                </a:cubicBezTo>
                <a:cubicBezTo>
                  <a:pt x="2" y="12"/>
                  <a:pt x="2" y="12"/>
                  <a:pt x="2" y="12"/>
                </a:cubicBezTo>
                <a:cubicBezTo>
                  <a:pt x="3" y="12"/>
                  <a:pt x="3" y="13"/>
                  <a:pt x="4" y="13"/>
                </a:cubicBezTo>
                <a:cubicBezTo>
                  <a:pt x="61" y="13"/>
                  <a:pt x="61" y="13"/>
                  <a:pt x="61" y="13"/>
                </a:cubicBezTo>
                <a:cubicBezTo>
                  <a:pt x="61" y="13"/>
                  <a:pt x="62" y="12"/>
                  <a:pt x="63" y="12"/>
                </a:cubicBezTo>
                <a:cubicBezTo>
                  <a:pt x="63" y="12"/>
                  <a:pt x="63" y="12"/>
                  <a:pt x="63" y="12"/>
                </a:cubicBezTo>
                <a:cubicBezTo>
                  <a:pt x="63" y="11"/>
                  <a:pt x="63" y="11"/>
                  <a:pt x="63" y="10"/>
                </a:cubicBezTo>
                <a:cubicBezTo>
                  <a:pt x="63" y="4"/>
                  <a:pt x="63" y="4"/>
                  <a:pt x="63" y="4"/>
                </a:cubicBezTo>
                <a:cubicBezTo>
                  <a:pt x="63" y="3"/>
                  <a:pt x="63" y="2"/>
                  <a:pt x="63" y="2"/>
                </a:cubicBezTo>
                <a:cubicBezTo>
                  <a:pt x="63" y="2"/>
                  <a:pt x="63" y="2"/>
                  <a:pt x="63" y="2"/>
                </a:cubicBezTo>
                <a:cubicBezTo>
                  <a:pt x="62" y="1"/>
                  <a:pt x="61" y="1"/>
                  <a:pt x="61" y="1"/>
                </a:cubicBezTo>
                <a:close/>
              </a:path>
            </a:pathLst>
          </a:custGeom>
          <a:solidFill>
            <a:srgbClr val="D2D4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04" name="任意多边形: 形状 103">
            <a:extLst>
              <a:ext uri="{FF2B5EF4-FFF2-40B4-BE49-F238E27FC236}">
                <a16:creationId xmlns:a16="http://schemas.microsoft.com/office/drawing/2014/main" id="{91AE8615-30D4-434A-828E-556CC4895362}"/>
              </a:ext>
            </a:extLst>
          </p:cNvPr>
          <p:cNvSpPr/>
          <p:nvPr/>
        </p:nvSpPr>
        <p:spPr bwMode="auto">
          <a:xfrm>
            <a:off x="6136279" y="1750624"/>
            <a:ext cx="216266" cy="92687"/>
          </a:xfrm>
          <a:custGeom>
            <a:avLst/>
            <a:gdLst>
              <a:gd name="T0" fmla="*/ 84 w 84"/>
              <a:gd name="T1" fmla="*/ 0 h 36"/>
              <a:gd name="T2" fmla="*/ 10 w 84"/>
              <a:gd name="T3" fmla="*/ 0 h 36"/>
              <a:gd name="T4" fmla="*/ 0 w 84"/>
              <a:gd name="T5" fmla="*/ 34 h 36"/>
              <a:gd name="T6" fmla="*/ 74 w 84"/>
              <a:gd name="T7" fmla="*/ 36 h 36"/>
              <a:gd name="T8" fmla="*/ 84 w 84"/>
              <a:gd name="T9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4" h="36">
                <a:moveTo>
                  <a:pt x="84" y="0"/>
                </a:moveTo>
                <a:lnTo>
                  <a:pt x="10" y="0"/>
                </a:lnTo>
                <a:lnTo>
                  <a:pt x="0" y="34"/>
                </a:lnTo>
                <a:lnTo>
                  <a:pt x="74" y="36"/>
                </a:lnTo>
                <a:lnTo>
                  <a:pt x="84" y="0"/>
                </a:lnTo>
                <a:close/>
              </a:path>
            </a:pathLst>
          </a:custGeom>
          <a:solidFill>
            <a:srgbClr val="BBA38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sp>
        <p:nvSpPr>
          <p:cNvPr id="105" name="任意多边形: 形状 104">
            <a:extLst>
              <a:ext uri="{FF2B5EF4-FFF2-40B4-BE49-F238E27FC236}">
                <a16:creationId xmlns:a16="http://schemas.microsoft.com/office/drawing/2014/main" id="{51BC1838-111D-423F-8D40-79E4A9C87D1A}"/>
              </a:ext>
            </a:extLst>
          </p:cNvPr>
          <p:cNvSpPr/>
          <p:nvPr/>
        </p:nvSpPr>
        <p:spPr bwMode="auto">
          <a:xfrm>
            <a:off x="6908660" y="1572975"/>
            <a:ext cx="280633" cy="56642"/>
          </a:xfrm>
          <a:custGeom>
            <a:avLst/>
            <a:gdLst>
              <a:gd name="T0" fmla="*/ 3 w 63"/>
              <a:gd name="T1" fmla="*/ 0 h 13"/>
              <a:gd name="T2" fmla="*/ 60 w 63"/>
              <a:gd name="T3" fmla="*/ 0 h 13"/>
              <a:gd name="T4" fmla="*/ 63 w 63"/>
              <a:gd name="T5" fmla="*/ 3 h 13"/>
              <a:gd name="T6" fmla="*/ 63 w 63"/>
              <a:gd name="T7" fmla="*/ 9 h 13"/>
              <a:gd name="T8" fmla="*/ 60 w 63"/>
              <a:gd name="T9" fmla="*/ 13 h 13"/>
              <a:gd name="T10" fmla="*/ 3 w 63"/>
              <a:gd name="T11" fmla="*/ 13 h 13"/>
              <a:gd name="T12" fmla="*/ 0 w 63"/>
              <a:gd name="T13" fmla="*/ 9 h 13"/>
              <a:gd name="T14" fmla="*/ 0 w 63"/>
              <a:gd name="T15" fmla="*/ 3 h 13"/>
              <a:gd name="T16" fmla="*/ 3 w 63"/>
              <a:gd name="T17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3" h="13">
                <a:moveTo>
                  <a:pt x="3" y="0"/>
                </a:moveTo>
                <a:cubicBezTo>
                  <a:pt x="60" y="0"/>
                  <a:pt x="60" y="0"/>
                  <a:pt x="60" y="0"/>
                </a:cubicBezTo>
                <a:cubicBezTo>
                  <a:pt x="61" y="0"/>
                  <a:pt x="63" y="1"/>
                  <a:pt x="63" y="3"/>
                </a:cubicBezTo>
                <a:cubicBezTo>
                  <a:pt x="63" y="9"/>
                  <a:pt x="63" y="9"/>
                  <a:pt x="63" y="9"/>
                </a:cubicBezTo>
                <a:cubicBezTo>
                  <a:pt x="63" y="11"/>
                  <a:pt x="61" y="13"/>
                  <a:pt x="60" y="13"/>
                </a:cubicBezTo>
                <a:cubicBezTo>
                  <a:pt x="3" y="13"/>
                  <a:pt x="3" y="13"/>
                  <a:pt x="3" y="13"/>
                </a:cubicBezTo>
                <a:cubicBezTo>
                  <a:pt x="1" y="13"/>
                  <a:pt x="0" y="11"/>
                  <a:pt x="0" y="9"/>
                </a:cubicBezTo>
                <a:cubicBezTo>
                  <a:pt x="0" y="3"/>
                  <a:pt x="0" y="3"/>
                  <a:pt x="0" y="3"/>
                </a:cubicBezTo>
                <a:cubicBezTo>
                  <a:pt x="0" y="1"/>
                  <a:pt x="1" y="0"/>
                  <a:pt x="3" y="0"/>
                </a:cubicBezTo>
                <a:close/>
              </a:path>
            </a:pathLst>
          </a:custGeom>
          <a:solidFill>
            <a:srgbClr val="FEFEF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/>
          </a:p>
        </p:txBody>
      </p:sp>
      <p:grpSp>
        <p:nvGrpSpPr>
          <p:cNvPr id="106" name="组合 105">
            <a:extLst>
              <a:ext uri="{FF2B5EF4-FFF2-40B4-BE49-F238E27FC236}">
                <a16:creationId xmlns:a16="http://schemas.microsoft.com/office/drawing/2014/main" id="{8DD9E3BD-52C8-46D0-A312-BD010F42D5A6}"/>
              </a:ext>
            </a:extLst>
          </p:cNvPr>
          <p:cNvGrpSpPr/>
          <p:nvPr/>
        </p:nvGrpSpPr>
        <p:grpSpPr>
          <a:xfrm>
            <a:off x="4714347" y="1084846"/>
            <a:ext cx="1625321" cy="1952554"/>
            <a:chOff x="4717002" y="1052207"/>
            <a:chExt cx="1735317" cy="2084693"/>
          </a:xfrm>
        </p:grpSpPr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D54FC3BE-0B4E-4551-A207-52D076844368}"/>
                </a:ext>
              </a:extLst>
            </p:cNvPr>
            <p:cNvSpPr/>
            <p:nvPr/>
          </p:nvSpPr>
          <p:spPr bwMode="auto">
            <a:xfrm>
              <a:off x="4717002" y="1538095"/>
              <a:ext cx="1078209" cy="1598805"/>
            </a:xfrm>
            <a:custGeom>
              <a:avLst/>
              <a:gdLst>
                <a:gd name="T0" fmla="*/ 121 w 270"/>
                <a:gd name="T1" fmla="*/ 0 h 401"/>
                <a:gd name="T2" fmla="*/ 117 w 270"/>
                <a:gd name="T3" fmla="*/ 10 h 401"/>
                <a:gd name="T4" fmla="*/ 116 w 270"/>
                <a:gd name="T5" fmla="*/ 10 h 401"/>
                <a:gd name="T6" fmla="*/ 128 w 270"/>
                <a:gd name="T7" fmla="*/ 101 h 401"/>
                <a:gd name="T8" fmla="*/ 115 w 270"/>
                <a:gd name="T9" fmla="*/ 121 h 401"/>
                <a:gd name="T10" fmla="*/ 101 w 270"/>
                <a:gd name="T11" fmla="*/ 101 h 401"/>
                <a:gd name="T12" fmla="*/ 112 w 270"/>
                <a:gd name="T13" fmla="*/ 10 h 401"/>
                <a:gd name="T14" fmla="*/ 112 w 270"/>
                <a:gd name="T15" fmla="*/ 10 h 401"/>
                <a:gd name="T16" fmla="*/ 108 w 270"/>
                <a:gd name="T17" fmla="*/ 0 h 401"/>
                <a:gd name="T18" fmla="*/ 40 w 270"/>
                <a:gd name="T19" fmla="*/ 17 h 401"/>
                <a:gd name="T20" fmla="*/ 39 w 270"/>
                <a:gd name="T21" fmla="*/ 18 h 401"/>
                <a:gd name="T22" fmla="*/ 35 w 270"/>
                <a:gd name="T23" fmla="*/ 20 h 401"/>
                <a:gd name="T24" fmla="*/ 33 w 270"/>
                <a:gd name="T25" fmla="*/ 23 h 401"/>
                <a:gd name="T26" fmla="*/ 31 w 270"/>
                <a:gd name="T27" fmla="*/ 26 h 401"/>
                <a:gd name="T28" fmla="*/ 30 w 270"/>
                <a:gd name="T29" fmla="*/ 29 h 401"/>
                <a:gd name="T30" fmla="*/ 29 w 270"/>
                <a:gd name="T31" fmla="*/ 31 h 401"/>
                <a:gd name="T32" fmla="*/ 2 w 270"/>
                <a:gd name="T33" fmla="*/ 172 h 401"/>
                <a:gd name="T34" fmla="*/ 15 w 270"/>
                <a:gd name="T35" fmla="*/ 195 h 401"/>
                <a:gd name="T36" fmla="*/ 19 w 270"/>
                <a:gd name="T37" fmla="*/ 196 h 401"/>
                <a:gd name="T38" fmla="*/ 35 w 270"/>
                <a:gd name="T39" fmla="*/ 180 h 401"/>
                <a:gd name="T40" fmla="*/ 60 w 270"/>
                <a:gd name="T41" fmla="*/ 50 h 401"/>
                <a:gd name="T42" fmla="*/ 66 w 270"/>
                <a:gd name="T43" fmla="*/ 48 h 401"/>
                <a:gd name="T44" fmla="*/ 66 w 270"/>
                <a:gd name="T45" fmla="*/ 182 h 401"/>
                <a:gd name="T46" fmla="*/ 53 w 270"/>
                <a:gd name="T47" fmla="*/ 375 h 401"/>
                <a:gd name="T48" fmla="*/ 72 w 270"/>
                <a:gd name="T49" fmla="*/ 401 h 401"/>
                <a:gd name="T50" fmla="*/ 73 w 270"/>
                <a:gd name="T51" fmla="*/ 401 h 401"/>
                <a:gd name="T52" fmla="*/ 94 w 270"/>
                <a:gd name="T53" fmla="*/ 379 h 401"/>
                <a:gd name="T54" fmla="*/ 106 w 270"/>
                <a:gd name="T55" fmla="*/ 204 h 401"/>
                <a:gd name="T56" fmla="*/ 114 w 270"/>
                <a:gd name="T57" fmla="*/ 206 h 401"/>
                <a:gd name="T58" fmla="*/ 123 w 270"/>
                <a:gd name="T59" fmla="*/ 204 h 401"/>
                <a:gd name="T60" fmla="*/ 135 w 270"/>
                <a:gd name="T61" fmla="*/ 379 h 401"/>
                <a:gd name="T62" fmla="*/ 155 w 270"/>
                <a:gd name="T63" fmla="*/ 401 h 401"/>
                <a:gd name="T64" fmla="*/ 157 w 270"/>
                <a:gd name="T65" fmla="*/ 401 h 401"/>
                <a:gd name="T66" fmla="*/ 176 w 270"/>
                <a:gd name="T67" fmla="*/ 375 h 401"/>
                <a:gd name="T68" fmla="*/ 162 w 270"/>
                <a:gd name="T69" fmla="*/ 182 h 401"/>
                <a:gd name="T70" fmla="*/ 162 w 270"/>
                <a:gd name="T71" fmla="*/ 48 h 401"/>
                <a:gd name="T72" fmla="*/ 177 w 270"/>
                <a:gd name="T73" fmla="*/ 54 h 401"/>
                <a:gd name="T74" fmla="*/ 184 w 270"/>
                <a:gd name="T75" fmla="*/ 56 h 401"/>
                <a:gd name="T76" fmla="*/ 234 w 270"/>
                <a:gd name="T77" fmla="*/ 75 h 401"/>
                <a:gd name="T78" fmla="*/ 245 w 270"/>
                <a:gd name="T79" fmla="*/ 80 h 401"/>
                <a:gd name="T80" fmla="*/ 251 w 270"/>
                <a:gd name="T81" fmla="*/ 81 h 401"/>
                <a:gd name="T82" fmla="*/ 267 w 270"/>
                <a:gd name="T83" fmla="*/ 54 h 401"/>
                <a:gd name="T84" fmla="*/ 245 w 270"/>
                <a:gd name="T85" fmla="*/ 77 h 401"/>
                <a:gd name="T86" fmla="*/ 234 w 270"/>
                <a:gd name="T87" fmla="*/ 72 h 401"/>
                <a:gd name="T88" fmla="*/ 261 w 270"/>
                <a:gd name="T89" fmla="*/ 45 h 401"/>
                <a:gd name="T90" fmla="*/ 256 w 270"/>
                <a:gd name="T91" fmla="*/ 43 h 401"/>
                <a:gd name="T92" fmla="*/ 234 w 270"/>
                <a:gd name="T93" fmla="*/ 35 h 401"/>
                <a:gd name="T94" fmla="*/ 184 w 270"/>
                <a:gd name="T95" fmla="*/ 18 h 401"/>
                <a:gd name="T96" fmla="*/ 121 w 270"/>
                <a:gd name="T97" fmla="*/ 0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0" h="401">
                  <a:moveTo>
                    <a:pt x="121" y="0"/>
                  </a:moveTo>
                  <a:cubicBezTo>
                    <a:pt x="117" y="10"/>
                    <a:pt x="117" y="10"/>
                    <a:pt x="117" y="10"/>
                  </a:cubicBezTo>
                  <a:cubicBezTo>
                    <a:pt x="116" y="10"/>
                    <a:pt x="116" y="10"/>
                    <a:pt x="116" y="10"/>
                  </a:cubicBezTo>
                  <a:cubicBezTo>
                    <a:pt x="128" y="101"/>
                    <a:pt x="128" y="101"/>
                    <a:pt x="128" y="101"/>
                  </a:cubicBezTo>
                  <a:cubicBezTo>
                    <a:pt x="115" y="121"/>
                    <a:pt x="115" y="121"/>
                    <a:pt x="115" y="121"/>
                  </a:cubicBezTo>
                  <a:cubicBezTo>
                    <a:pt x="101" y="101"/>
                    <a:pt x="101" y="101"/>
                    <a:pt x="101" y="101"/>
                  </a:cubicBezTo>
                  <a:cubicBezTo>
                    <a:pt x="112" y="10"/>
                    <a:pt x="112" y="10"/>
                    <a:pt x="112" y="10"/>
                  </a:cubicBezTo>
                  <a:cubicBezTo>
                    <a:pt x="112" y="10"/>
                    <a:pt x="112" y="10"/>
                    <a:pt x="112" y="1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76" y="2"/>
                    <a:pt x="42" y="16"/>
                    <a:pt x="40" y="17"/>
                  </a:cubicBezTo>
                  <a:cubicBezTo>
                    <a:pt x="40" y="17"/>
                    <a:pt x="39" y="18"/>
                    <a:pt x="39" y="18"/>
                  </a:cubicBezTo>
                  <a:cubicBezTo>
                    <a:pt x="37" y="19"/>
                    <a:pt x="36" y="19"/>
                    <a:pt x="35" y="20"/>
                  </a:cubicBezTo>
                  <a:cubicBezTo>
                    <a:pt x="35" y="21"/>
                    <a:pt x="34" y="22"/>
                    <a:pt x="33" y="23"/>
                  </a:cubicBezTo>
                  <a:cubicBezTo>
                    <a:pt x="32" y="23"/>
                    <a:pt x="32" y="25"/>
                    <a:pt x="31" y="26"/>
                  </a:cubicBezTo>
                  <a:cubicBezTo>
                    <a:pt x="31" y="27"/>
                    <a:pt x="30" y="28"/>
                    <a:pt x="30" y="29"/>
                  </a:cubicBezTo>
                  <a:cubicBezTo>
                    <a:pt x="30" y="30"/>
                    <a:pt x="29" y="30"/>
                    <a:pt x="29" y="31"/>
                  </a:cubicBezTo>
                  <a:cubicBezTo>
                    <a:pt x="2" y="172"/>
                    <a:pt x="2" y="172"/>
                    <a:pt x="2" y="172"/>
                  </a:cubicBezTo>
                  <a:cubicBezTo>
                    <a:pt x="0" y="182"/>
                    <a:pt x="6" y="193"/>
                    <a:pt x="15" y="195"/>
                  </a:cubicBezTo>
                  <a:cubicBezTo>
                    <a:pt x="16" y="195"/>
                    <a:pt x="17" y="196"/>
                    <a:pt x="19" y="196"/>
                  </a:cubicBezTo>
                  <a:cubicBezTo>
                    <a:pt x="26" y="196"/>
                    <a:pt x="33" y="189"/>
                    <a:pt x="35" y="180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2" y="50"/>
                    <a:pt x="64" y="49"/>
                    <a:pt x="66" y="48"/>
                  </a:cubicBezTo>
                  <a:cubicBezTo>
                    <a:pt x="66" y="182"/>
                    <a:pt x="66" y="182"/>
                    <a:pt x="66" y="182"/>
                  </a:cubicBezTo>
                  <a:cubicBezTo>
                    <a:pt x="53" y="375"/>
                    <a:pt x="53" y="375"/>
                    <a:pt x="53" y="375"/>
                  </a:cubicBezTo>
                  <a:cubicBezTo>
                    <a:pt x="52" y="388"/>
                    <a:pt x="60" y="400"/>
                    <a:pt x="72" y="401"/>
                  </a:cubicBezTo>
                  <a:cubicBezTo>
                    <a:pt x="72" y="401"/>
                    <a:pt x="73" y="401"/>
                    <a:pt x="73" y="401"/>
                  </a:cubicBezTo>
                  <a:cubicBezTo>
                    <a:pt x="84" y="401"/>
                    <a:pt x="93" y="391"/>
                    <a:pt x="94" y="379"/>
                  </a:cubicBezTo>
                  <a:cubicBezTo>
                    <a:pt x="106" y="204"/>
                    <a:pt x="106" y="204"/>
                    <a:pt x="106" y="204"/>
                  </a:cubicBezTo>
                  <a:cubicBezTo>
                    <a:pt x="109" y="206"/>
                    <a:pt x="111" y="206"/>
                    <a:pt x="114" y="206"/>
                  </a:cubicBezTo>
                  <a:cubicBezTo>
                    <a:pt x="117" y="206"/>
                    <a:pt x="120" y="206"/>
                    <a:pt x="123" y="204"/>
                  </a:cubicBezTo>
                  <a:cubicBezTo>
                    <a:pt x="135" y="379"/>
                    <a:pt x="135" y="379"/>
                    <a:pt x="135" y="379"/>
                  </a:cubicBezTo>
                  <a:cubicBezTo>
                    <a:pt x="136" y="391"/>
                    <a:pt x="145" y="401"/>
                    <a:pt x="155" y="401"/>
                  </a:cubicBezTo>
                  <a:cubicBezTo>
                    <a:pt x="156" y="401"/>
                    <a:pt x="156" y="401"/>
                    <a:pt x="157" y="401"/>
                  </a:cubicBezTo>
                  <a:cubicBezTo>
                    <a:pt x="168" y="400"/>
                    <a:pt x="177" y="388"/>
                    <a:pt x="176" y="375"/>
                  </a:cubicBezTo>
                  <a:cubicBezTo>
                    <a:pt x="162" y="182"/>
                    <a:pt x="162" y="182"/>
                    <a:pt x="162" y="182"/>
                  </a:cubicBezTo>
                  <a:cubicBezTo>
                    <a:pt x="162" y="48"/>
                    <a:pt x="162" y="48"/>
                    <a:pt x="162" y="48"/>
                  </a:cubicBezTo>
                  <a:cubicBezTo>
                    <a:pt x="167" y="50"/>
                    <a:pt x="172" y="52"/>
                    <a:pt x="177" y="54"/>
                  </a:cubicBezTo>
                  <a:cubicBezTo>
                    <a:pt x="179" y="55"/>
                    <a:pt x="182" y="55"/>
                    <a:pt x="184" y="56"/>
                  </a:cubicBezTo>
                  <a:cubicBezTo>
                    <a:pt x="234" y="75"/>
                    <a:pt x="234" y="75"/>
                    <a:pt x="234" y="75"/>
                  </a:cubicBezTo>
                  <a:cubicBezTo>
                    <a:pt x="238" y="77"/>
                    <a:pt x="242" y="78"/>
                    <a:pt x="245" y="80"/>
                  </a:cubicBezTo>
                  <a:cubicBezTo>
                    <a:pt x="247" y="80"/>
                    <a:pt x="249" y="81"/>
                    <a:pt x="251" y="81"/>
                  </a:cubicBezTo>
                  <a:cubicBezTo>
                    <a:pt x="264" y="81"/>
                    <a:pt x="270" y="66"/>
                    <a:pt x="267" y="54"/>
                  </a:cubicBezTo>
                  <a:cubicBezTo>
                    <a:pt x="245" y="77"/>
                    <a:pt x="245" y="77"/>
                    <a:pt x="245" y="77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61" y="45"/>
                    <a:pt x="261" y="45"/>
                    <a:pt x="261" y="45"/>
                  </a:cubicBezTo>
                  <a:cubicBezTo>
                    <a:pt x="259" y="44"/>
                    <a:pt x="258" y="43"/>
                    <a:pt x="256" y="43"/>
                  </a:cubicBezTo>
                  <a:cubicBezTo>
                    <a:pt x="234" y="35"/>
                    <a:pt x="234" y="35"/>
                    <a:pt x="234" y="35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56" y="9"/>
                    <a:pt x="129" y="1"/>
                    <a:pt x="121" y="0"/>
                  </a:cubicBezTo>
                  <a:close/>
                </a:path>
              </a:pathLst>
            </a:custGeom>
            <a:solidFill>
              <a:srgbClr val="5252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108" name="椭圆 107">
              <a:extLst>
                <a:ext uri="{FF2B5EF4-FFF2-40B4-BE49-F238E27FC236}">
                  <a16:creationId xmlns:a16="http://schemas.microsoft.com/office/drawing/2014/main" id="{8992E6C6-FD10-4FE3-89A1-6CEB267C0F49}"/>
                </a:ext>
              </a:extLst>
            </p:cNvPr>
            <p:cNvSpPr/>
            <p:nvPr/>
          </p:nvSpPr>
          <p:spPr bwMode="auto">
            <a:xfrm>
              <a:off x="5043242" y="1193346"/>
              <a:ext cx="256827" cy="310043"/>
            </a:xfrm>
            <a:prstGeom prst="ellipse">
              <a:avLst/>
            </a:prstGeom>
            <a:solidFill>
              <a:srgbClr val="52525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/>
            <a:p>
              <a:pPr algn="ctr"/>
              <a:endParaRPr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60DF0886-7E5F-439B-B2AF-205C4738C415}"/>
                </a:ext>
              </a:extLst>
            </p:cNvPr>
            <p:cNvSpPr/>
            <p:nvPr/>
          </p:nvSpPr>
          <p:spPr bwMode="auto">
            <a:xfrm>
              <a:off x="5663328" y="1052207"/>
              <a:ext cx="788991" cy="786676"/>
            </a:xfrm>
            <a:custGeom>
              <a:avLst/>
              <a:gdLst>
                <a:gd name="T0" fmla="*/ 0 w 341"/>
                <a:gd name="T1" fmla="*/ 333 h 340"/>
                <a:gd name="T2" fmla="*/ 341 w 341"/>
                <a:gd name="T3" fmla="*/ 0 h 340"/>
                <a:gd name="T4" fmla="*/ 13 w 341"/>
                <a:gd name="T5" fmla="*/ 340 h 340"/>
                <a:gd name="T6" fmla="*/ 0 w 341"/>
                <a:gd name="T7" fmla="*/ 333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1" h="340">
                  <a:moveTo>
                    <a:pt x="0" y="333"/>
                  </a:moveTo>
                  <a:lnTo>
                    <a:pt x="341" y="0"/>
                  </a:lnTo>
                  <a:lnTo>
                    <a:pt x="13" y="340"/>
                  </a:lnTo>
                  <a:lnTo>
                    <a:pt x="0" y="333"/>
                  </a:lnTo>
                  <a:close/>
                </a:path>
              </a:pathLst>
            </a:custGeom>
            <a:solidFill>
              <a:srgbClr val="221F2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</p:grpSp>
      <p:sp>
        <p:nvSpPr>
          <p:cNvPr id="71" name="任意多边形: 形状 70">
            <a:extLst>
              <a:ext uri="{FF2B5EF4-FFF2-40B4-BE49-F238E27FC236}">
                <a16:creationId xmlns:a16="http://schemas.microsoft.com/office/drawing/2014/main" id="{32269227-2EFA-468D-80AD-5F0B8633F9BE}"/>
              </a:ext>
            </a:extLst>
          </p:cNvPr>
          <p:cNvSpPr/>
          <p:nvPr/>
        </p:nvSpPr>
        <p:spPr bwMode="auto">
          <a:xfrm>
            <a:off x="0" y="5692775"/>
            <a:ext cx="12192000" cy="1165225"/>
          </a:xfrm>
          <a:custGeom>
            <a:avLst/>
            <a:gdLst>
              <a:gd name="connsiteX0" fmla="*/ 0 w 12192000"/>
              <a:gd name="connsiteY0" fmla="*/ 1027925 h 1165225"/>
              <a:gd name="connsiteX1" fmla="*/ 3239001 w 12192000"/>
              <a:gd name="connsiteY1" fmla="*/ 1027925 h 1165225"/>
              <a:gd name="connsiteX2" fmla="*/ 3402961 w 12192000"/>
              <a:gd name="connsiteY2" fmla="*/ 1027925 h 1165225"/>
              <a:gd name="connsiteX3" fmla="*/ 3447752 w 12192000"/>
              <a:gd name="connsiteY3" fmla="*/ 1027925 h 1165225"/>
              <a:gd name="connsiteX4" fmla="*/ 3940288 w 12192000"/>
              <a:gd name="connsiteY4" fmla="*/ 1027925 h 1165225"/>
              <a:gd name="connsiteX5" fmla="*/ 4096552 w 12192000"/>
              <a:gd name="connsiteY5" fmla="*/ 1027925 h 1165225"/>
              <a:gd name="connsiteX6" fmla="*/ 6550599 w 12192000"/>
              <a:gd name="connsiteY6" fmla="*/ 1027925 h 1165225"/>
              <a:gd name="connsiteX7" fmla="*/ 6880880 w 12192000"/>
              <a:gd name="connsiteY7" fmla="*/ 1027925 h 1165225"/>
              <a:gd name="connsiteX8" fmla="*/ 6937413 w 12192000"/>
              <a:gd name="connsiteY8" fmla="*/ 1027925 h 1165225"/>
              <a:gd name="connsiteX9" fmla="*/ 7343249 w 12192000"/>
              <a:gd name="connsiteY9" fmla="*/ 1027925 h 1165225"/>
              <a:gd name="connsiteX10" fmla="*/ 7574470 w 12192000"/>
              <a:gd name="connsiteY10" fmla="*/ 1027925 h 1165225"/>
              <a:gd name="connsiteX11" fmla="*/ 9859184 w 12192000"/>
              <a:gd name="connsiteY11" fmla="*/ 1027925 h 1165225"/>
              <a:gd name="connsiteX12" fmla="*/ 9877443 w 12192000"/>
              <a:gd name="connsiteY12" fmla="*/ 1027925 h 1165225"/>
              <a:gd name="connsiteX13" fmla="*/ 10119881 w 12192000"/>
              <a:gd name="connsiteY13" fmla="*/ 1027925 h 1165225"/>
              <a:gd name="connsiteX14" fmla="*/ 10328632 w 12192000"/>
              <a:gd name="connsiteY14" fmla="*/ 1027925 h 1165225"/>
              <a:gd name="connsiteX15" fmla="*/ 10571034 w 12192000"/>
              <a:gd name="connsiteY15" fmla="*/ 1027925 h 1165225"/>
              <a:gd name="connsiteX16" fmla="*/ 10613380 w 12192000"/>
              <a:gd name="connsiteY16" fmla="*/ 1027925 h 1165225"/>
              <a:gd name="connsiteX17" fmla="*/ 10759601 w 12192000"/>
              <a:gd name="connsiteY17" fmla="*/ 1027925 h 1165225"/>
              <a:gd name="connsiteX18" fmla="*/ 10813472 w 12192000"/>
              <a:gd name="connsiteY18" fmla="*/ 1027925 h 1165225"/>
              <a:gd name="connsiteX19" fmla="*/ 10821168 w 12192000"/>
              <a:gd name="connsiteY19" fmla="*/ 1027925 h 1165225"/>
              <a:gd name="connsiteX20" fmla="*/ 11178046 w 12192000"/>
              <a:gd name="connsiteY20" fmla="*/ 1027925 h 1165225"/>
              <a:gd name="connsiteX21" fmla="*/ 12155422 w 12192000"/>
              <a:gd name="connsiteY21" fmla="*/ 1027925 h 1165225"/>
              <a:gd name="connsiteX22" fmla="*/ 12192000 w 12192000"/>
              <a:gd name="connsiteY22" fmla="*/ 1027925 h 1165225"/>
              <a:gd name="connsiteX23" fmla="*/ 12192000 w 12192000"/>
              <a:gd name="connsiteY23" fmla="*/ 1165225 h 1165225"/>
              <a:gd name="connsiteX24" fmla="*/ 0 w 12192000"/>
              <a:gd name="connsiteY24" fmla="*/ 1165225 h 1165225"/>
              <a:gd name="connsiteX25" fmla="*/ 11717817 w 12192000"/>
              <a:gd name="connsiteY25" fmla="*/ 801593 h 1165225"/>
              <a:gd name="connsiteX26" fmla="*/ 12010389 w 12192000"/>
              <a:gd name="connsiteY26" fmla="*/ 801593 h 1165225"/>
              <a:gd name="connsiteX27" fmla="*/ 12133081 w 12192000"/>
              <a:gd name="connsiteY27" fmla="*/ 999634 h 1165225"/>
              <a:gd name="connsiteX28" fmla="*/ 11599844 w 12192000"/>
              <a:gd name="connsiteY28" fmla="*/ 999634 h 1165225"/>
              <a:gd name="connsiteX29" fmla="*/ 11717817 w 12192000"/>
              <a:gd name="connsiteY29" fmla="*/ 801593 h 1165225"/>
              <a:gd name="connsiteX30" fmla="*/ 10991105 w 12192000"/>
              <a:gd name="connsiteY30" fmla="*/ 801593 h 1165225"/>
              <a:gd name="connsiteX31" fmla="*/ 11283678 w 12192000"/>
              <a:gd name="connsiteY31" fmla="*/ 801593 h 1165225"/>
              <a:gd name="connsiteX32" fmla="*/ 11406369 w 12192000"/>
              <a:gd name="connsiteY32" fmla="*/ 999634 h 1165225"/>
              <a:gd name="connsiteX33" fmla="*/ 10873133 w 12192000"/>
              <a:gd name="connsiteY33" fmla="*/ 999634 h 1165225"/>
              <a:gd name="connsiteX34" fmla="*/ 10991105 w 12192000"/>
              <a:gd name="connsiteY34" fmla="*/ 801593 h 1165225"/>
              <a:gd name="connsiteX35" fmla="*/ 9438528 w 12192000"/>
              <a:gd name="connsiteY35" fmla="*/ 801593 h 1165225"/>
              <a:gd name="connsiteX36" fmla="*/ 9731100 w 12192000"/>
              <a:gd name="connsiteY36" fmla="*/ 801593 h 1165225"/>
              <a:gd name="connsiteX37" fmla="*/ 9853792 w 12192000"/>
              <a:gd name="connsiteY37" fmla="*/ 999634 h 1165225"/>
              <a:gd name="connsiteX38" fmla="*/ 9320555 w 12192000"/>
              <a:gd name="connsiteY38" fmla="*/ 999634 h 1165225"/>
              <a:gd name="connsiteX39" fmla="*/ 9438528 w 12192000"/>
              <a:gd name="connsiteY39" fmla="*/ 801593 h 1165225"/>
              <a:gd name="connsiteX40" fmla="*/ 8721254 w 12192000"/>
              <a:gd name="connsiteY40" fmla="*/ 801593 h 1165225"/>
              <a:gd name="connsiteX41" fmla="*/ 9013826 w 12192000"/>
              <a:gd name="connsiteY41" fmla="*/ 801593 h 1165225"/>
              <a:gd name="connsiteX42" fmla="*/ 9136518 w 12192000"/>
              <a:gd name="connsiteY42" fmla="*/ 999634 h 1165225"/>
              <a:gd name="connsiteX43" fmla="*/ 8603281 w 12192000"/>
              <a:gd name="connsiteY43" fmla="*/ 999634 h 1165225"/>
              <a:gd name="connsiteX44" fmla="*/ 8721254 w 12192000"/>
              <a:gd name="connsiteY44" fmla="*/ 801593 h 1165225"/>
              <a:gd name="connsiteX45" fmla="*/ 7994542 w 12192000"/>
              <a:gd name="connsiteY45" fmla="*/ 801593 h 1165225"/>
              <a:gd name="connsiteX46" fmla="*/ 8287114 w 12192000"/>
              <a:gd name="connsiteY46" fmla="*/ 801593 h 1165225"/>
              <a:gd name="connsiteX47" fmla="*/ 8409806 w 12192000"/>
              <a:gd name="connsiteY47" fmla="*/ 999634 h 1165225"/>
              <a:gd name="connsiteX48" fmla="*/ 7876569 w 12192000"/>
              <a:gd name="connsiteY48" fmla="*/ 999634 h 1165225"/>
              <a:gd name="connsiteX49" fmla="*/ 7994542 w 12192000"/>
              <a:gd name="connsiteY49" fmla="*/ 801593 h 1165225"/>
              <a:gd name="connsiteX50" fmla="*/ 5960609 w 12192000"/>
              <a:gd name="connsiteY50" fmla="*/ 801593 h 1165225"/>
              <a:gd name="connsiteX51" fmla="*/ 6253181 w 12192000"/>
              <a:gd name="connsiteY51" fmla="*/ 801593 h 1165225"/>
              <a:gd name="connsiteX52" fmla="*/ 6375874 w 12192000"/>
              <a:gd name="connsiteY52" fmla="*/ 999634 h 1165225"/>
              <a:gd name="connsiteX53" fmla="*/ 5842636 w 12192000"/>
              <a:gd name="connsiteY53" fmla="*/ 999634 h 1165225"/>
              <a:gd name="connsiteX54" fmla="*/ 5960609 w 12192000"/>
              <a:gd name="connsiteY54" fmla="*/ 801593 h 1165225"/>
              <a:gd name="connsiteX55" fmla="*/ 5243336 w 12192000"/>
              <a:gd name="connsiteY55" fmla="*/ 801593 h 1165225"/>
              <a:gd name="connsiteX56" fmla="*/ 5535907 w 12192000"/>
              <a:gd name="connsiteY56" fmla="*/ 801593 h 1165225"/>
              <a:gd name="connsiteX57" fmla="*/ 5658599 w 12192000"/>
              <a:gd name="connsiteY57" fmla="*/ 999634 h 1165225"/>
              <a:gd name="connsiteX58" fmla="*/ 5125363 w 12192000"/>
              <a:gd name="connsiteY58" fmla="*/ 999634 h 1165225"/>
              <a:gd name="connsiteX59" fmla="*/ 5243336 w 12192000"/>
              <a:gd name="connsiteY59" fmla="*/ 801593 h 1165225"/>
              <a:gd name="connsiteX60" fmla="*/ 4516623 w 12192000"/>
              <a:gd name="connsiteY60" fmla="*/ 801593 h 1165225"/>
              <a:gd name="connsiteX61" fmla="*/ 4809195 w 12192000"/>
              <a:gd name="connsiteY61" fmla="*/ 801593 h 1165225"/>
              <a:gd name="connsiteX62" fmla="*/ 4931888 w 12192000"/>
              <a:gd name="connsiteY62" fmla="*/ 999634 h 1165225"/>
              <a:gd name="connsiteX63" fmla="*/ 4398650 w 12192000"/>
              <a:gd name="connsiteY63" fmla="*/ 999634 h 1165225"/>
              <a:gd name="connsiteX64" fmla="*/ 4516623 w 12192000"/>
              <a:gd name="connsiteY64" fmla="*/ 801593 h 1165225"/>
              <a:gd name="connsiteX65" fmla="*/ 2557648 w 12192000"/>
              <a:gd name="connsiteY65" fmla="*/ 801593 h 1165225"/>
              <a:gd name="connsiteX66" fmla="*/ 2850220 w 12192000"/>
              <a:gd name="connsiteY66" fmla="*/ 801593 h 1165225"/>
              <a:gd name="connsiteX67" fmla="*/ 2972911 w 12192000"/>
              <a:gd name="connsiteY67" fmla="*/ 999634 h 1165225"/>
              <a:gd name="connsiteX68" fmla="*/ 2439675 w 12192000"/>
              <a:gd name="connsiteY68" fmla="*/ 999634 h 1165225"/>
              <a:gd name="connsiteX69" fmla="*/ 2557648 w 12192000"/>
              <a:gd name="connsiteY69" fmla="*/ 801593 h 1165225"/>
              <a:gd name="connsiteX70" fmla="*/ 1840373 w 12192000"/>
              <a:gd name="connsiteY70" fmla="*/ 801593 h 1165225"/>
              <a:gd name="connsiteX71" fmla="*/ 2132946 w 12192000"/>
              <a:gd name="connsiteY71" fmla="*/ 801593 h 1165225"/>
              <a:gd name="connsiteX72" fmla="*/ 2255637 w 12192000"/>
              <a:gd name="connsiteY72" fmla="*/ 999634 h 1165225"/>
              <a:gd name="connsiteX73" fmla="*/ 1722401 w 12192000"/>
              <a:gd name="connsiteY73" fmla="*/ 999634 h 1165225"/>
              <a:gd name="connsiteX74" fmla="*/ 1840373 w 12192000"/>
              <a:gd name="connsiteY74" fmla="*/ 801593 h 1165225"/>
              <a:gd name="connsiteX75" fmla="*/ 1113662 w 12192000"/>
              <a:gd name="connsiteY75" fmla="*/ 801593 h 1165225"/>
              <a:gd name="connsiteX76" fmla="*/ 1406234 w 12192000"/>
              <a:gd name="connsiteY76" fmla="*/ 801593 h 1165225"/>
              <a:gd name="connsiteX77" fmla="*/ 1528925 w 12192000"/>
              <a:gd name="connsiteY77" fmla="*/ 999634 h 1165225"/>
              <a:gd name="connsiteX78" fmla="*/ 995689 w 12192000"/>
              <a:gd name="connsiteY78" fmla="*/ 999634 h 1165225"/>
              <a:gd name="connsiteX79" fmla="*/ 1113662 w 12192000"/>
              <a:gd name="connsiteY79" fmla="*/ 801593 h 1165225"/>
              <a:gd name="connsiteX80" fmla="*/ 344480 w 12192000"/>
              <a:gd name="connsiteY80" fmla="*/ 801593 h 1165225"/>
              <a:gd name="connsiteX81" fmla="*/ 632333 w 12192000"/>
              <a:gd name="connsiteY81" fmla="*/ 801593 h 1165225"/>
              <a:gd name="connsiteX82" fmla="*/ 759744 w 12192000"/>
              <a:gd name="connsiteY82" fmla="*/ 999634 h 1165225"/>
              <a:gd name="connsiteX83" fmla="*/ 221788 w 12192000"/>
              <a:gd name="connsiteY83" fmla="*/ 999634 h 1165225"/>
              <a:gd name="connsiteX84" fmla="*/ 344480 w 12192000"/>
              <a:gd name="connsiteY84" fmla="*/ 801593 h 1165225"/>
              <a:gd name="connsiteX85" fmla="*/ 6706196 w 12192000"/>
              <a:gd name="connsiteY85" fmla="*/ 778017 h 1165225"/>
              <a:gd name="connsiteX86" fmla="*/ 6998770 w 12192000"/>
              <a:gd name="connsiteY86" fmla="*/ 778017 h 1165225"/>
              <a:gd name="connsiteX87" fmla="*/ 7102953 w 12192000"/>
              <a:gd name="connsiteY87" fmla="*/ 923895 h 1165225"/>
              <a:gd name="connsiteX88" fmla="*/ 7116939 w 12192000"/>
              <a:gd name="connsiteY88" fmla="*/ 963317 h 1165225"/>
              <a:gd name="connsiteX89" fmla="*/ 7123166 w 12192000"/>
              <a:gd name="connsiteY89" fmla="*/ 947471 h 1165225"/>
              <a:gd name="connsiteX90" fmla="*/ 7225360 w 12192000"/>
              <a:gd name="connsiteY90" fmla="*/ 801593 h 1165225"/>
              <a:gd name="connsiteX91" fmla="*/ 7513213 w 12192000"/>
              <a:gd name="connsiteY91" fmla="*/ 801593 h 1165225"/>
              <a:gd name="connsiteX92" fmla="*/ 7640624 w 12192000"/>
              <a:gd name="connsiteY92" fmla="*/ 999634 h 1165225"/>
              <a:gd name="connsiteX93" fmla="*/ 7102668 w 12192000"/>
              <a:gd name="connsiteY93" fmla="*/ 999634 h 1165225"/>
              <a:gd name="connsiteX94" fmla="*/ 7111933 w 12192000"/>
              <a:gd name="connsiteY94" fmla="*/ 976058 h 1165225"/>
              <a:gd name="connsiteX95" fmla="*/ 6588225 w 12192000"/>
              <a:gd name="connsiteY95" fmla="*/ 976058 h 1165225"/>
              <a:gd name="connsiteX96" fmla="*/ 6706196 w 12192000"/>
              <a:gd name="connsiteY96" fmla="*/ 778017 h 1165225"/>
              <a:gd name="connsiteX97" fmla="*/ 3303235 w 12192000"/>
              <a:gd name="connsiteY97" fmla="*/ 778017 h 1165225"/>
              <a:gd name="connsiteX98" fmla="*/ 3595807 w 12192000"/>
              <a:gd name="connsiteY98" fmla="*/ 778017 h 1165225"/>
              <a:gd name="connsiteX99" fmla="*/ 3673079 w 12192000"/>
              <a:gd name="connsiteY99" fmla="*/ 866428 h 1165225"/>
              <a:gd name="connsiteX100" fmla="*/ 3679007 w 12192000"/>
              <a:gd name="connsiteY100" fmla="*/ 879086 h 1165225"/>
              <a:gd name="connsiteX101" fmla="*/ 3705709 w 12192000"/>
              <a:gd name="connsiteY101" fmla="*/ 837842 h 1165225"/>
              <a:gd name="connsiteX102" fmla="*/ 3747441 w 12192000"/>
              <a:gd name="connsiteY102" fmla="*/ 801593 h 1165225"/>
              <a:gd name="connsiteX103" fmla="*/ 4035295 w 12192000"/>
              <a:gd name="connsiteY103" fmla="*/ 801593 h 1165225"/>
              <a:gd name="connsiteX104" fmla="*/ 4162705 w 12192000"/>
              <a:gd name="connsiteY104" fmla="*/ 999634 h 1165225"/>
              <a:gd name="connsiteX105" fmla="*/ 3624750 w 12192000"/>
              <a:gd name="connsiteY105" fmla="*/ 999634 h 1165225"/>
              <a:gd name="connsiteX106" fmla="*/ 3634015 w 12192000"/>
              <a:gd name="connsiteY106" fmla="*/ 976058 h 1165225"/>
              <a:gd name="connsiteX107" fmla="*/ 3185262 w 12192000"/>
              <a:gd name="connsiteY107" fmla="*/ 976058 h 1165225"/>
              <a:gd name="connsiteX108" fmla="*/ 3303235 w 12192000"/>
              <a:gd name="connsiteY108" fmla="*/ 778017 h 1165225"/>
              <a:gd name="connsiteX109" fmla="*/ 11868822 w 12192000"/>
              <a:gd name="connsiteY109" fmla="*/ 504532 h 1165225"/>
              <a:gd name="connsiteX110" fmla="*/ 11996232 w 12192000"/>
              <a:gd name="connsiteY110" fmla="*/ 645990 h 1165225"/>
              <a:gd name="connsiteX111" fmla="*/ 11868822 w 12192000"/>
              <a:gd name="connsiteY111" fmla="*/ 792163 h 1165225"/>
              <a:gd name="connsiteX112" fmla="*/ 11736693 w 12192000"/>
              <a:gd name="connsiteY112" fmla="*/ 645990 h 1165225"/>
              <a:gd name="connsiteX113" fmla="*/ 11868822 w 12192000"/>
              <a:gd name="connsiteY113" fmla="*/ 504532 h 1165225"/>
              <a:gd name="connsiteX114" fmla="*/ 11137391 w 12192000"/>
              <a:gd name="connsiteY114" fmla="*/ 504532 h 1165225"/>
              <a:gd name="connsiteX115" fmla="*/ 11269521 w 12192000"/>
              <a:gd name="connsiteY115" fmla="*/ 645990 h 1165225"/>
              <a:gd name="connsiteX116" fmla="*/ 11137391 w 12192000"/>
              <a:gd name="connsiteY116" fmla="*/ 792163 h 1165225"/>
              <a:gd name="connsiteX117" fmla="*/ 11005262 w 12192000"/>
              <a:gd name="connsiteY117" fmla="*/ 645990 h 1165225"/>
              <a:gd name="connsiteX118" fmla="*/ 11137391 w 12192000"/>
              <a:gd name="connsiteY118" fmla="*/ 504532 h 1165225"/>
              <a:gd name="connsiteX119" fmla="*/ 9584814 w 12192000"/>
              <a:gd name="connsiteY119" fmla="*/ 504532 h 1165225"/>
              <a:gd name="connsiteX120" fmla="*/ 9716943 w 12192000"/>
              <a:gd name="connsiteY120" fmla="*/ 645990 h 1165225"/>
              <a:gd name="connsiteX121" fmla="*/ 9584814 w 12192000"/>
              <a:gd name="connsiteY121" fmla="*/ 792163 h 1165225"/>
              <a:gd name="connsiteX122" fmla="*/ 9457404 w 12192000"/>
              <a:gd name="connsiteY122" fmla="*/ 645990 h 1165225"/>
              <a:gd name="connsiteX123" fmla="*/ 9584814 w 12192000"/>
              <a:gd name="connsiteY123" fmla="*/ 504532 h 1165225"/>
              <a:gd name="connsiteX124" fmla="*/ 8872259 w 12192000"/>
              <a:gd name="connsiteY124" fmla="*/ 504532 h 1165225"/>
              <a:gd name="connsiteX125" fmla="*/ 8999669 w 12192000"/>
              <a:gd name="connsiteY125" fmla="*/ 645990 h 1165225"/>
              <a:gd name="connsiteX126" fmla="*/ 8872259 w 12192000"/>
              <a:gd name="connsiteY126" fmla="*/ 792163 h 1165225"/>
              <a:gd name="connsiteX127" fmla="*/ 8740130 w 12192000"/>
              <a:gd name="connsiteY127" fmla="*/ 645990 h 1165225"/>
              <a:gd name="connsiteX128" fmla="*/ 8872259 w 12192000"/>
              <a:gd name="connsiteY128" fmla="*/ 504532 h 1165225"/>
              <a:gd name="connsiteX129" fmla="*/ 8140828 w 12192000"/>
              <a:gd name="connsiteY129" fmla="*/ 504532 h 1165225"/>
              <a:gd name="connsiteX130" fmla="*/ 8272958 w 12192000"/>
              <a:gd name="connsiteY130" fmla="*/ 645990 h 1165225"/>
              <a:gd name="connsiteX131" fmla="*/ 8140828 w 12192000"/>
              <a:gd name="connsiteY131" fmla="*/ 792163 h 1165225"/>
              <a:gd name="connsiteX132" fmla="*/ 8008699 w 12192000"/>
              <a:gd name="connsiteY132" fmla="*/ 645990 h 1165225"/>
              <a:gd name="connsiteX133" fmla="*/ 8140828 w 12192000"/>
              <a:gd name="connsiteY133" fmla="*/ 504532 h 1165225"/>
              <a:gd name="connsiteX134" fmla="*/ 7371646 w 12192000"/>
              <a:gd name="connsiteY134" fmla="*/ 504532 h 1165225"/>
              <a:gd name="connsiteX135" fmla="*/ 7503776 w 12192000"/>
              <a:gd name="connsiteY135" fmla="*/ 645990 h 1165225"/>
              <a:gd name="connsiteX136" fmla="*/ 7371646 w 12192000"/>
              <a:gd name="connsiteY136" fmla="*/ 792163 h 1165225"/>
              <a:gd name="connsiteX137" fmla="*/ 7239517 w 12192000"/>
              <a:gd name="connsiteY137" fmla="*/ 645990 h 1165225"/>
              <a:gd name="connsiteX138" fmla="*/ 7371646 w 12192000"/>
              <a:gd name="connsiteY138" fmla="*/ 504532 h 1165225"/>
              <a:gd name="connsiteX139" fmla="*/ 6106895 w 12192000"/>
              <a:gd name="connsiteY139" fmla="*/ 504532 h 1165225"/>
              <a:gd name="connsiteX140" fmla="*/ 6239024 w 12192000"/>
              <a:gd name="connsiteY140" fmla="*/ 645990 h 1165225"/>
              <a:gd name="connsiteX141" fmla="*/ 6106895 w 12192000"/>
              <a:gd name="connsiteY141" fmla="*/ 792163 h 1165225"/>
              <a:gd name="connsiteX142" fmla="*/ 5979485 w 12192000"/>
              <a:gd name="connsiteY142" fmla="*/ 645990 h 1165225"/>
              <a:gd name="connsiteX143" fmla="*/ 6106895 w 12192000"/>
              <a:gd name="connsiteY143" fmla="*/ 504532 h 1165225"/>
              <a:gd name="connsiteX144" fmla="*/ 5394340 w 12192000"/>
              <a:gd name="connsiteY144" fmla="*/ 504532 h 1165225"/>
              <a:gd name="connsiteX145" fmla="*/ 5521751 w 12192000"/>
              <a:gd name="connsiteY145" fmla="*/ 645990 h 1165225"/>
              <a:gd name="connsiteX146" fmla="*/ 5394340 w 12192000"/>
              <a:gd name="connsiteY146" fmla="*/ 792163 h 1165225"/>
              <a:gd name="connsiteX147" fmla="*/ 5262210 w 12192000"/>
              <a:gd name="connsiteY147" fmla="*/ 645990 h 1165225"/>
              <a:gd name="connsiteX148" fmla="*/ 5394340 w 12192000"/>
              <a:gd name="connsiteY148" fmla="*/ 504532 h 1165225"/>
              <a:gd name="connsiteX149" fmla="*/ 4662911 w 12192000"/>
              <a:gd name="connsiteY149" fmla="*/ 504532 h 1165225"/>
              <a:gd name="connsiteX150" fmla="*/ 4795040 w 12192000"/>
              <a:gd name="connsiteY150" fmla="*/ 645990 h 1165225"/>
              <a:gd name="connsiteX151" fmla="*/ 4662911 w 12192000"/>
              <a:gd name="connsiteY151" fmla="*/ 792163 h 1165225"/>
              <a:gd name="connsiteX152" fmla="*/ 4530781 w 12192000"/>
              <a:gd name="connsiteY152" fmla="*/ 645990 h 1165225"/>
              <a:gd name="connsiteX153" fmla="*/ 4662911 w 12192000"/>
              <a:gd name="connsiteY153" fmla="*/ 504532 h 1165225"/>
              <a:gd name="connsiteX154" fmla="*/ 3893728 w 12192000"/>
              <a:gd name="connsiteY154" fmla="*/ 504532 h 1165225"/>
              <a:gd name="connsiteX155" fmla="*/ 4025857 w 12192000"/>
              <a:gd name="connsiteY155" fmla="*/ 645990 h 1165225"/>
              <a:gd name="connsiteX156" fmla="*/ 3893728 w 12192000"/>
              <a:gd name="connsiteY156" fmla="*/ 792163 h 1165225"/>
              <a:gd name="connsiteX157" fmla="*/ 3761598 w 12192000"/>
              <a:gd name="connsiteY157" fmla="*/ 645990 h 1165225"/>
              <a:gd name="connsiteX158" fmla="*/ 3893728 w 12192000"/>
              <a:gd name="connsiteY158" fmla="*/ 504532 h 1165225"/>
              <a:gd name="connsiteX159" fmla="*/ 2703934 w 12192000"/>
              <a:gd name="connsiteY159" fmla="*/ 504532 h 1165225"/>
              <a:gd name="connsiteX160" fmla="*/ 2836063 w 12192000"/>
              <a:gd name="connsiteY160" fmla="*/ 645990 h 1165225"/>
              <a:gd name="connsiteX161" fmla="*/ 2703934 w 12192000"/>
              <a:gd name="connsiteY161" fmla="*/ 792163 h 1165225"/>
              <a:gd name="connsiteX162" fmla="*/ 2576523 w 12192000"/>
              <a:gd name="connsiteY162" fmla="*/ 645990 h 1165225"/>
              <a:gd name="connsiteX163" fmla="*/ 2703934 w 12192000"/>
              <a:gd name="connsiteY163" fmla="*/ 504532 h 1165225"/>
              <a:gd name="connsiteX164" fmla="*/ 1991379 w 12192000"/>
              <a:gd name="connsiteY164" fmla="*/ 504532 h 1165225"/>
              <a:gd name="connsiteX165" fmla="*/ 2118789 w 12192000"/>
              <a:gd name="connsiteY165" fmla="*/ 645990 h 1165225"/>
              <a:gd name="connsiteX166" fmla="*/ 1991379 w 12192000"/>
              <a:gd name="connsiteY166" fmla="*/ 792163 h 1165225"/>
              <a:gd name="connsiteX167" fmla="*/ 1859249 w 12192000"/>
              <a:gd name="connsiteY167" fmla="*/ 645990 h 1165225"/>
              <a:gd name="connsiteX168" fmla="*/ 1991379 w 12192000"/>
              <a:gd name="connsiteY168" fmla="*/ 504532 h 1165225"/>
              <a:gd name="connsiteX169" fmla="*/ 1259948 w 12192000"/>
              <a:gd name="connsiteY169" fmla="*/ 504532 h 1165225"/>
              <a:gd name="connsiteX170" fmla="*/ 1392077 w 12192000"/>
              <a:gd name="connsiteY170" fmla="*/ 645990 h 1165225"/>
              <a:gd name="connsiteX171" fmla="*/ 1259948 w 12192000"/>
              <a:gd name="connsiteY171" fmla="*/ 792163 h 1165225"/>
              <a:gd name="connsiteX172" fmla="*/ 1127818 w 12192000"/>
              <a:gd name="connsiteY172" fmla="*/ 645990 h 1165225"/>
              <a:gd name="connsiteX173" fmla="*/ 1259948 w 12192000"/>
              <a:gd name="connsiteY173" fmla="*/ 504532 h 1165225"/>
              <a:gd name="connsiteX174" fmla="*/ 490766 w 12192000"/>
              <a:gd name="connsiteY174" fmla="*/ 504532 h 1165225"/>
              <a:gd name="connsiteX175" fmla="*/ 622895 w 12192000"/>
              <a:gd name="connsiteY175" fmla="*/ 645990 h 1165225"/>
              <a:gd name="connsiteX176" fmla="*/ 490766 w 12192000"/>
              <a:gd name="connsiteY176" fmla="*/ 792163 h 1165225"/>
              <a:gd name="connsiteX177" fmla="*/ 358636 w 12192000"/>
              <a:gd name="connsiteY177" fmla="*/ 645990 h 1165225"/>
              <a:gd name="connsiteX178" fmla="*/ 490766 w 12192000"/>
              <a:gd name="connsiteY178" fmla="*/ 504532 h 1165225"/>
              <a:gd name="connsiteX179" fmla="*/ 10330401 w 12192000"/>
              <a:gd name="connsiteY179" fmla="*/ 480956 h 1165225"/>
              <a:gd name="connsiteX180" fmla="*/ 10382899 w 12192000"/>
              <a:gd name="connsiteY180" fmla="*/ 492450 h 1165225"/>
              <a:gd name="connsiteX181" fmla="*/ 10413068 w 12192000"/>
              <a:gd name="connsiteY181" fmla="*/ 514741 h 1165225"/>
              <a:gd name="connsiteX182" fmla="*/ 10418716 w 12192000"/>
              <a:gd name="connsiteY182" fmla="*/ 516026 h 1165225"/>
              <a:gd name="connsiteX183" fmla="*/ 10500339 w 12192000"/>
              <a:gd name="connsiteY183" fmla="*/ 645990 h 1165225"/>
              <a:gd name="connsiteX184" fmla="*/ 10460818 w 12192000"/>
              <a:gd name="connsiteY184" fmla="*/ 749136 h 1165225"/>
              <a:gd name="connsiteX185" fmla="*/ 10422167 w 12192000"/>
              <a:gd name="connsiteY185" fmla="*/ 778017 h 1165225"/>
              <a:gd name="connsiteX186" fmla="*/ 10476688 w 12192000"/>
              <a:gd name="connsiteY186" fmla="*/ 778017 h 1165225"/>
              <a:gd name="connsiteX187" fmla="*/ 10504262 w 12192000"/>
              <a:gd name="connsiteY187" fmla="*/ 801593 h 1165225"/>
              <a:gd name="connsiteX188" fmla="*/ 10509777 w 12192000"/>
              <a:gd name="connsiteY188" fmla="*/ 801593 h 1165225"/>
              <a:gd name="connsiteX189" fmla="*/ 10637187 w 12192000"/>
              <a:gd name="connsiteY189" fmla="*/ 999634 h 1165225"/>
              <a:gd name="connsiteX190" fmla="*/ 10099232 w 12192000"/>
              <a:gd name="connsiteY190" fmla="*/ 999634 h 1165225"/>
              <a:gd name="connsiteX191" fmla="*/ 10108496 w 12192000"/>
              <a:gd name="connsiteY191" fmla="*/ 976058 h 1165225"/>
              <a:gd name="connsiteX192" fmla="*/ 10066143 w 12192000"/>
              <a:gd name="connsiteY192" fmla="*/ 976058 h 1165225"/>
              <a:gd name="connsiteX193" fmla="*/ 10184115 w 12192000"/>
              <a:gd name="connsiteY193" fmla="*/ 778017 h 1165225"/>
              <a:gd name="connsiteX194" fmla="*/ 10314251 w 12192000"/>
              <a:gd name="connsiteY194" fmla="*/ 778017 h 1165225"/>
              <a:gd name="connsiteX195" fmla="*/ 10288915 w 12192000"/>
              <a:gd name="connsiteY195" fmla="*/ 759085 h 1165225"/>
              <a:gd name="connsiteX196" fmla="*/ 10279894 w 12192000"/>
              <a:gd name="connsiteY196" fmla="*/ 757019 h 1165225"/>
              <a:gd name="connsiteX197" fmla="*/ 10198272 w 12192000"/>
              <a:gd name="connsiteY197" fmla="*/ 622414 h 1165225"/>
              <a:gd name="connsiteX198" fmla="*/ 10330401 w 12192000"/>
              <a:gd name="connsiteY198" fmla="*/ 480956 h 1165225"/>
              <a:gd name="connsiteX199" fmla="*/ 6852482 w 12192000"/>
              <a:gd name="connsiteY199" fmla="*/ 480956 h 1165225"/>
              <a:gd name="connsiteX200" fmla="*/ 6984612 w 12192000"/>
              <a:gd name="connsiteY200" fmla="*/ 622414 h 1165225"/>
              <a:gd name="connsiteX201" fmla="*/ 6852482 w 12192000"/>
              <a:gd name="connsiteY201" fmla="*/ 768586 h 1165225"/>
              <a:gd name="connsiteX202" fmla="*/ 6720353 w 12192000"/>
              <a:gd name="connsiteY202" fmla="*/ 622414 h 1165225"/>
              <a:gd name="connsiteX203" fmla="*/ 6852482 w 12192000"/>
              <a:gd name="connsiteY203" fmla="*/ 480956 h 1165225"/>
              <a:gd name="connsiteX204" fmla="*/ 3449521 w 12192000"/>
              <a:gd name="connsiteY204" fmla="*/ 480956 h 1165225"/>
              <a:gd name="connsiteX205" fmla="*/ 3581650 w 12192000"/>
              <a:gd name="connsiteY205" fmla="*/ 622414 h 1165225"/>
              <a:gd name="connsiteX206" fmla="*/ 3449521 w 12192000"/>
              <a:gd name="connsiteY206" fmla="*/ 768586 h 1165225"/>
              <a:gd name="connsiteX207" fmla="*/ 3317392 w 12192000"/>
              <a:gd name="connsiteY207" fmla="*/ 622414 h 1165225"/>
              <a:gd name="connsiteX208" fmla="*/ 3449521 w 12192000"/>
              <a:gd name="connsiteY208" fmla="*/ 480956 h 1165225"/>
              <a:gd name="connsiteX209" fmla="*/ 12192000 w 12192000"/>
              <a:gd name="connsiteY209" fmla="*/ 314639 h 1165225"/>
              <a:gd name="connsiteX210" fmla="*/ 12192000 w 12192000"/>
              <a:gd name="connsiteY210" fmla="*/ 633107 h 1165225"/>
              <a:gd name="connsiteX211" fmla="*/ 12148418 w 12192000"/>
              <a:gd name="connsiteY211" fmla="*/ 624034 h 1165225"/>
              <a:gd name="connsiteX212" fmla="*/ 12052860 w 12192000"/>
              <a:gd name="connsiteY212" fmla="*/ 471526 h 1165225"/>
              <a:gd name="connsiteX213" fmla="*/ 12148418 w 12192000"/>
              <a:gd name="connsiteY213" fmla="*/ 323658 h 1165225"/>
              <a:gd name="connsiteX214" fmla="*/ 11481872 w 12192000"/>
              <a:gd name="connsiteY214" fmla="*/ 311207 h 1165225"/>
              <a:gd name="connsiteX215" fmla="*/ 11632877 w 12192000"/>
              <a:gd name="connsiteY215" fmla="*/ 471526 h 1165225"/>
              <a:gd name="connsiteX216" fmla="*/ 11481872 w 12192000"/>
              <a:gd name="connsiteY216" fmla="*/ 636559 h 1165225"/>
              <a:gd name="connsiteX217" fmla="*/ 11330867 w 12192000"/>
              <a:gd name="connsiteY217" fmla="*/ 471526 h 1165225"/>
              <a:gd name="connsiteX218" fmla="*/ 11481872 w 12192000"/>
              <a:gd name="connsiteY218" fmla="*/ 311207 h 1165225"/>
              <a:gd name="connsiteX219" fmla="*/ 10750441 w 12192000"/>
              <a:gd name="connsiteY219" fmla="*/ 311207 h 1165225"/>
              <a:gd name="connsiteX220" fmla="*/ 10901446 w 12192000"/>
              <a:gd name="connsiteY220" fmla="*/ 471526 h 1165225"/>
              <a:gd name="connsiteX221" fmla="*/ 10750441 w 12192000"/>
              <a:gd name="connsiteY221" fmla="*/ 636559 h 1165225"/>
              <a:gd name="connsiteX222" fmla="*/ 10599436 w 12192000"/>
              <a:gd name="connsiteY222" fmla="*/ 471526 h 1165225"/>
              <a:gd name="connsiteX223" fmla="*/ 10750441 w 12192000"/>
              <a:gd name="connsiteY223" fmla="*/ 311207 h 1165225"/>
              <a:gd name="connsiteX224" fmla="*/ 9952889 w 12192000"/>
              <a:gd name="connsiteY224" fmla="*/ 311207 h 1165225"/>
              <a:gd name="connsiteX225" fmla="*/ 10103894 w 12192000"/>
              <a:gd name="connsiteY225" fmla="*/ 471526 h 1165225"/>
              <a:gd name="connsiteX226" fmla="*/ 9952889 w 12192000"/>
              <a:gd name="connsiteY226" fmla="*/ 636559 h 1165225"/>
              <a:gd name="connsiteX227" fmla="*/ 9801884 w 12192000"/>
              <a:gd name="connsiteY227" fmla="*/ 471526 h 1165225"/>
              <a:gd name="connsiteX228" fmla="*/ 9952889 w 12192000"/>
              <a:gd name="connsiteY228" fmla="*/ 311207 h 1165225"/>
              <a:gd name="connsiteX229" fmla="*/ 9212021 w 12192000"/>
              <a:gd name="connsiteY229" fmla="*/ 311207 h 1165225"/>
              <a:gd name="connsiteX230" fmla="*/ 9363025 w 12192000"/>
              <a:gd name="connsiteY230" fmla="*/ 471526 h 1165225"/>
              <a:gd name="connsiteX231" fmla="*/ 9212021 w 12192000"/>
              <a:gd name="connsiteY231" fmla="*/ 636559 h 1165225"/>
              <a:gd name="connsiteX232" fmla="*/ 9056297 w 12192000"/>
              <a:gd name="connsiteY232" fmla="*/ 471526 h 1165225"/>
              <a:gd name="connsiteX233" fmla="*/ 9212021 w 12192000"/>
              <a:gd name="connsiteY233" fmla="*/ 311207 h 1165225"/>
              <a:gd name="connsiteX234" fmla="*/ 8485309 w 12192000"/>
              <a:gd name="connsiteY234" fmla="*/ 311207 h 1165225"/>
              <a:gd name="connsiteX235" fmla="*/ 8636314 w 12192000"/>
              <a:gd name="connsiteY235" fmla="*/ 471526 h 1165225"/>
              <a:gd name="connsiteX236" fmla="*/ 8485309 w 12192000"/>
              <a:gd name="connsiteY236" fmla="*/ 636559 h 1165225"/>
              <a:gd name="connsiteX237" fmla="*/ 8334303 w 12192000"/>
              <a:gd name="connsiteY237" fmla="*/ 471526 h 1165225"/>
              <a:gd name="connsiteX238" fmla="*/ 8485309 w 12192000"/>
              <a:gd name="connsiteY238" fmla="*/ 311207 h 1165225"/>
              <a:gd name="connsiteX239" fmla="*/ 7753878 w 12192000"/>
              <a:gd name="connsiteY239" fmla="*/ 311207 h 1165225"/>
              <a:gd name="connsiteX240" fmla="*/ 7904883 w 12192000"/>
              <a:gd name="connsiteY240" fmla="*/ 471526 h 1165225"/>
              <a:gd name="connsiteX241" fmla="*/ 7753878 w 12192000"/>
              <a:gd name="connsiteY241" fmla="*/ 636559 h 1165225"/>
              <a:gd name="connsiteX242" fmla="*/ 7602873 w 12192000"/>
              <a:gd name="connsiteY242" fmla="*/ 471526 h 1165225"/>
              <a:gd name="connsiteX243" fmla="*/ 7753878 w 12192000"/>
              <a:gd name="connsiteY243" fmla="*/ 311207 h 1165225"/>
              <a:gd name="connsiteX244" fmla="*/ 6474970 w 12192000"/>
              <a:gd name="connsiteY244" fmla="*/ 311207 h 1165225"/>
              <a:gd name="connsiteX245" fmla="*/ 6625976 w 12192000"/>
              <a:gd name="connsiteY245" fmla="*/ 471526 h 1165225"/>
              <a:gd name="connsiteX246" fmla="*/ 6474970 w 12192000"/>
              <a:gd name="connsiteY246" fmla="*/ 636559 h 1165225"/>
              <a:gd name="connsiteX247" fmla="*/ 6323966 w 12192000"/>
              <a:gd name="connsiteY247" fmla="*/ 471526 h 1165225"/>
              <a:gd name="connsiteX248" fmla="*/ 6474970 w 12192000"/>
              <a:gd name="connsiteY248" fmla="*/ 311207 h 1165225"/>
              <a:gd name="connsiteX249" fmla="*/ 5734101 w 12192000"/>
              <a:gd name="connsiteY249" fmla="*/ 311207 h 1165225"/>
              <a:gd name="connsiteX250" fmla="*/ 5885107 w 12192000"/>
              <a:gd name="connsiteY250" fmla="*/ 471526 h 1165225"/>
              <a:gd name="connsiteX251" fmla="*/ 5734101 w 12192000"/>
              <a:gd name="connsiteY251" fmla="*/ 636559 h 1165225"/>
              <a:gd name="connsiteX252" fmla="*/ 5578377 w 12192000"/>
              <a:gd name="connsiteY252" fmla="*/ 471526 h 1165225"/>
              <a:gd name="connsiteX253" fmla="*/ 5734101 w 12192000"/>
              <a:gd name="connsiteY253" fmla="*/ 311207 h 1165225"/>
              <a:gd name="connsiteX254" fmla="*/ 5007390 w 12192000"/>
              <a:gd name="connsiteY254" fmla="*/ 311207 h 1165225"/>
              <a:gd name="connsiteX255" fmla="*/ 5158396 w 12192000"/>
              <a:gd name="connsiteY255" fmla="*/ 471526 h 1165225"/>
              <a:gd name="connsiteX256" fmla="*/ 5007390 w 12192000"/>
              <a:gd name="connsiteY256" fmla="*/ 636559 h 1165225"/>
              <a:gd name="connsiteX257" fmla="*/ 4856386 w 12192000"/>
              <a:gd name="connsiteY257" fmla="*/ 471526 h 1165225"/>
              <a:gd name="connsiteX258" fmla="*/ 5007390 w 12192000"/>
              <a:gd name="connsiteY258" fmla="*/ 311207 h 1165225"/>
              <a:gd name="connsiteX259" fmla="*/ 4275959 w 12192000"/>
              <a:gd name="connsiteY259" fmla="*/ 311207 h 1165225"/>
              <a:gd name="connsiteX260" fmla="*/ 4426964 w 12192000"/>
              <a:gd name="connsiteY260" fmla="*/ 471526 h 1165225"/>
              <a:gd name="connsiteX261" fmla="*/ 4275959 w 12192000"/>
              <a:gd name="connsiteY261" fmla="*/ 636559 h 1165225"/>
              <a:gd name="connsiteX262" fmla="*/ 4124954 w 12192000"/>
              <a:gd name="connsiteY262" fmla="*/ 471526 h 1165225"/>
              <a:gd name="connsiteX263" fmla="*/ 4275959 w 12192000"/>
              <a:gd name="connsiteY263" fmla="*/ 311207 h 1165225"/>
              <a:gd name="connsiteX264" fmla="*/ 3072008 w 12192000"/>
              <a:gd name="connsiteY264" fmla="*/ 311207 h 1165225"/>
              <a:gd name="connsiteX265" fmla="*/ 3223013 w 12192000"/>
              <a:gd name="connsiteY265" fmla="*/ 471526 h 1165225"/>
              <a:gd name="connsiteX266" fmla="*/ 3072008 w 12192000"/>
              <a:gd name="connsiteY266" fmla="*/ 636559 h 1165225"/>
              <a:gd name="connsiteX267" fmla="*/ 2921004 w 12192000"/>
              <a:gd name="connsiteY267" fmla="*/ 471526 h 1165225"/>
              <a:gd name="connsiteX268" fmla="*/ 3072008 w 12192000"/>
              <a:gd name="connsiteY268" fmla="*/ 311207 h 1165225"/>
              <a:gd name="connsiteX269" fmla="*/ 2331140 w 12192000"/>
              <a:gd name="connsiteY269" fmla="*/ 311207 h 1165225"/>
              <a:gd name="connsiteX270" fmla="*/ 2482145 w 12192000"/>
              <a:gd name="connsiteY270" fmla="*/ 471526 h 1165225"/>
              <a:gd name="connsiteX271" fmla="*/ 2331140 w 12192000"/>
              <a:gd name="connsiteY271" fmla="*/ 636559 h 1165225"/>
              <a:gd name="connsiteX272" fmla="*/ 2175416 w 12192000"/>
              <a:gd name="connsiteY272" fmla="*/ 471526 h 1165225"/>
              <a:gd name="connsiteX273" fmla="*/ 2331140 w 12192000"/>
              <a:gd name="connsiteY273" fmla="*/ 311207 h 1165225"/>
              <a:gd name="connsiteX274" fmla="*/ 1604428 w 12192000"/>
              <a:gd name="connsiteY274" fmla="*/ 311207 h 1165225"/>
              <a:gd name="connsiteX275" fmla="*/ 1755433 w 12192000"/>
              <a:gd name="connsiteY275" fmla="*/ 471526 h 1165225"/>
              <a:gd name="connsiteX276" fmla="*/ 1604428 w 12192000"/>
              <a:gd name="connsiteY276" fmla="*/ 636559 h 1165225"/>
              <a:gd name="connsiteX277" fmla="*/ 1453423 w 12192000"/>
              <a:gd name="connsiteY277" fmla="*/ 471526 h 1165225"/>
              <a:gd name="connsiteX278" fmla="*/ 1604428 w 12192000"/>
              <a:gd name="connsiteY278" fmla="*/ 311207 h 1165225"/>
              <a:gd name="connsiteX279" fmla="*/ 872998 w 12192000"/>
              <a:gd name="connsiteY279" fmla="*/ 311207 h 1165225"/>
              <a:gd name="connsiteX280" fmla="*/ 1024002 w 12192000"/>
              <a:gd name="connsiteY280" fmla="*/ 471526 h 1165225"/>
              <a:gd name="connsiteX281" fmla="*/ 872998 w 12192000"/>
              <a:gd name="connsiteY281" fmla="*/ 636559 h 1165225"/>
              <a:gd name="connsiteX282" fmla="*/ 721992 w 12192000"/>
              <a:gd name="connsiteY282" fmla="*/ 471526 h 1165225"/>
              <a:gd name="connsiteX283" fmla="*/ 872998 w 12192000"/>
              <a:gd name="connsiteY283" fmla="*/ 311207 h 1165225"/>
              <a:gd name="connsiteX284" fmla="*/ 11868822 w 12192000"/>
              <a:gd name="connsiteY284" fmla="*/ 94305 h 1165225"/>
              <a:gd name="connsiteX285" fmla="*/ 12005670 w 12192000"/>
              <a:gd name="connsiteY285" fmla="*/ 240478 h 1165225"/>
              <a:gd name="connsiteX286" fmla="*/ 11868822 w 12192000"/>
              <a:gd name="connsiteY286" fmla="*/ 386651 h 1165225"/>
              <a:gd name="connsiteX287" fmla="*/ 11731974 w 12192000"/>
              <a:gd name="connsiteY287" fmla="*/ 240478 h 1165225"/>
              <a:gd name="connsiteX288" fmla="*/ 11868822 w 12192000"/>
              <a:gd name="connsiteY288" fmla="*/ 94305 h 1165225"/>
              <a:gd name="connsiteX289" fmla="*/ 11113797 w 12192000"/>
              <a:gd name="connsiteY289" fmla="*/ 94305 h 1165225"/>
              <a:gd name="connsiteX290" fmla="*/ 11250645 w 12192000"/>
              <a:gd name="connsiteY290" fmla="*/ 240478 h 1165225"/>
              <a:gd name="connsiteX291" fmla="*/ 11113797 w 12192000"/>
              <a:gd name="connsiteY291" fmla="*/ 386651 h 1165225"/>
              <a:gd name="connsiteX292" fmla="*/ 10976948 w 12192000"/>
              <a:gd name="connsiteY292" fmla="*/ 240478 h 1165225"/>
              <a:gd name="connsiteX293" fmla="*/ 11113797 w 12192000"/>
              <a:gd name="connsiteY293" fmla="*/ 94305 h 1165225"/>
              <a:gd name="connsiteX294" fmla="*/ 10325683 w 12192000"/>
              <a:gd name="connsiteY294" fmla="*/ 94305 h 1165225"/>
              <a:gd name="connsiteX295" fmla="*/ 10330430 w 12192000"/>
              <a:gd name="connsiteY295" fmla="*/ 95337 h 1165225"/>
              <a:gd name="connsiteX296" fmla="*/ 10335177 w 12192000"/>
              <a:gd name="connsiteY296" fmla="*/ 94305 h 1165225"/>
              <a:gd name="connsiteX297" fmla="*/ 10472025 w 12192000"/>
              <a:gd name="connsiteY297" fmla="*/ 240478 h 1165225"/>
              <a:gd name="connsiteX298" fmla="*/ 10335177 w 12192000"/>
              <a:gd name="connsiteY298" fmla="*/ 386651 h 1165225"/>
              <a:gd name="connsiteX299" fmla="*/ 10330430 w 12192000"/>
              <a:gd name="connsiteY299" fmla="*/ 385620 h 1165225"/>
              <a:gd name="connsiteX300" fmla="*/ 10325683 w 12192000"/>
              <a:gd name="connsiteY300" fmla="*/ 386651 h 1165225"/>
              <a:gd name="connsiteX301" fmla="*/ 10188834 w 12192000"/>
              <a:gd name="connsiteY301" fmla="*/ 240478 h 1165225"/>
              <a:gd name="connsiteX302" fmla="*/ 10325683 w 12192000"/>
              <a:gd name="connsiteY302" fmla="*/ 94305 h 1165225"/>
              <a:gd name="connsiteX303" fmla="*/ 9518749 w 12192000"/>
              <a:gd name="connsiteY303" fmla="*/ 94305 h 1165225"/>
              <a:gd name="connsiteX304" fmla="*/ 9655598 w 12192000"/>
              <a:gd name="connsiteY304" fmla="*/ 240478 h 1165225"/>
              <a:gd name="connsiteX305" fmla="*/ 9518749 w 12192000"/>
              <a:gd name="connsiteY305" fmla="*/ 386651 h 1165225"/>
              <a:gd name="connsiteX306" fmla="*/ 9381901 w 12192000"/>
              <a:gd name="connsiteY306" fmla="*/ 240478 h 1165225"/>
              <a:gd name="connsiteX307" fmla="*/ 9518749 w 12192000"/>
              <a:gd name="connsiteY307" fmla="*/ 94305 h 1165225"/>
              <a:gd name="connsiteX308" fmla="*/ 8872259 w 12192000"/>
              <a:gd name="connsiteY308" fmla="*/ 94305 h 1165225"/>
              <a:gd name="connsiteX309" fmla="*/ 9009107 w 12192000"/>
              <a:gd name="connsiteY309" fmla="*/ 240478 h 1165225"/>
              <a:gd name="connsiteX310" fmla="*/ 8872259 w 12192000"/>
              <a:gd name="connsiteY310" fmla="*/ 386651 h 1165225"/>
              <a:gd name="connsiteX311" fmla="*/ 8735411 w 12192000"/>
              <a:gd name="connsiteY311" fmla="*/ 240478 h 1165225"/>
              <a:gd name="connsiteX312" fmla="*/ 8872259 w 12192000"/>
              <a:gd name="connsiteY312" fmla="*/ 94305 h 1165225"/>
              <a:gd name="connsiteX313" fmla="*/ 8117234 w 12192000"/>
              <a:gd name="connsiteY313" fmla="*/ 94305 h 1165225"/>
              <a:gd name="connsiteX314" fmla="*/ 8254082 w 12192000"/>
              <a:gd name="connsiteY314" fmla="*/ 240478 h 1165225"/>
              <a:gd name="connsiteX315" fmla="*/ 8117234 w 12192000"/>
              <a:gd name="connsiteY315" fmla="*/ 386651 h 1165225"/>
              <a:gd name="connsiteX316" fmla="*/ 7980385 w 12192000"/>
              <a:gd name="connsiteY316" fmla="*/ 240478 h 1165225"/>
              <a:gd name="connsiteX317" fmla="*/ 8117234 w 12192000"/>
              <a:gd name="connsiteY317" fmla="*/ 94305 h 1165225"/>
              <a:gd name="connsiteX318" fmla="*/ 7338614 w 12192000"/>
              <a:gd name="connsiteY318" fmla="*/ 94305 h 1165225"/>
              <a:gd name="connsiteX319" fmla="*/ 7475462 w 12192000"/>
              <a:gd name="connsiteY319" fmla="*/ 240478 h 1165225"/>
              <a:gd name="connsiteX320" fmla="*/ 7338614 w 12192000"/>
              <a:gd name="connsiteY320" fmla="*/ 386651 h 1165225"/>
              <a:gd name="connsiteX321" fmla="*/ 7201765 w 12192000"/>
              <a:gd name="connsiteY321" fmla="*/ 240478 h 1165225"/>
              <a:gd name="connsiteX322" fmla="*/ 7338614 w 12192000"/>
              <a:gd name="connsiteY322" fmla="*/ 94305 h 1165225"/>
              <a:gd name="connsiteX323" fmla="*/ 6847764 w 12192000"/>
              <a:gd name="connsiteY323" fmla="*/ 94305 h 1165225"/>
              <a:gd name="connsiteX324" fmla="*/ 6984612 w 12192000"/>
              <a:gd name="connsiteY324" fmla="*/ 240478 h 1165225"/>
              <a:gd name="connsiteX325" fmla="*/ 6847764 w 12192000"/>
              <a:gd name="connsiteY325" fmla="*/ 386651 h 1165225"/>
              <a:gd name="connsiteX326" fmla="*/ 6710915 w 12192000"/>
              <a:gd name="connsiteY326" fmla="*/ 240478 h 1165225"/>
              <a:gd name="connsiteX327" fmla="*/ 6847764 w 12192000"/>
              <a:gd name="connsiteY327" fmla="*/ 94305 h 1165225"/>
              <a:gd name="connsiteX328" fmla="*/ 6040831 w 12192000"/>
              <a:gd name="connsiteY328" fmla="*/ 94305 h 1165225"/>
              <a:gd name="connsiteX329" fmla="*/ 6177679 w 12192000"/>
              <a:gd name="connsiteY329" fmla="*/ 240478 h 1165225"/>
              <a:gd name="connsiteX330" fmla="*/ 6040831 w 12192000"/>
              <a:gd name="connsiteY330" fmla="*/ 386651 h 1165225"/>
              <a:gd name="connsiteX331" fmla="*/ 5903983 w 12192000"/>
              <a:gd name="connsiteY331" fmla="*/ 240478 h 1165225"/>
              <a:gd name="connsiteX332" fmla="*/ 6040831 w 12192000"/>
              <a:gd name="connsiteY332" fmla="*/ 94305 h 1165225"/>
              <a:gd name="connsiteX333" fmla="*/ 5394340 w 12192000"/>
              <a:gd name="connsiteY333" fmla="*/ 94305 h 1165225"/>
              <a:gd name="connsiteX334" fmla="*/ 5531188 w 12192000"/>
              <a:gd name="connsiteY334" fmla="*/ 240478 h 1165225"/>
              <a:gd name="connsiteX335" fmla="*/ 5394340 w 12192000"/>
              <a:gd name="connsiteY335" fmla="*/ 386651 h 1165225"/>
              <a:gd name="connsiteX336" fmla="*/ 5257492 w 12192000"/>
              <a:gd name="connsiteY336" fmla="*/ 240478 h 1165225"/>
              <a:gd name="connsiteX337" fmla="*/ 5394340 w 12192000"/>
              <a:gd name="connsiteY337" fmla="*/ 94305 h 1165225"/>
              <a:gd name="connsiteX338" fmla="*/ 4639316 w 12192000"/>
              <a:gd name="connsiteY338" fmla="*/ 94305 h 1165225"/>
              <a:gd name="connsiteX339" fmla="*/ 4776164 w 12192000"/>
              <a:gd name="connsiteY339" fmla="*/ 240478 h 1165225"/>
              <a:gd name="connsiteX340" fmla="*/ 4639316 w 12192000"/>
              <a:gd name="connsiteY340" fmla="*/ 386651 h 1165225"/>
              <a:gd name="connsiteX341" fmla="*/ 4502466 w 12192000"/>
              <a:gd name="connsiteY341" fmla="*/ 240478 h 1165225"/>
              <a:gd name="connsiteX342" fmla="*/ 4639316 w 12192000"/>
              <a:gd name="connsiteY342" fmla="*/ 94305 h 1165225"/>
              <a:gd name="connsiteX343" fmla="*/ 3860695 w 12192000"/>
              <a:gd name="connsiteY343" fmla="*/ 94305 h 1165225"/>
              <a:gd name="connsiteX344" fmla="*/ 3997544 w 12192000"/>
              <a:gd name="connsiteY344" fmla="*/ 240478 h 1165225"/>
              <a:gd name="connsiteX345" fmla="*/ 3860695 w 12192000"/>
              <a:gd name="connsiteY345" fmla="*/ 386651 h 1165225"/>
              <a:gd name="connsiteX346" fmla="*/ 3723847 w 12192000"/>
              <a:gd name="connsiteY346" fmla="*/ 240478 h 1165225"/>
              <a:gd name="connsiteX347" fmla="*/ 3860695 w 12192000"/>
              <a:gd name="connsiteY347" fmla="*/ 94305 h 1165225"/>
              <a:gd name="connsiteX348" fmla="*/ 3444802 w 12192000"/>
              <a:gd name="connsiteY348" fmla="*/ 94305 h 1165225"/>
              <a:gd name="connsiteX349" fmla="*/ 3581650 w 12192000"/>
              <a:gd name="connsiteY349" fmla="*/ 240478 h 1165225"/>
              <a:gd name="connsiteX350" fmla="*/ 3444802 w 12192000"/>
              <a:gd name="connsiteY350" fmla="*/ 386651 h 1165225"/>
              <a:gd name="connsiteX351" fmla="*/ 3307954 w 12192000"/>
              <a:gd name="connsiteY351" fmla="*/ 240478 h 1165225"/>
              <a:gd name="connsiteX352" fmla="*/ 3444802 w 12192000"/>
              <a:gd name="connsiteY352" fmla="*/ 94305 h 1165225"/>
              <a:gd name="connsiteX353" fmla="*/ 2637869 w 12192000"/>
              <a:gd name="connsiteY353" fmla="*/ 94305 h 1165225"/>
              <a:gd name="connsiteX354" fmla="*/ 2774717 w 12192000"/>
              <a:gd name="connsiteY354" fmla="*/ 240478 h 1165225"/>
              <a:gd name="connsiteX355" fmla="*/ 2637869 w 12192000"/>
              <a:gd name="connsiteY355" fmla="*/ 386651 h 1165225"/>
              <a:gd name="connsiteX356" fmla="*/ 2501021 w 12192000"/>
              <a:gd name="connsiteY356" fmla="*/ 240478 h 1165225"/>
              <a:gd name="connsiteX357" fmla="*/ 2637869 w 12192000"/>
              <a:gd name="connsiteY357" fmla="*/ 94305 h 1165225"/>
              <a:gd name="connsiteX358" fmla="*/ 1991379 w 12192000"/>
              <a:gd name="connsiteY358" fmla="*/ 94305 h 1165225"/>
              <a:gd name="connsiteX359" fmla="*/ 2128227 w 12192000"/>
              <a:gd name="connsiteY359" fmla="*/ 240478 h 1165225"/>
              <a:gd name="connsiteX360" fmla="*/ 1991379 w 12192000"/>
              <a:gd name="connsiteY360" fmla="*/ 386651 h 1165225"/>
              <a:gd name="connsiteX361" fmla="*/ 1854530 w 12192000"/>
              <a:gd name="connsiteY361" fmla="*/ 240478 h 1165225"/>
              <a:gd name="connsiteX362" fmla="*/ 1991379 w 12192000"/>
              <a:gd name="connsiteY362" fmla="*/ 94305 h 1165225"/>
              <a:gd name="connsiteX363" fmla="*/ 1236353 w 12192000"/>
              <a:gd name="connsiteY363" fmla="*/ 94305 h 1165225"/>
              <a:gd name="connsiteX364" fmla="*/ 1373202 w 12192000"/>
              <a:gd name="connsiteY364" fmla="*/ 240478 h 1165225"/>
              <a:gd name="connsiteX365" fmla="*/ 1236353 w 12192000"/>
              <a:gd name="connsiteY365" fmla="*/ 386651 h 1165225"/>
              <a:gd name="connsiteX366" fmla="*/ 1099505 w 12192000"/>
              <a:gd name="connsiteY366" fmla="*/ 240478 h 1165225"/>
              <a:gd name="connsiteX367" fmla="*/ 1236353 w 12192000"/>
              <a:gd name="connsiteY367" fmla="*/ 94305 h 1165225"/>
              <a:gd name="connsiteX368" fmla="*/ 457734 w 12192000"/>
              <a:gd name="connsiteY368" fmla="*/ 94305 h 1165225"/>
              <a:gd name="connsiteX369" fmla="*/ 594582 w 12192000"/>
              <a:gd name="connsiteY369" fmla="*/ 240478 h 1165225"/>
              <a:gd name="connsiteX370" fmla="*/ 457734 w 12192000"/>
              <a:gd name="connsiteY370" fmla="*/ 386651 h 1165225"/>
              <a:gd name="connsiteX371" fmla="*/ 320885 w 12192000"/>
              <a:gd name="connsiteY371" fmla="*/ 240478 h 1165225"/>
              <a:gd name="connsiteX372" fmla="*/ 457734 w 12192000"/>
              <a:gd name="connsiteY372" fmla="*/ 94305 h 1165225"/>
              <a:gd name="connsiteX373" fmla="*/ 12192000 w 12192000"/>
              <a:gd name="connsiteY373" fmla="*/ 3735 h 1165225"/>
              <a:gd name="connsiteX374" fmla="*/ 12192000 w 12192000"/>
              <a:gd name="connsiteY374" fmla="*/ 203737 h 1165225"/>
              <a:gd name="connsiteX375" fmla="*/ 12171939 w 12192000"/>
              <a:gd name="connsiteY375" fmla="*/ 199220 h 1165225"/>
              <a:gd name="connsiteX376" fmla="*/ 12114205 w 12192000"/>
              <a:gd name="connsiteY376" fmla="*/ 103736 h 1165225"/>
              <a:gd name="connsiteX377" fmla="*/ 12171939 w 12192000"/>
              <a:gd name="connsiteY377" fmla="*/ 8252 h 1165225"/>
              <a:gd name="connsiteX378" fmla="*/ 11481872 w 12192000"/>
              <a:gd name="connsiteY378" fmla="*/ 0 h 1165225"/>
              <a:gd name="connsiteX379" fmla="*/ 11576250 w 12192000"/>
              <a:gd name="connsiteY379" fmla="*/ 103736 h 1165225"/>
              <a:gd name="connsiteX380" fmla="*/ 11481872 w 12192000"/>
              <a:gd name="connsiteY380" fmla="*/ 207471 h 1165225"/>
              <a:gd name="connsiteX381" fmla="*/ 11387494 w 12192000"/>
              <a:gd name="connsiteY381" fmla="*/ 103736 h 1165225"/>
              <a:gd name="connsiteX382" fmla="*/ 11481872 w 12192000"/>
              <a:gd name="connsiteY382" fmla="*/ 0 h 1165225"/>
              <a:gd name="connsiteX383" fmla="*/ 10750441 w 12192000"/>
              <a:gd name="connsiteY383" fmla="*/ 0 h 1165225"/>
              <a:gd name="connsiteX384" fmla="*/ 10844819 w 12192000"/>
              <a:gd name="connsiteY384" fmla="*/ 103736 h 1165225"/>
              <a:gd name="connsiteX385" fmla="*/ 10750441 w 12192000"/>
              <a:gd name="connsiteY385" fmla="*/ 207471 h 1165225"/>
              <a:gd name="connsiteX386" fmla="*/ 10656063 w 12192000"/>
              <a:gd name="connsiteY386" fmla="*/ 103736 h 1165225"/>
              <a:gd name="connsiteX387" fmla="*/ 10750441 w 12192000"/>
              <a:gd name="connsiteY387" fmla="*/ 0 h 1165225"/>
              <a:gd name="connsiteX388" fmla="*/ 9952889 w 12192000"/>
              <a:gd name="connsiteY388" fmla="*/ 0 h 1165225"/>
              <a:gd name="connsiteX389" fmla="*/ 10047267 w 12192000"/>
              <a:gd name="connsiteY389" fmla="*/ 103736 h 1165225"/>
              <a:gd name="connsiteX390" fmla="*/ 9952889 w 12192000"/>
              <a:gd name="connsiteY390" fmla="*/ 207471 h 1165225"/>
              <a:gd name="connsiteX391" fmla="*/ 9858511 w 12192000"/>
              <a:gd name="connsiteY391" fmla="*/ 103736 h 1165225"/>
              <a:gd name="connsiteX392" fmla="*/ 9952889 w 12192000"/>
              <a:gd name="connsiteY392" fmla="*/ 0 h 1165225"/>
              <a:gd name="connsiteX393" fmla="*/ 9212021 w 12192000"/>
              <a:gd name="connsiteY393" fmla="*/ 0 h 1165225"/>
              <a:gd name="connsiteX394" fmla="*/ 9306399 w 12192000"/>
              <a:gd name="connsiteY394" fmla="*/ 103736 h 1165225"/>
              <a:gd name="connsiteX395" fmla="*/ 9212021 w 12192000"/>
              <a:gd name="connsiteY395" fmla="*/ 207471 h 1165225"/>
              <a:gd name="connsiteX396" fmla="*/ 9117642 w 12192000"/>
              <a:gd name="connsiteY396" fmla="*/ 103736 h 1165225"/>
              <a:gd name="connsiteX397" fmla="*/ 9212021 w 12192000"/>
              <a:gd name="connsiteY397" fmla="*/ 0 h 1165225"/>
              <a:gd name="connsiteX398" fmla="*/ 8485309 w 12192000"/>
              <a:gd name="connsiteY398" fmla="*/ 0 h 1165225"/>
              <a:gd name="connsiteX399" fmla="*/ 8579687 w 12192000"/>
              <a:gd name="connsiteY399" fmla="*/ 103736 h 1165225"/>
              <a:gd name="connsiteX400" fmla="*/ 8485309 w 12192000"/>
              <a:gd name="connsiteY400" fmla="*/ 207471 h 1165225"/>
              <a:gd name="connsiteX401" fmla="*/ 8390931 w 12192000"/>
              <a:gd name="connsiteY401" fmla="*/ 103736 h 1165225"/>
              <a:gd name="connsiteX402" fmla="*/ 8485309 w 12192000"/>
              <a:gd name="connsiteY402" fmla="*/ 0 h 1165225"/>
              <a:gd name="connsiteX403" fmla="*/ 7753878 w 12192000"/>
              <a:gd name="connsiteY403" fmla="*/ 0 h 1165225"/>
              <a:gd name="connsiteX404" fmla="*/ 7848256 w 12192000"/>
              <a:gd name="connsiteY404" fmla="*/ 103736 h 1165225"/>
              <a:gd name="connsiteX405" fmla="*/ 7753878 w 12192000"/>
              <a:gd name="connsiteY405" fmla="*/ 207471 h 1165225"/>
              <a:gd name="connsiteX406" fmla="*/ 7659500 w 12192000"/>
              <a:gd name="connsiteY406" fmla="*/ 103736 h 1165225"/>
              <a:gd name="connsiteX407" fmla="*/ 7753878 w 12192000"/>
              <a:gd name="connsiteY407" fmla="*/ 0 h 1165225"/>
              <a:gd name="connsiteX408" fmla="*/ 6474970 w 12192000"/>
              <a:gd name="connsiteY408" fmla="*/ 0 h 1165225"/>
              <a:gd name="connsiteX409" fmla="*/ 6569349 w 12192000"/>
              <a:gd name="connsiteY409" fmla="*/ 103736 h 1165225"/>
              <a:gd name="connsiteX410" fmla="*/ 6474970 w 12192000"/>
              <a:gd name="connsiteY410" fmla="*/ 207471 h 1165225"/>
              <a:gd name="connsiteX411" fmla="*/ 6380592 w 12192000"/>
              <a:gd name="connsiteY411" fmla="*/ 103736 h 1165225"/>
              <a:gd name="connsiteX412" fmla="*/ 6474970 w 12192000"/>
              <a:gd name="connsiteY412" fmla="*/ 0 h 1165225"/>
              <a:gd name="connsiteX413" fmla="*/ 5734101 w 12192000"/>
              <a:gd name="connsiteY413" fmla="*/ 0 h 1165225"/>
              <a:gd name="connsiteX414" fmla="*/ 5828479 w 12192000"/>
              <a:gd name="connsiteY414" fmla="*/ 103736 h 1165225"/>
              <a:gd name="connsiteX415" fmla="*/ 5734101 w 12192000"/>
              <a:gd name="connsiteY415" fmla="*/ 207471 h 1165225"/>
              <a:gd name="connsiteX416" fmla="*/ 5639724 w 12192000"/>
              <a:gd name="connsiteY416" fmla="*/ 103736 h 1165225"/>
              <a:gd name="connsiteX417" fmla="*/ 5734101 w 12192000"/>
              <a:gd name="connsiteY417" fmla="*/ 0 h 1165225"/>
              <a:gd name="connsiteX418" fmla="*/ 5007390 w 12192000"/>
              <a:gd name="connsiteY418" fmla="*/ 0 h 1165225"/>
              <a:gd name="connsiteX419" fmla="*/ 5101768 w 12192000"/>
              <a:gd name="connsiteY419" fmla="*/ 103736 h 1165225"/>
              <a:gd name="connsiteX420" fmla="*/ 5007390 w 12192000"/>
              <a:gd name="connsiteY420" fmla="*/ 207471 h 1165225"/>
              <a:gd name="connsiteX421" fmla="*/ 4913013 w 12192000"/>
              <a:gd name="connsiteY421" fmla="*/ 103736 h 1165225"/>
              <a:gd name="connsiteX422" fmla="*/ 5007390 w 12192000"/>
              <a:gd name="connsiteY422" fmla="*/ 0 h 1165225"/>
              <a:gd name="connsiteX423" fmla="*/ 4275959 w 12192000"/>
              <a:gd name="connsiteY423" fmla="*/ 0 h 1165225"/>
              <a:gd name="connsiteX424" fmla="*/ 4370337 w 12192000"/>
              <a:gd name="connsiteY424" fmla="*/ 103736 h 1165225"/>
              <a:gd name="connsiteX425" fmla="*/ 4275959 w 12192000"/>
              <a:gd name="connsiteY425" fmla="*/ 207471 h 1165225"/>
              <a:gd name="connsiteX426" fmla="*/ 4181581 w 12192000"/>
              <a:gd name="connsiteY426" fmla="*/ 103736 h 1165225"/>
              <a:gd name="connsiteX427" fmla="*/ 4275959 w 12192000"/>
              <a:gd name="connsiteY427" fmla="*/ 0 h 1165225"/>
              <a:gd name="connsiteX428" fmla="*/ 3072008 w 12192000"/>
              <a:gd name="connsiteY428" fmla="*/ 0 h 1165225"/>
              <a:gd name="connsiteX429" fmla="*/ 3166386 w 12192000"/>
              <a:gd name="connsiteY429" fmla="*/ 103736 h 1165225"/>
              <a:gd name="connsiteX430" fmla="*/ 3072008 w 12192000"/>
              <a:gd name="connsiteY430" fmla="*/ 207471 h 1165225"/>
              <a:gd name="connsiteX431" fmla="*/ 2977630 w 12192000"/>
              <a:gd name="connsiteY431" fmla="*/ 103736 h 1165225"/>
              <a:gd name="connsiteX432" fmla="*/ 3072008 w 12192000"/>
              <a:gd name="connsiteY432" fmla="*/ 0 h 1165225"/>
              <a:gd name="connsiteX433" fmla="*/ 2331140 w 12192000"/>
              <a:gd name="connsiteY433" fmla="*/ 0 h 1165225"/>
              <a:gd name="connsiteX434" fmla="*/ 2425518 w 12192000"/>
              <a:gd name="connsiteY434" fmla="*/ 103736 h 1165225"/>
              <a:gd name="connsiteX435" fmla="*/ 2331140 w 12192000"/>
              <a:gd name="connsiteY435" fmla="*/ 207471 h 1165225"/>
              <a:gd name="connsiteX436" fmla="*/ 2236762 w 12192000"/>
              <a:gd name="connsiteY436" fmla="*/ 103736 h 1165225"/>
              <a:gd name="connsiteX437" fmla="*/ 2331140 w 12192000"/>
              <a:gd name="connsiteY437" fmla="*/ 0 h 1165225"/>
              <a:gd name="connsiteX438" fmla="*/ 1604428 w 12192000"/>
              <a:gd name="connsiteY438" fmla="*/ 0 h 1165225"/>
              <a:gd name="connsiteX439" fmla="*/ 1698806 w 12192000"/>
              <a:gd name="connsiteY439" fmla="*/ 103736 h 1165225"/>
              <a:gd name="connsiteX440" fmla="*/ 1604428 w 12192000"/>
              <a:gd name="connsiteY440" fmla="*/ 207471 h 1165225"/>
              <a:gd name="connsiteX441" fmla="*/ 1510050 w 12192000"/>
              <a:gd name="connsiteY441" fmla="*/ 103736 h 1165225"/>
              <a:gd name="connsiteX442" fmla="*/ 1604428 w 12192000"/>
              <a:gd name="connsiteY442" fmla="*/ 0 h 1165225"/>
              <a:gd name="connsiteX443" fmla="*/ 872998 w 12192000"/>
              <a:gd name="connsiteY443" fmla="*/ 0 h 1165225"/>
              <a:gd name="connsiteX444" fmla="*/ 967376 w 12192000"/>
              <a:gd name="connsiteY444" fmla="*/ 103736 h 1165225"/>
              <a:gd name="connsiteX445" fmla="*/ 872998 w 12192000"/>
              <a:gd name="connsiteY445" fmla="*/ 207471 h 1165225"/>
              <a:gd name="connsiteX446" fmla="*/ 778619 w 12192000"/>
              <a:gd name="connsiteY446" fmla="*/ 103736 h 1165225"/>
              <a:gd name="connsiteX447" fmla="*/ 872998 w 12192000"/>
              <a:gd name="connsiteY447" fmla="*/ 0 h 1165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</a:cxnLst>
            <a:rect l="l" t="t" r="r" b="b"/>
            <a:pathLst>
              <a:path w="12192000" h="1165225">
                <a:moveTo>
                  <a:pt x="0" y="1027925"/>
                </a:moveTo>
                <a:cubicBezTo>
                  <a:pt x="1723875" y="1027925"/>
                  <a:pt x="2693556" y="1027925"/>
                  <a:pt x="3239001" y="1027925"/>
                </a:cubicBezTo>
                <a:lnTo>
                  <a:pt x="3402961" y="1027925"/>
                </a:lnTo>
                <a:lnTo>
                  <a:pt x="3447752" y="1027925"/>
                </a:lnTo>
                <a:cubicBezTo>
                  <a:pt x="3940288" y="1027925"/>
                  <a:pt x="3940288" y="1027925"/>
                  <a:pt x="3940288" y="1027925"/>
                </a:cubicBezTo>
                <a:lnTo>
                  <a:pt x="4096552" y="1027925"/>
                </a:lnTo>
                <a:cubicBezTo>
                  <a:pt x="5314064" y="1027925"/>
                  <a:pt x="6075009" y="1027925"/>
                  <a:pt x="6550599" y="1027925"/>
                </a:cubicBezTo>
                <a:lnTo>
                  <a:pt x="6880880" y="1027925"/>
                </a:lnTo>
                <a:lnTo>
                  <a:pt x="6937413" y="1027925"/>
                </a:lnTo>
                <a:cubicBezTo>
                  <a:pt x="7343249" y="1027925"/>
                  <a:pt x="7343249" y="1027925"/>
                  <a:pt x="7343249" y="1027925"/>
                </a:cubicBezTo>
                <a:lnTo>
                  <a:pt x="7574470" y="1027925"/>
                </a:lnTo>
                <a:cubicBezTo>
                  <a:pt x="8656703" y="1027925"/>
                  <a:pt x="9378192" y="1027925"/>
                  <a:pt x="9859184" y="1027925"/>
                </a:cubicBezTo>
                <a:lnTo>
                  <a:pt x="9877443" y="1027925"/>
                </a:lnTo>
                <a:lnTo>
                  <a:pt x="10119881" y="1027925"/>
                </a:lnTo>
                <a:lnTo>
                  <a:pt x="10328632" y="1027925"/>
                </a:lnTo>
                <a:lnTo>
                  <a:pt x="10571034" y="1027925"/>
                </a:lnTo>
                <a:lnTo>
                  <a:pt x="10613380" y="1027925"/>
                </a:lnTo>
                <a:lnTo>
                  <a:pt x="10759601" y="1027925"/>
                </a:lnTo>
                <a:lnTo>
                  <a:pt x="10813472" y="1027925"/>
                </a:lnTo>
                <a:lnTo>
                  <a:pt x="10821168" y="1027925"/>
                </a:lnTo>
                <a:lnTo>
                  <a:pt x="11178046" y="1027925"/>
                </a:lnTo>
                <a:cubicBezTo>
                  <a:pt x="11555144" y="1027925"/>
                  <a:pt x="11878371" y="1027925"/>
                  <a:pt x="12155422" y="1027925"/>
                </a:cubicBezTo>
                <a:lnTo>
                  <a:pt x="12192000" y="1027925"/>
                </a:lnTo>
                <a:lnTo>
                  <a:pt x="12192000" y="1165225"/>
                </a:lnTo>
                <a:lnTo>
                  <a:pt x="0" y="1165225"/>
                </a:lnTo>
                <a:close/>
                <a:moveTo>
                  <a:pt x="11717817" y="801593"/>
                </a:moveTo>
                <a:cubicBezTo>
                  <a:pt x="11816914" y="801593"/>
                  <a:pt x="11911292" y="801593"/>
                  <a:pt x="12010389" y="801593"/>
                </a:cubicBezTo>
                <a:cubicBezTo>
                  <a:pt x="12071735" y="834600"/>
                  <a:pt x="12114205" y="938336"/>
                  <a:pt x="12133081" y="999634"/>
                </a:cubicBezTo>
                <a:cubicBezTo>
                  <a:pt x="11953762" y="999634"/>
                  <a:pt x="11779163" y="999634"/>
                  <a:pt x="11599844" y="999634"/>
                </a:cubicBezTo>
                <a:cubicBezTo>
                  <a:pt x="11618720" y="938336"/>
                  <a:pt x="11661190" y="834600"/>
                  <a:pt x="11717817" y="801593"/>
                </a:cubicBezTo>
                <a:close/>
                <a:moveTo>
                  <a:pt x="10991105" y="801593"/>
                </a:moveTo>
                <a:cubicBezTo>
                  <a:pt x="11085483" y="801593"/>
                  <a:pt x="11184580" y="801593"/>
                  <a:pt x="11283678" y="801593"/>
                </a:cubicBezTo>
                <a:cubicBezTo>
                  <a:pt x="11345023" y="834600"/>
                  <a:pt x="11387494" y="938336"/>
                  <a:pt x="11406369" y="999634"/>
                </a:cubicBezTo>
                <a:cubicBezTo>
                  <a:pt x="11227051" y="999634"/>
                  <a:pt x="11047732" y="999634"/>
                  <a:pt x="10873133" y="999634"/>
                </a:cubicBezTo>
                <a:cubicBezTo>
                  <a:pt x="10892008" y="938336"/>
                  <a:pt x="10929759" y="834600"/>
                  <a:pt x="10991105" y="801593"/>
                </a:cubicBezTo>
                <a:close/>
                <a:moveTo>
                  <a:pt x="9438528" y="801593"/>
                </a:moveTo>
                <a:cubicBezTo>
                  <a:pt x="9537625" y="801593"/>
                  <a:pt x="9632003" y="801593"/>
                  <a:pt x="9731100" y="801593"/>
                </a:cubicBezTo>
                <a:cubicBezTo>
                  <a:pt x="9792446" y="834600"/>
                  <a:pt x="9834916" y="938336"/>
                  <a:pt x="9853792" y="999634"/>
                </a:cubicBezTo>
                <a:cubicBezTo>
                  <a:pt x="9674473" y="999634"/>
                  <a:pt x="9499874" y="999634"/>
                  <a:pt x="9320555" y="999634"/>
                </a:cubicBezTo>
                <a:cubicBezTo>
                  <a:pt x="9339431" y="938336"/>
                  <a:pt x="9381901" y="834600"/>
                  <a:pt x="9438528" y="801593"/>
                </a:cubicBezTo>
                <a:close/>
                <a:moveTo>
                  <a:pt x="8721254" y="801593"/>
                </a:moveTo>
                <a:cubicBezTo>
                  <a:pt x="8820351" y="801593"/>
                  <a:pt x="8914729" y="801593"/>
                  <a:pt x="9013826" y="801593"/>
                </a:cubicBezTo>
                <a:cubicBezTo>
                  <a:pt x="9075172" y="834600"/>
                  <a:pt x="9117642" y="938336"/>
                  <a:pt x="9136518" y="999634"/>
                </a:cubicBezTo>
                <a:cubicBezTo>
                  <a:pt x="8957199" y="999634"/>
                  <a:pt x="8782600" y="999634"/>
                  <a:pt x="8603281" y="999634"/>
                </a:cubicBezTo>
                <a:cubicBezTo>
                  <a:pt x="8622157" y="938336"/>
                  <a:pt x="8664627" y="834600"/>
                  <a:pt x="8721254" y="801593"/>
                </a:cubicBezTo>
                <a:close/>
                <a:moveTo>
                  <a:pt x="7994542" y="801593"/>
                </a:moveTo>
                <a:cubicBezTo>
                  <a:pt x="8088920" y="801593"/>
                  <a:pt x="8188017" y="801593"/>
                  <a:pt x="8287114" y="801593"/>
                </a:cubicBezTo>
                <a:cubicBezTo>
                  <a:pt x="8348460" y="834600"/>
                  <a:pt x="8390931" y="938336"/>
                  <a:pt x="8409806" y="999634"/>
                </a:cubicBezTo>
                <a:cubicBezTo>
                  <a:pt x="8230487" y="999634"/>
                  <a:pt x="8051169" y="999634"/>
                  <a:pt x="7876569" y="999634"/>
                </a:cubicBezTo>
                <a:cubicBezTo>
                  <a:pt x="7895445" y="938336"/>
                  <a:pt x="7933196" y="834600"/>
                  <a:pt x="7994542" y="801593"/>
                </a:cubicBezTo>
                <a:close/>
                <a:moveTo>
                  <a:pt x="5960609" y="801593"/>
                </a:moveTo>
                <a:cubicBezTo>
                  <a:pt x="6059707" y="801593"/>
                  <a:pt x="6154084" y="801593"/>
                  <a:pt x="6253181" y="801593"/>
                </a:cubicBezTo>
                <a:cubicBezTo>
                  <a:pt x="6314528" y="834600"/>
                  <a:pt x="6356997" y="938336"/>
                  <a:pt x="6375874" y="999634"/>
                </a:cubicBezTo>
                <a:cubicBezTo>
                  <a:pt x="6196555" y="999634"/>
                  <a:pt x="6021955" y="999634"/>
                  <a:pt x="5842636" y="999634"/>
                </a:cubicBezTo>
                <a:cubicBezTo>
                  <a:pt x="5861512" y="938336"/>
                  <a:pt x="5903983" y="834600"/>
                  <a:pt x="5960609" y="801593"/>
                </a:cubicBezTo>
                <a:close/>
                <a:moveTo>
                  <a:pt x="5243336" y="801593"/>
                </a:moveTo>
                <a:cubicBezTo>
                  <a:pt x="5342432" y="801593"/>
                  <a:pt x="5436811" y="801593"/>
                  <a:pt x="5535907" y="801593"/>
                </a:cubicBezTo>
                <a:cubicBezTo>
                  <a:pt x="5597253" y="834600"/>
                  <a:pt x="5639724" y="938336"/>
                  <a:pt x="5658599" y="999634"/>
                </a:cubicBezTo>
                <a:cubicBezTo>
                  <a:pt x="5479282" y="999634"/>
                  <a:pt x="5304681" y="999634"/>
                  <a:pt x="5125363" y="999634"/>
                </a:cubicBezTo>
                <a:cubicBezTo>
                  <a:pt x="5144239" y="938336"/>
                  <a:pt x="5186708" y="834600"/>
                  <a:pt x="5243336" y="801593"/>
                </a:cubicBezTo>
                <a:close/>
                <a:moveTo>
                  <a:pt x="4516623" y="801593"/>
                </a:moveTo>
                <a:cubicBezTo>
                  <a:pt x="4611002" y="801593"/>
                  <a:pt x="4710098" y="801593"/>
                  <a:pt x="4809195" y="801593"/>
                </a:cubicBezTo>
                <a:cubicBezTo>
                  <a:pt x="4870542" y="834600"/>
                  <a:pt x="4913013" y="938336"/>
                  <a:pt x="4931888" y="999634"/>
                </a:cubicBezTo>
                <a:cubicBezTo>
                  <a:pt x="4752569" y="999634"/>
                  <a:pt x="4573250" y="999634"/>
                  <a:pt x="4398650" y="999634"/>
                </a:cubicBezTo>
                <a:cubicBezTo>
                  <a:pt x="4417526" y="938336"/>
                  <a:pt x="4455277" y="834600"/>
                  <a:pt x="4516623" y="801593"/>
                </a:cubicBezTo>
                <a:close/>
                <a:moveTo>
                  <a:pt x="2557648" y="801593"/>
                </a:moveTo>
                <a:cubicBezTo>
                  <a:pt x="2656744" y="801593"/>
                  <a:pt x="2751123" y="801593"/>
                  <a:pt x="2850220" y="801593"/>
                </a:cubicBezTo>
                <a:cubicBezTo>
                  <a:pt x="2911565" y="834600"/>
                  <a:pt x="2954036" y="938336"/>
                  <a:pt x="2972911" y="999634"/>
                </a:cubicBezTo>
                <a:cubicBezTo>
                  <a:pt x="2793593" y="999634"/>
                  <a:pt x="2618993" y="999634"/>
                  <a:pt x="2439675" y="999634"/>
                </a:cubicBezTo>
                <a:cubicBezTo>
                  <a:pt x="2458551" y="938336"/>
                  <a:pt x="2501021" y="834600"/>
                  <a:pt x="2557648" y="801593"/>
                </a:cubicBezTo>
                <a:close/>
                <a:moveTo>
                  <a:pt x="1840373" y="801593"/>
                </a:moveTo>
                <a:cubicBezTo>
                  <a:pt x="1939471" y="801593"/>
                  <a:pt x="2033849" y="801593"/>
                  <a:pt x="2132946" y="801593"/>
                </a:cubicBezTo>
                <a:cubicBezTo>
                  <a:pt x="2194291" y="834600"/>
                  <a:pt x="2236762" y="938336"/>
                  <a:pt x="2255637" y="999634"/>
                </a:cubicBezTo>
                <a:cubicBezTo>
                  <a:pt x="2076319" y="999634"/>
                  <a:pt x="1901719" y="999634"/>
                  <a:pt x="1722401" y="999634"/>
                </a:cubicBezTo>
                <a:cubicBezTo>
                  <a:pt x="1741276" y="938336"/>
                  <a:pt x="1783747" y="834600"/>
                  <a:pt x="1840373" y="801593"/>
                </a:cubicBezTo>
                <a:close/>
                <a:moveTo>
                  <a:pt x="1113662" y="801593"/>
                </a:moveTo>
                <a:cubicBezTo>
                  <a:pt x="1208040" y="801593"/>
                  <a:pt x="1307137" y="801593"/>
                  <a:pt x="1406234" y="801593"/>
                </a:cubicBezTo>
                <a:cubicBezTo>
                  <a:pt x="1467580" y="834600"/>
                  <a:pt x="1510050" y="938336"/>
                  <a:pt x="1528925" y="999634"/>
                </a:cubicBezTo>
                <a:cubicBezTo>
                  <a:pt x="1349607" y="999634"/>
                  <a:pt x="1170289" y="999634"/>
                  <a:pt x="995689" y="999634"/>
                </a:cubicBezTo>
                <a:cubicBezTo>
                  <a:pt x="1014565" y="938336"/>
                  <a:pt x="1052316" y="834600"/>
                  <a:pt x="1113662" y="801593"/>
                </a:cubicBezTo>
                <a:close/>
                <a:moveTo>
                  <a:pt x="344480" y="801593"/>
                </a:moveTo>
                <a:cubicBezTo>
                  <a:pt x="438858" y="801593"/>
                  <a:pt x="537955" y="801593"/>
                  <a:pt x="632333" y="801593"/>
                </a:cubicBezTo>
                <a:cubicBezTo>
                  <a:pt x="698398" y="834600"/>
                  <a:pt x="740868" y="938336"/>
                  <a:pt x="759744" y="999634"/>
                </a:cubicBezTo>
                <a:cubicBezTo>
                  <a:pt x="580425" y="999634"/>
                  <a:pt x="401107" y="999634"/>
                  <a:pt x="221788" y="999634"/>
                </a:cubicBezTo>
                <a:cubicBezTo>
                  <a:pt x="245383" y="938336"/>
                  <a:pt x="283134" y="834600"/>
                  <a:pt x="344480" y="801593"/>
                </a:cubicBezTo>
                <a:close/>
                <a:moveTo>
                  <a:pt x="6706196" y="778017"/>
                </a:moveTo>
                <a:cubicBezTo>
                  <a:pt x="6805293" y="778017"/>
                  <a:pt x="6899672" y="778017"/>
                  <a:pt x="6998770" y="778017"/>
                </a:cubicBezTo>
                <a:cubicBezTo>
                  <a:pt x="7044778" y="802772"/>
                  <a:pt x="7080170" y="867312"/>
                  <a:pt x="7102953" y="923895"/>
                </a:cubicBezTo>
                <a:lnTo>
                  <a:pt x="7116939" y="963317"/>
                </a:lnTo>
                <a:lnTo>
                  <a:pt x="7123166" y="947471"/>
                </a:lnTo>
                <a:cubicBezTo>
                  <a:pt x="7146613" y="890889"/>
                  <a:pt x="7179351" y="826348"/>
                  <a:pt x="7225360" y="801593"/>
                </a:cubicBezTo>
                <a:cubicBezTo>
                  <a:pt x="7319738" y="801593"/>
                  <a:pt x="7418835" y="801593"/>
                  <a:pt x="7513213" y="801593"/>
                </a:cubicBezTo>
                <a:cubicBezTo>
                  <a:pt x="7579278" y="834600"/>
                  <a:pt x="7621748" y="938336"/>
                  <a:pt x="7640624" y="999634"/>
                </a:cubicBezTo>
                <a:cubicBezTo>
                  <a:pt x="7461305" y="999634"/>
                  <a:pt x="7281987" y="999634"/>
                  <a:pt x="7102668" y="999634"/>
                </a:cubicBezTo>
                <a:lnTo>
                  <a:pt x="7111933" y="976058"/>
                </a:lnTo>
                <a:lnTo>
                  <a:pt x="6588225" y="976058"/>
                </a:lnTo>
                <a:cubicBezTo>
                  <a:pt x="6607100" y="914759"/>
                  <a:pt x="6649569" y="811024"/>
                  <a:pt x="6706196" y="778017"/>
                </a:cubicBezTo>
                <a:close/>
                <a:moveTo>
                  <a:pt x="3303235" y="778017"/>
                </a:moveTo>
                <a:cubicBezTo>
                  <a:pt x="3402332" y="778017"/>
                  <a:pt x="3496710" y="778017"/>
                  <a:pt x="3595807" y="778017"/>
                </a:cubicBezTo>
                <a:cubicBezTo>
                  <a:pt x="3626480" y="794521"/>
                  <a:pt x="3652434" y="828706"/>
                  <a:pt x="3673079" y="866428"/>
                </a:cubicBezTo>
                <a:lnTo>
                  <a:pt x="3679007" y="879086"/>
                </a:lnTo>
                <a:lnTo>
                  <a:pt x="3705709" y="837842"/>
                </a:lnTo>
                <a:cubicBezTo>
                  <a:pt x="3718243" y="822517"/>
                  <a:pt x="3732105" y="809845"/>
                  <a:pt x="3747441" y="801593"/>
                </a:cubicBezTo>
                <a:cubicBezTo>
                  <a:pt x="3841820" y="801593"/>
                  <a:pt x="3940917" y="801593"/>
                  <a:pt x="4035295" y="801593"/>
                </a:cubicBezTo>
                <a:cubicBezTo>
                  <a:pt x="4101360" y="834600"/>
                  <a:pt x="4143830" y="938336"/>
                  <a:pt x="4162705" y="999634"/>
                </a:cubicBezTo>
                <a:cubicBezTo>
                  <a:pt x="3983387" y="999634"/>
                  <a:pt x="3804068" y="999634"/>
                  <a:pt x="3624750" y="999634"/>
                </a:cubicBezTo>
                <a:lnTo>
                  <a:pt x="3634015" y="976058"/>
                </a:lnTo>
                <a:lnTo>
                  <a:pt x="3185262" y="976058"/>
                </a:lnTo>
                <a:cubicBezTo>
                  <a:pt x="3204138" y="914759"/>
                  <a:pt x="3246608" y="811024"/>
                  <a:pt x="3303235" y="778017"/>
                </a:cubicBezTo>
                <a:close/>
                <a:moveTo>
                  <a:pt x="11868822" y="504532"/>
                </a:moveTo>
                <a:cubicBezTo>
                  <a:pt x="11939606" y="504532"/>
                  <a:pt x="11996232" y="570546"/>
                  <a:pt x="11996232" y="645990"/>
                </a:cubicBezTo>
                <a:cubicBezTo>
                  <a:pt x="11996232" y="726149"/>
                  <a:pt x="11939606" y="792163"/>
                  <a:pt x="11868822" y="792163"/>
                </a:cubicBezTo>
                <a:cubicBezTo>
                  <a:pt x="11793320" y="792163"/>
                  <a:pt x="11736693" y="726149"/>
                  <a:pt x="11736693" y="645990"/>
                </a:cubicBezTo>
                <a:cubicBezTo>
                  <a:pt x="11736693" y="570546"/>
                  <a:pt x="11793320" y="504532"/>
                  <a:pt x="11868822" y="504532"/>
                </a:cubicBezTo>
                <a:close/>
                <a:moveTo>
                  <a:pt x="11137391" y="504532"/>
                </a:moveTo>
                <a:cubicBezTo>
                  <a:pt x="11212894" y="504532"/>
                  <a:pt x="11269521" y="570546"/>
                  <a:pt x="11269521" y="645990"/>
                </a:cubicBezTo>
                <a:cubicBezTo>
                  <a:pt x="11269521" y="726149"/>
                  <a:pt x="11212894" y="792163"/>
                  <a:pt x="11137391" y="792163"/>
                </a:cubicBezTo>
                <a:cubicBezTo>
                  <a:pt x="11066608" y="792163"/>
                  <a:pt x="11005262" y="726149"/>
                  <a:pt x="11005262" y="645990"/>
                </a:cubicBezTo>
                <a:cubicBezTo>
                  <a:pt x="11005262" y="570546"/>
                  <a:pt x="11066608" y="504532"/>
                  <a:pt x="11137391" y="504532"/>
                </a:cubicBezTo>
                <a:close/>
                <a:moveTo>
                  <a:pt x="9584814" y="504532"/>
                </a:moveTo>
                <a:cubicBezTo>
                  <a:pt x="9660317" y="504532"/>
                  <a:pt x="9716943" y="570546"/>
                  <a:pt x="9716943" y="645990"/>
                </a:cubicBezTo>
                <a:cubicBezTo>
                  <a:pt x="9716943" y="726149"/>
                  <a:pt x="9660317" y="792163"/>
                  <a:pt x="9584814" y="792163"/>
                </a:cubicBezTo>
                <a:cubicBezTo>
                  <a:pt x="9514031" y="792163"/>
                  <a:pt x="9457404" y="726149"/>
                  <a:pt x="9457404" y="645990"/>
                </a:cubicBezTo>
                <a:cubicBezTo>
                  <a:pt x="9457404" y="570546"/>
                  <a:pt x="9514031" y="504532"/>
                  <a:pt x="9584814" y="504532"/>
                </a:cubicBezTo>
                <a:close/>
                <a:moveTo>
                  <a:pt x="8872259" y="504532"/>
                </a:moveTo>
                <a:cubicBezTo>
                  <a:pt x="8943043" y="504532"/>
                  <a:pt x="8999669" y="570546"/>
                  <a:pt x="8999669" y="645990"/>
                </a:cubicBezTo>
                <a:cubicBezTo>
                  <a:pt x="8999669" y="726149"/>
                  <a:pt x="8943043" y="792163"/>
                  <a:pt x="8872259" y="792163"/>
                </a:cubicBezTo>
                <a:cubicBezTo>
                  <a:pt x="8796757" y="792163"/>
                  <a:pt x="8740130" y="726149"/>
                  <a:pt x="8740130" y="645990"/>
                </a:cubicBezTo>
                <a:cubicBezTo>
                  <a:pt x="8740130" y="570546"/>
                  <a:pt x="8796757" y="504532"/>
                  <a:pt x="8872259" y="504532"/>
                </a:cubicBezTo>
                <a:close/>
                <a:moveTo>
                  <a:pt x="8140828" y="504532"/>
                </a:moveTo>
                <a:cubicBezTo>
                  <a:pt x="8216331" y="504532"/>
                  <a:pt x="8272958" y="570546"/>
                  <a:pt x="8272958" y="645990"/>
                </a:cubicBezTo>
                <a:cubicBezTo>
                  <a:pt x="8272958" y="726149"/>
                  <a:pt x="8216331" y="792163"/>
                  <a:pt x="8140828" y="792163"/>
                </a:cubicBezTo>
                <a:cubicBezTo>
                  <a:pt x="8070045" y="792163"/>
                  <a:pt x="8008699" y="726149"/>
                  <a:pt x="8008699" y="645990"/>
                </a:cubicBezTo>
                <a:cubicBezTo>
                  <a:pt x="8008699" y="570546"/>
                  <a:pt x="8070045" y="504532"/>
                  <a:pt x="8140828" y="504532"/>
                </a:cubicBezTo>
                <a:close/>
                <a:moveTo>
                  <a:pt x="7371646" y="504532"/>
                </a:moveTo>
                <a:cubicBezTo>
                  <a:pt x="7442430" y="504532"/>
                  <a:pt x="7503776" y="570546"/>
                  <a:pt x="7503776" y="645990"/>
                </a:cubicBezTo>
                <a:cubicBezTo>
                  <a:pt x="7503776" y="726149"/>
                  <a:pt x="7442430" y="792163"/>
                  <a:pt x="7371646" y="792163"/>
                </a:cubicBezTo>
                <a:cubicBezTo>
                  <a:pt x="7300863" y="792163"/>
                  <a:pt x="7239517" y="726149"/>
                  <a:pt x="7239517" y="645990"/>
                </a:cubicBezTo>
                <a:cubicBezTo>
                  <a:pt x="7239517" y="570546"/>
                  <a:pt x="7300863" y="504532"/>
                  <a:pt x="7371646" y="504532"/>
                </a:cubicBezTo>
                <a:close/>
                <a:moveTo>
                  <a:pt x="6106895" y="504532"/>
                </a:moveTo>
                <a:cubicBezTo>
                  <a:pt x="6182399" y="504532"/>
                  <a:pt x="6239024" y="570546"/>
                  <a:pt x="6239024" y="645990"/>
                </a:cubicBezTo>
                <a:cubicBezTo>
                  <a:pt x="6239024" y="726149"/>
                  <a:pt x="6182399" y="792163"/>
                  <a:pt x="6106895" y="792163"/>
                </a:cubicBezTo>
                <a:cubicBezTo>
                  <a:pt x="6036111" y="792163"/>
                  <a:pt x="5979485" y="726149"/>
                  <a:pt x="5979485" y="645990"/>
                </a:cubicBezTo>
                <a:cubicBezTo>
                  <a:pt x="5979485" y="570546"/>
                  <a:pt x="6036111" y="504532"/>
                  <a:pt x="6106895" y="504532"/>
                </a:cubicBezTo>
                <a:close/>
                <a:moveTo>
                  <a:pt x="5394340" y="504532"/>
                </a:moveTo>
                <a:cubicBezTo>
                  <a:pt x="5465124" y="504532"/>
                  <a:pt x="5521751" y="570546"/>
                  <a:pt x="5521751" y="645990"/>
                </a:cubicBezTo>
                <a:cubicBezTo>
                  <a:pt x="5521751" y="726149"/>
                  <a:pt x="5465124" y="792163"/>
                  <a:pt x="5394340" y="792163"/>
                </a:cubicBezTo>
                <a:cubicBezTo>
                  <a:pt x="5318838" y="792163"/>
                  <a:pt x="5262210" y="726149"/>
                  <a:pt x="5262210" y="645990"/>
                </a:cubicBezTo>
                <a:cubicBezTo>
                  <a:pt x="5262210" y="570546"/>
                  <a:pt x="5318838" y="504532"/>
                  <a:pt x="5394340" y="504532"/>
                </a:cubicBezTo>
                <a:close/>
                <a:moveTo>
                  <a:pt x="4662911" y="504532"/>
                </a:moveTo>
                <a:cubicBezTo>
                  <a:pt x="4738413" y="504532"/>
                  <a:pt x="4795040" y="570546"/>
                  <a:pt x="4795040" y="645990"/>
                </a:cubicBezTo>
                <a:cubicBezTo>
                  <a:pt x="4795040" y="726149"/>
                  <a:pt x="4738413" y="792163"/>
                  <a:pt x="4662911" y="792163"/>
                </a:cubicBezTo>
                <a:cubicBezTo>
                  <a:pt x="4592127" y="792163"/>
                  <a:pt x="4530781" y="726149"/>
                  <a:pt x="4530781" y="645990"/>
                </a:cubicBezTo>
                <a:cubicBezTo>
                  <a:pt x="4530781" y="570546"/>
                  <a:pt x="4592127" y="504532"/>
                  <a:pt x="4662911" y="504532"/>
                </a:cubicBezTo>
                <a:close/>
                <a:moveTo>
                  <a:pt x="3893728" y="504532"/>
                </a:moveTo>
                <a:cubicBezTo>
                  <a:pt x="3964511" y="504532"/>
                  <a:pt x="4025857" y="570546"/>
                  <a:pt x="4025857" y="645990"/>
                </a:cubicBezTo>
                <a:cubicBezTo>
                  <a:pt x="4025857" y="726149"/>
                  <a:pt x="3964511" y="792163"/>
                  <a:pt x="3893728" y="792163"/>
                </a:cubicBezTo>
                <a:cubicBezTo>
                  <a:pt x="3822944" y="792163"/>
                  <a:pt x="3761598" y="726149"/>
                  <a:pt x="3761598" y="645990"/>
                </a:cubicBezTo>
                <a:cubicBezTo>
                  <a:pt x="3761598" y="570546"/>
                  <a:pt x="3822944" y="504532"/>
                  <a:pt x="3893728" y="504532"/>
                </a:cubicBezTo>
                <a:close/>
                <a:moveTo>
                  <a:pt x="2703934" y="504532"/>
                </a:moveTo>
                <a:cubicBezTo>
                  <a:pt x="2779436" y="504532"/>
                  <a:pt x="2836063" y="570546"/>
                  <a:pt x="2836063" y="645990"/>
                </a:cubicBezTo>
                <a:cubicBezTo>
                  <a:pt x="2836063" y="726149"/>
                  <a:pt x="2779436" y="792163"/>
                  <a:pt x="2703934" y="792163"/>
                </a:cubicBezTo>
                <a:cubicBezTo>
                  <a:pt x="2633150" y="792163"/>
                  <a:pt x="2576523" y="726149"/>
                  <a:pt x="2576523" y="645990"/>
                </a:cubicBezTo>
                <a:cubicBezTo>
                  <a:pt x="2576523" y="570546"/>
                  <a:pt x="2633150" y="504532"/>
                  <a:pt x="2703934" y="504532"/>
                </a:cubicBezTo>
                <a:close/>
                <a:moveTo>
                  <a:pt x="1991379" y="504532"/>
                </a:moveTo>
                <a:cubicBezTo>
                  <a:pt x="2062162" y="504532"/>
                  <a:pt x="2118789" y="570546"/>
                  <a:pt x="2118789" y="645990"/>
                </a:cubicBezTo>
                <a:cubicBezTo>
                  <a:pt x="2118789" y="726149"/>
                  <a:pt x="2062162" y="792163"/>
                  <a:pt x="1991379" y="792163"/>
                </a:cubicBezTo>
                <a:cubicBezTo>
                  <a:pt x="1915876" y="792163"/>
                  <a:pt x="1859249" y="726149"/>
                  <a:pt x="1859249" y="645990"/>
                </a:cubicBezTo>
                <a:cubicBezTo>
                  <a:pt x="1859249" y="570546"/>
                  <a:pt x="1915876" y="504532"/>
                  <a:pt x="1991379" y="504532"/>
                </a:cubicBezTo>
                <a:close/>
                <a:moveTo>
                  <a:pt x="1259948" y="504532"/>
                </a:moveTo>
                <a:cubicBezTo>
                  <a:pt x="1335450" y="504532"/>
                  <a:pt x="1392077" y="570546"/>
                  <a:pt x="1392077" y="645990"/>
                </a:cubicBezTo>
                <a:cubicBezTo>
                  <a:pt x="1392077" y="726149"/>
                  <a:pt x="1335450" y="792163"/>
                  <a:pt x="1259948" y="792163"/>
                </a:cubicBezTo>
                <a:cubicBezTo>
                  <a:pt x="1189164" y="792163"/>
                  <a:pt x="1127818" y="726149"/>
                  <a:pt x="1127818" y="645990"/>
                </a:cubicBezTo>
                <a:cubicBezTo>
                  <a:pt x="1127818" y="570546"/>
                  <a:pt x="1189164" y="504532"/>
                  <a:pt x="1259948" y="504532"/>
                </a:cubicBezTo>
                <a:close/>
                <a:moveTo>
                  <a:pt x="490766" y="504532"/>
                </a:moveTo>
                <a:cubicBezTo>
                  <a:pt x="561550" y="504532"/>
                  <a:pt x="622895" y="570546"/>
                  <a:pt x="622895" y="645990"/>
                </a:cubicBezTo>
                <a:cubicBezTo>
                  <a:pt x="622895" y="726149"/>
                  <a:pt x="561550" y="792163"/>
                  <a:pt x="490766" y="792163"/>
                </a:cubicBezTo>
                <a:cubicBezTo>
                  <a:pt x="419982" y="792163"/>
                  <a:pt x="358636" y="726149"/>
                  <a:pt x="358636" y="645990"/>
                </a:cubicBezTo>
                <a:cubicBezTo>
                  <a:pt x="358636" y="570546"/>
                  <a:pt x="419982" y="504532"/>
                  <a:pt x="490766" y="504532"/>
                </a:cubicBezTo>
                <a:close/>
                <a:moveTo>
                  <a:pt x="10330401" y="480956"/>
                </a:moveTo>
                <a:cubicBezTo>
                  <a:pt x="10349277" y="480956"/>
                  <a:pt x="10366973" y="485082"/>
                  <a:pt x="10382899" y="492450"/>
                </a:cubicBezTo>
                <a:lnTo>
                  <a:pt x="10413068" y="514741"/>
                </a:lnTo>
                <a:lnTo>
                  <a:pt x="10418716" y="516026"/>
                </a:lnTo>
                <a:cubicBezTo>
                  <a:pt x="10465832" y="538129"/>
                  <a:pt x="10500339" y="589407"/>
                  <a:pt x="10500339" y="645990"/>
                </a:cubicBezTo>
                <a:cubicBezTo>
                  <a:pt x="10500339" y="686070"/>
                  <a:pt x="10485002" y="722613"/>
                  <a:pt x="10460818" y="749136"/>
                </a:cubicBezTo>
                <a:lnTo>
                  <a:pt x="10422167" y="778017"/>
                </a:lnTo>
                <a:lnTo>
                  <a:pt x="10476688" y="778017"/>
                </a:lnTo>
                <a:lnTo>
                  <a:pt x="10504262" y="801593"/>
                </a:lnTo>
                <a:lnTo>
                  <a:pt x="10509777" y="801593"/>
                </a:lnTo>
                <a:cubicBezTo>
                  <a:pt x="10575841" y="834600"/>
                  <a:pt x="10618312" y="938336"/>
                  <a:pt x="10637187" y="999634"/>
                </a:cubicBezTo>
                <a:cubicBezTo>
                  <a:pt x="10457869" y="999634"/>
                  <a:pt x="10278550" y="999634"/>
                  <a:pt x="10099232" y="999634"/>
                </a:cubicBezTo>
                <a:lnTo>
                  <a:pt x="10108496" y="976058"/>
                </a:lnTo>
                <a:lnTo>
                  <a:pt x="10066143" y="976058"/>
                </a:lnTo>
                <a:cubicBezTo>
                  <a:pt x="10085019" y="914759"/>
                  <a:pt x="10127489" y="811024"/>
                  <a:pt x="10184115" y="778017"/>
                </a:cubicBezTo>
                <a:lnTo>
                  <a:pt x="10314251" y="778017"/>
                </a:lnTo>
                <a:lnTo>
                  <a:pt x="10288915" y="759085"/>
                </a:lnTo>
                <a:lnTo>
                  <a:pt x="10279894" y="757019"/>
                </a:lnTo>
                <a:cubicBezTo>
                  <a:pt x="10232779" y="734695"/>
                  <a:pt x="10198272" y="682533"/>
                  <a:pt x="10198272" y="622414"/>
                </a:cubicBezTo>
                <a:cubicBezTo>
                  <a:pt x="10198272" y="546970"/>
                  <a:pt x="10259618" y="480956"/>
                  <a:pt x="10330401" y="480956"/>
                </a:cubicBezTo>
                <a:close/>
                <a:moveTo>
                  <a:pt x="6852482" y="480956"/>
                </a:moveTo>
                <a:cubicBezTo>
                  <a:pt x="6927986" y="480956"/>
                  <a:pt x="6984612" y="546970"/>
                  <a:pt x="6984612" y="622414"/>
                </a:cubicBezTo>
                <a:cubicBezTo>
                  <a:pt x="6984612" y="702573"/>
                  <a:pt x="6927986" y="768586"/>
                  <a:pt x="6852482" y="768586"/>
                </a:cubicBezTo>
                <a:cubicBezTo>
                  <a:pt x="6781700" y="768586"/>
                  <a:pt x="6720353" y="702573"/>
                  <a:pt x="6720353" y="622414"/>
                </a:cubicBezTo>
                <a:cubicBezTo>
                  <a:pt x="6720353" y="546970"/>
                  <a:pt x="6781700" y="480956"/>
                  <a:pt x="6852482" y="480956"/>
                </a:cubicBezTo>
                <a:close/>
                <a:moveTo>
                  <a:pt x="3449521" y="480956"/>
                </a:moveTo>
                <a:cubicBezTo>
                  <a:pt x="3525023" y="480956"/>
                  <a:pt x="3581650" y="546970"/>
                  <a:pt x="3581650" y="622414"/>
                </a:cubicBezTo>
                <a:cubicBezTo>
                  <a:pt x="3581650" y="702573"/>
                  <a:pt x="3525023" y="768586"/>
                  <a:pt x="3449521" y="768586"/>
                </a:cubicBezTo>
                <a:cubicBezTo>
                  <a:pt x="3378738" y="768586"/>
                  <a:pt x="3317392" y="702573"/>
                  <a:pt x="3317392" y="622414"/>
                </a:cubicBezTo>
                <a:cubicBezTo>
                  <a:pt x="3317392" y="546970"/>
                  <a:pt x="3378738" y="480956"/>
                  <a:pt x="3449521" y="480956"/>
                </a:cubicBezTo>
                <a:close/>
                <a:moveTo>
                  <a:pt x="12192000" y="314639"/>
                </a:moveTo>
                <a:lnTo>
                  <a:pt x="12192000" y="633107"/>
                </a:lnTo>
                <a:lnTo>
                  <a:pt x="12148418" y="624034"/>
                </a:lnTo>
                <a:cubicBezTo>
                  <a:pt x="12092676" y="599721"/>
                  <a:pt x="12052860" y="542255"/>
                  <a:pt x="12052860" y="471526"/>
                </a:cubicBezTo>
                <a:cubicBezTo>
                  <a:pt x="12052860" y="404333"/>
                  <a:pt x="12092676" y="347750"/>
                  <a:pt x="12148418" y="323658"/>
                </a:cubicBezTo>
                <a:close/>
                <a:moveTo>
                  <a:pt x="11481872" y="311207"/>
                </a:moveTo>
                <a:cubicBezTo>
                  <a:pt x="11566812" y="311207"/>
                  <a:pt x="11632877" y="381936"/>
                  <a:pt x="11632877" y="471526"/>
                </a:cubicBezTo>
                <a:cubicBezTo>
                  <a:pt x="11632877" y="565831"/>
                  <a:pt x="11566812" y="636559"/>
                  <a:pt x="11481872" y="636559"/>
                </a:cubicBezTo>
                <a:cubicBezTo>
                  <a:pt x="11396931" y="636559"/>
                  <a:pt x="11330867" y="565831"/>
                  <a:pt x="11330867" y="471526"/>
                </a:cubicBezTo>
                <a:cubicBezTo>
                  <a:pt x="11330867" y="381936"/>
                  <a:pt x="11396931" y="311207"/>
                  <a:pt x="11481872" y="311207"/>
                </a:cubicBezTo>
                <a:close/>
                <a:moveTo>
                  <a:pt x="10750441" y="311207"/>
                </a:moveTo>
                <a:cubicBezTo>
                  <a:pt x="10835381" y="311207"/>
                  <a:pt x="10901446" y="381936"/>
                  <a:pt x="10901446" y="471526"/>
                </a:cubicBezTo>
                <a:cubicBezTo>
                  <a:pt x="10901446" y="565831"/>
                  <a:pt x="10835381" y="636559"/>
                  <a:pt x="10750441" y="636559"/>
                </a:cubicBezTo>
                <a:cubicBezTo>
                  <a:pt x="10665501" y="636559"/>
                  <a:pt x="10599436" y="565831"/>
                  <a:pt x="10599436" y="471526"/>
                </a:cubicBezTo>
                <a:cubicBezTo>
                  <a:pt x="10599436" y="381936"/>
                  <a:pt x="10665501" y="311207"/>
                  <a:pt x="10750441" y="311207"/>
                </a:cubicBezTo>
                <a:close/>
                <a:moveTo>
                  <a:pt x="9952889" y="311207"/>
                </a:moveTo>
                <a:cubicBezTo>
                  <a:pt x="10037829" y="311207"/>
                  <a:pt x="10103894" y="381936"/>
                  <a:pt x="10103894" y="471526"/>
                </a:cubicBezTo>
                <a:cubicBezTo>
                  <a:pt x="10103894" y="565831"/>
                  <a:pt x="10037829" y="636559"/>
                  <a:pt x="9952889" y="636559"/>
                </a:cubicBezTo>
                <a:cubicBezTo>
                  <a:pt x="9867949" y="636559"/>
                  <a:pt x="9801884" y="565831"/>
                  <a:pt x="9801884" y="471526"/>
                </a:cubicBezTo>
                <a:cubicBezTo>
                  <a:pt x="9801884" y="381936"/>
                  <a:pt x="9867949" y="311207"/>
                  <a:pt x="9952889" y="311207"/>
                </a:cubicBezTo>
                <a:close/>
                <a:moveTo>
                  <a:pt x="9212021" y="311207"/>
                </a:moveTo>
                <a:cubicBezTo>
                  <a:pt x="9292242" y="311207"/>
                  <a:pt x="9363025" y="381936"/>
                  <a:pt x="9363025" y="471526"/>
                </a:cubicBezTo>
                <a:cubicBezTo>
                  <a:pt x="9363025" y="565831"/>
                  <a:pt x="9292242" y="636559"/>
                  <a:pt x="9212021" y="636559"/>
                </a:cubicBezTo>
                <a:cubicBezTo>
                  <a:pt x="9127080" y="636559"/>
                  <a:pt x="9056297" y="565831"/>
                  <a:pt x="9056297" y="471526"/>
                </a:cubicBezTo>
                <a:cubicBezTo>
                  <a:pt x="9056297" y="381936"/>
                  <a:pt x="9127080" y="311207"/>
                  <a:pt x="9212021" y="311207"/>
                </a:cubicBezTo>
                <a:close/>
                <a:moveTo>
                  <a:pt x="8485309" y="311207"/>
                </a:moveTo>
                <a:cubicBezTo>
                  <a:pt x="8570249" y="311207"/>
                  <a:pt x="8636314" y="381936"/>
                  <a:pt x="8636314" y="471526"/>
                </a:cubicBezTo>
                <a:cubicBezTo>
                  <a:pt x="8636314" y="565831"/>
                  <a:pt x="8570249" y="636559"/>
                  <a:pt x="8485309" y="636559"/>
                </a:cubicBezTo>
                <a:cubicBezTo>
                  <a:pt x="8400368" y="636559"/>
                  <a:pt x="8334303" y="565831"/>
                  <a:pt x="8334303" y="471526"/>
                </a:cubicBezTo>
                <a:cubicBezTo>
                  <a:pt x="8334303" y="381936"/>
                  <a:pt x="8400368" y="311207"/>
                  <a:pt x="8485309" y="311207"/>
                </a:cubicBezTo>
                <a:close/>
                <a:moveTo>
                  <a:pt x="7753878" y="311207"/>
                </a:moveTo>
                <a:cubicBezTo>
                  <a:pt x="7838818" y="311207"/>
                  <a:pt x="7904883" y="381936"/>
                  <a:pt x="7904883" y="471526"/>
                </a:cubicBezTo>
                <a:cubicBezTo>
                  <a:pt x="7904883" y="565831"/>
                  <a:pt x="7838818" y="636559"/>
                  <a:pt x="7753878" y="636559"/>
                </a:cubicBezTo>
                <a:cubicBezTo>
                  <a:pt x="7668937" y="636559"/>
                  <a:pt x="7602873" y="565831"/>
                  <a:pt x="7602873" y="471526"/>
                </a:cubicBezTo>
                <a:cubicBezTo>
                  <a:pt x="7602873" y="381936"/>
                  <a:pt x="7668937" y="311207"/>
                  <a:pt x="7753878" y="311207"/>
                </a:cubicBezTo>
                <a:close/>
                <a:moveTo>
                  <a:pt x="6474970" y="311207"/>
                </a:moveTo>
                <a:cubicBezTo>
                  <a:pt x="6559910" y="311207"/>
                  <a:pt x="6625976" y="381936"/>
                  <a:pt x="6625976" y="471526"/>
                </a:cubicBezTo>
                <a:cubicBezTo>
                  <a:pt x="6625976" y="565831"/>
                  <a:pt x="6559910" y="636559"/>
                  <a:pt x="6474970" y="636559"/>
                </a:cubicBezTo>
                <a:cubicBezTo>
                  <a:pt x="6390030" y="636559"/>
                  <a:pt x="6323966" y="565831"/>
                  <a:pt x="6323966" y="471526"/>
                </a:cubicBezTo>
                <a:cubicBezTo>
                  <a:pt x="6323966" y="381936"/>
                  <a:pt x="6390030" y="311207"/>
                  <a:pt x="6474970" y="311207"/>
                </a:cubicBezTo>
                <a:close/>
                <a:moveTo>
                  <a:pt x="5734101" y="311207"/>
                </a:moveTo>
                <a:cubicBezTo>
                  <a:pt x="5814323" y="311207"/>
                  <a:pt x="5885107" y="381936"/>
                  <a:pt x="5885107" y="471526"/>
                </a:cubicBezTo>
                <a:cubicBezTo>
                  <a:pt x="5885107" y="565831"/>
                  <a:pt x="5814323" y="636559"/>
                  <a:pt x="5734101" y="636559"/>
                </a:cubicBezTo>
                <a:cubicBezTo>
                  <a:pt x="5649161" y="636559"/>
                  <a:pt x="5578377" y="565831"/>
                  <a:pt x="5578377" y="471526"/>
                </a:cubicBezTo>
                <a:cubicBezTo>
                  <a:pt x="5578377" y="381936"/>
                  <a:pt x="5649161" y="311207"/>
                  <a:pt x="5734101" y="311207"/>
                </a:cubicBezTo>
                <a:close/>
                <a:moveTo>
                  <a:pt x="5007390" y="311207"/>
                </a:moveTo>
                <a:cubicBezTo>
                  <a:pt x="5092330" y="311207"/>
                  <a:pt x="5158396" y="381936"/>
                  <a:pt x="5158396" y="471526"/>
                </a:cubicBezTo>
                <a:cubicBezTo>
                  <a:pt x="5158396" y="565831"/>
                  <a:pt x="5092330" y="636559"/>
                  <a:pt x="5007390" y="636559"/>
                </a:cubicBezTo>
                <a:cubicBezTo>
                  <a:pt x="4922449" y="636559"/>
                  <a:pt x="4856386" y="565831"/>
                  <a:pt x="4856386" y="471526"/>
                </a:cubicBezTo>
                <a:cubicBezTo>
                  <a:pt x="4856386" y="381936"/>
                  <a:pt x="4922449" y="311207"/>
                  <a:pt x="5007390" y="311207"/>
                </a:cubicBezTo>
                <a:close/>
                <a:moveTo>
                  <a:pt x="4275959" y="311207"/>
                </a:moveTo>
                <a:cubicBezTo>
                  <a:pt x="4360899" y="311207"/>
                  <a:pt x="4426964" y="381936"/>
                  <a:pt x="4426964" y="471526"/>
                </a:cubicBezTo>
                <a:cubicBezTo>
                  <a:pt x="4426964" y="565831"/>
                  <a:pt x="4360899" y="636559"/>
                  <a:pt x="4275959" y="636559"/>
                </a:cubicBezTo>
                <a:cubicBezTo>
                  <a:pt x="4191019" y="636559"/>
                  <a:pt x="4124954" y="565831"/>
                  <a:pt x="4124954" y="471526"/>
                </a:cubicBezTo>
                <a:cubicBezTo>
                  <a:pt x="4124954" y="381936"/>
                  <a:pt x="4191019" y="311207"/>
                  <a:pt x="4275959" y="311207"/>
                </a:cubicBezTo>
                <a:close/>
                <a:moveTo>
                  <a:pt x="3072008" y="311207"/>
                </a:moveTo>
                <a:cubicBezTo>
                  <a:pt x="3156949" y="311207"/>
                  <a:pt x="3223013" y="381936"/>
                  <a:pt x="3223013" y="471526"/>
                </a:cubicBezTo>
                <a:cubicBezTo>
                  <a:pt x="3223013" y="565831"/>
                  <a:pt x="3156949" y="636559"/>
                  <a:pt x="3072008" y="636559"/>
                </a:cubicBezTo>
                <a:cubicBezTo>
                  <a:pt x="2987068" y="636559"/>
                  <a:pt x="2921004" y="565831"/>
                  <a:pt x="2921004" y="471526"/>
                </a:cubicBezTo>
                <a:cubicBezTo>
                  <a:pt x="2921004" y="381936"/>
                  <a:pt x="2987068" y="311207"/>
                  <a:pt x="3072008" y="311207"/>
                </a:cubicBezTo>
                <a:close/>
                <a:moveTo>
                  <a:pt x="2331140" y="311207"/>
                </a:moveTo>
                <a:cubicBezTo>
                  <a:pt x="2411361" y="311207"/>
                  <a:pt x="2482145" y="381936"/>
                  <a:pt x="2482145" y="471526"/>
                </a:cubicBezTo>
                <a:cubicBezTo>
                  <a:pt x="2482145" y="565831"/>
                  <a:pt x="2411361" y="636559"/>
                  <a:pt x="2331140" y="636559"/>
                </a:cubicBezTo>
                <a:cubicBezTo>
                  <a:pt x="2246199" y="636559"/>
                  <a:pt x="2175416" y="565831"/>
                  <a:pt x="2175416" y="471526"/>
                </a:cubicBezTo>
                <a:cubicBezTo>
                  <a:pt x="2175416" y="381936"/>
                  <a:pt x="2246199" y="311207"/>
                  <a:pt x="2331140" y="311207"/>
                </a:cubicBezTo>
                <a:close/>
                <a:moveTo>
                  <a:pt x="1604428" y="311207"/>
                </a:moveTo>
                <a:cubicBezTo>
                  <a:pt x="1689368" y="311207"/>
                  <a:pt x="1755433" y="381936"/>
                  <a:pt x="1755433" y="471526"/>
                </a:cubicBezTo>
                <a:cubicBezTo>
                  <a:pt x="1755433" y="565831"/>
                  <a:pt x="1689368" y="636559"/>
                  <a:pt x="1604428" y="636559"/>
                </a:cubicBezTo>
                <a:cubicBezTo>
                  <a:pt x="1519488" y="636559"/>
                  <a:pt x="1453423" y="565831"/>
                  <a:pt x="1453423" y="471526"/>
                </a:cubicBezTo>
                <a:cubicBezTo>
                  <a:pt x="1453423" y="381936"/>
                  <a:pt x="1519488" y="311207"/>
                  <a:pt x="1604428" y="311207"/>
                </a:cubicBezTo>
                <a:close/>
                <a:moveTo>
                  <a:pt x="872998" y="311207"/>
                </a:moveTo>
                <a:cubicBezTo>
                  <a:pt x="957938" y="311207"/>
                  <a:pt x="1024002" y="381936"/>
                  <a:pt x="1024002" y="471526"/>
                </a:cubicBezTo>
                <a:cubicBezTo>
                  <a:pt x="1024002" y="565831"/>
                  <a:pt x="957938" y="636559"/>
                  <a:pt x="872998" y="636559"/>
                </a:cubicBezTo>
                <a:cubicBezTo>
                  <a:pt x="788057" y="636559"/>
                  <a:pt x="721992" y="565831"/>
                  <a:pt x="721992" y="471526"/>
                </a:cubicBezTo>
                <a:cubicBezTo>
                  <a:pt x="721992" y="381936"/>
                  <a:pt x="788057" y="311207"/>
                  <a:pt x="872998" y="311207"/>
                </a:cubicBezTo>
                <a:close/>
                <a:moveTo>
                  <a:pt x="11868822" y="94305"/>
                </a:moveTo>
                <a:cubicBezTo>
                  <a:pt x="11944325" y="94305"/>
                  <a:pt x="12005670" y="160319"/>
                  <a:pt x="12005670" y="240478"/>
                </a:cubicBezTo>
                <a:cubicBezTo>
                  <a:pt x="12005670" y="320637"/>
                  <a:pt x="11944325" y="386651"/>
                  <a:pt x="11868822" y="386651"/>
                </a:cubicBezTo>
                <a:cubicBezTo>
                  <a:pt x="11793320" y="386651"/>
                  <a:pt x="11731974" y="320637"/>
                  <a:pt x="11731974" y="240478"/>
                </a:cubicBezTo>
                <a:cubicBezTo>
                  <a:pt x="11731974" y="160319"/>
                  <a:pt x="11793320" y="94305"/>
                  <a:pt x="11868822" y="94305"/>
                </a:cubicBezTo>
                <a:close/>
                <a:moveTo>
                  <a:pt x="11113797" y="94305"/>
                </a:moveTo>
                <a:cubicBezTo>
                  <a:pt x="11189299" y="94305"/>
                  <a:pt x="11250645" y="160319"/>
                  <a:pt x="11250645" y="240478"/>
                </a:cubicBezTo>
                <a:cubicBezTo>
                  <a:pt x="11250645" y="320637"/>
                  <a:pt x="11189299" y="386651"/>
                  <a:pt x="11113797" y="386651"/>
                </a:cubicBezTo>
                <a:cubicBezTo>
                  <a:pt x="11038294" y="386651"/>
                  <a:pt x="10976948" y="320637"/>
                  <a:pt x="10976948" y="240478"/>
                </a:cubicBezTo>
                <a:cubicBezTo>
                  <a:pt x="10976948" y="160319"/>
                  <a:pt x="11038294" y="94305"/>
                  <a:pt x="11113797" y="94305"/>
                </a:cubicBezTo>
                <a:close/>
                <a:moveTo>
                  <a:pt x="10325683" y="94305"/>
                </a:moveTo>
                <a:lnTo>
                  <a:pt x="10330430" y="95337"/>
                </a:lnTo>
                <a:lnTo>
                  <a:pt x="10335177" y="94305"/>
                </a:lnTo>
                <a:cubicBezTo>
                  <a:pt x="10410680" y="94305"/>
                  <a:pt x="10472025" y="160319"/>
                  <a:pt x="10472025" y="240478"/>
                </a:cubicBezTo>
                <a:cubicBezTo>
                  <a:pt x="10472025" y="320637"/>
                  <a:pt x="10410680" y="386651"/>
                  <a:pt x="10335177" y="386651"/>
                </a:cubicBezTo>
                <a:lnTo>
                  <a:pt x="10330430" y="385620"/>
                </a:lnTo>
                <a:lnTo>
                  <a:pt x="10325683" y="386651"/>
                </a:lnTo>
                <a:cubicBezTo>
                  <a:pt x="10250180" y="386651"/>
                  <a:pt x="10188834" y="320637"/>
                  <a:pt x="10188834" y="240478"/>
                </a:cubicBezTo>
                <a:cubicBezTo>
                  <a:pt x="10188834" y="160319"/>
                  <a:pt x="10250180" y="94305"/>
                  <a:pt x="10325683" y="94305"/>
                </a:cubicBezTo>
                <a:close/>
                <a:moveTo>
                  <a:pt x="9518749" y="94305"/>
                </a:moveTo>
                <a:cubicBezTo>
                  <a:pt x="9594252" y="94305"/>
                  <a:pt x="9655598" y="160319"/>
                  <a:pt x="9655598" y="240478"/>
                </a:cubicBezTo>
                <a:cubicBezTo>
                  <a:pt x="9655598" y="320637"/>
                  <a:pt x="9594252" y="386651"/>
                  <a:pt x="9518749" y="386651"/>
                </a:cubicBezTo>
                <a:cubicBezTo>
                  <a:pt x="9443247" y="386651"/>
                  <a:pt x="9381901" y="320637"/>
                  <a:pt x="9381901" y="240478"/>
                </a:cubicBezTo>
                <a:cubicBezTo>
                  <a:pt x="9381901" y="160319"/>
                  <a:pt x="9443247" y="94305"/>
                  <a:pt x="9518749" y="94305"/>
                </a:cubicBezTo>
                <a:close/>
                <a:moveTo>
                  <a:pt x="8872259" y="94305"/>
                </a:moveTo>
                <a:cubicBezTo>
                  <a:pt x="8947762" y="94305"/>
                  <a:pt x="9009107" y="160319"/>
                  <a:pt x="9009107" y="240478"/>
                </a:cubicBezTo>
                <a:cubicBezTo>
                  <a:pt x="9009107" y="320637"/>
                  <a:pt x="8947762" y="386651"/>
                  <a:pt x="8872259" y="386651"/>
                </a:cubicBezTo>
                <a:cubicBezTo>
                  <a:pt x="8796757" y="386651"/>
                  <a:pt x="8735411" y="320637"/>
                  <a:pt x="8735411" y="240478"/>
                </a:cubicBezTo>
                <a:cubicBezTo>
                  <a:pt x="8735411" y="160319"/>
                  <a:pt x="8796757" y="94305"/>
                  <a:pt x="8872259" y="94305"/>
                </a:cubicBezTo>
                <a:close/>
                <a:moveTo>
                  <a:pt x="8117234" y="94305"/>
                </a:moveTo>
                <a:cubicBezTo>
                  <a:pt x="8192736" y="94305"/>
                  <a:pt x="8254082" y="160319"/>
                  <a:pt x="8254082" y="240478"/>
                </a:cubicBezTo>
                <a:cubicBezTo>
                  <a:pt x="8254082" y="320637"/>
                  <a:pt x="8192736" y="386651"/>
                  <a:pt x="8117234" y="386651"/>
                </a:cubicBezTo>
                <a:cubicBezTo>
                  <a:pt x="8041731" y="386651"/>
                  <a:pt x="7980385" y="320637"/>
                  <a:pt x="7980385" y="240478"/>
                </a:cubicBezTo>
                <a:cubicBezTo>
                  <a:pt x="7980385" y="160319"/>
                  <a:pt x="8041731" y="94305"/>
                  <a:pt x="8117234" y="94305"/>
                </a:cubicBezTo>
                <a:close/>
                <a:moveTo>
                  <a:pt x="7338614" y="94305"/>
                </a:moveTo>
                <a:cubicBezTo>
                  <a:pt x="7414116" y="94305"/>
                  <a:pt x="7475462" y="160319"/>
                  <a:pt x="7475462" y="240478"/>
                </a:cubicBezTo>
                <a:cubicBezTo>
                  <a:pt x="7475462" y="320637"/>
                  <a:pt x="7414116" y="386651"/>
                  <a:pt x="7338614" y="386651"/>
                </a:cubicBezTo>
                <a:cubicBezTo>
                  <a:pt x="7263111" y="386651"/>
                  <a:pt x="7201765" y="320637"/>
                  <a:pt x="7201765" y="240478"/>
                </a:cubicBezTo>
                <a:cubicBezTo>
                  <a:pt x="7201765" y="160319"/>
                  <a:pt x="7263111" y="94305"/>
                  <a:pt x="7338614" y="94305"/>
                </a:cubicBezTo>
                <a:close/>
                <a:moveTo>
                  <a:pt x="6847764" y="94305"/>
                </a:moveTo>
                <a:cubicBezTo>
                  <a:pt x="6923266" y="94305"/>
                  <a:pt x="6984612" y="160319"/>
                  <a:pt x="6984612" y="240478"/>
                </a:cubicBezTo>
                <a:cubicBezTo>
                  <a:pt x="6984612" y="320637"/>
                  <a:pt x="6923266" y="386651"/>
                  <a:pt x="6847764" y="386651"/>
                </a:cubicBezTo>
                <a:cubicBezTo>
                  <a:pt x="6772262" y="386651"/>
                  <a:pt x="6710915" y="320637"/>
                  <a:pt x="6710915" y="240478"/>
                </a:cubicBezTo>
                <a:cubicBezTo>
                  <a:pt x="6710915" y="160319"/>
                  <a:pt x="6772262" y="94305"/>
                  <a:pt x="6847764" y="94305"/>
                </a:cubicBezTo>
                <a:close/>
                <a:moveTo>
                  <a:pt x="6040831" y="94305"/>
                </a:moveTo>
                <a:cubicBezTo>
                  <a:pt x="6116333" y="94305"/>
                  <a:pt x="6177679" y="160319"/>
                  <a:pt x="6177679" y="240478"/>
                </a:cubicBezTo>
                <a:cubicBezTo>
                  <a:pt x="6177679" y="320637"/>
                  <a:pt x="6116333" y="386651"/>
                  <a:pt x="6040831" y="386651"/>
                </a:cubicBezTo>
                <a:cubicBezTo>
                  <a:pt x="5965329" y="386651"/>
                  <a:pt x="5903983" y="320637"/>
                  <a:pt x="5903983" y="240478"/>
                </a:cubicBezTo>
                <a:cubicBezTo>
                  <a:pt x="5903983" y="160319"/>
                  <a:pt x="5965329" y="94305"/>
                  <a:pt x="6040831" y="94305"/>
                </a:cubicBezTo>
                <a:close/>
                <a:moveTo>
                  <a:pt x="5394340" y="94305"/>
                </a:moveTo>
                <a:cubicBezTo>
                  <a:pt x="5469842" y="94305"/>
                  <a:pt x="5531188" y="160319"/>
                  <a:pt x="5531188" y="240478"/>
                </a:cubicBezTo>
                <a:cubicBezTo>
                  <a:pt x="5531188" y="320637"/>
                  <a:pt x="5469842" y="386651"/>
                  <a:pt x="5394340" y="386651"/>
                </a:cubicBezTo>
                <a:cubicBezTo>
                  <a:pt x="5318838" y="386651"/>
                  <a:pt x="5257492" y="320637"/>
                  <a:pt x="5257492" y="240478"/>
                </a:cubicBezTo>
                <a:cubicBezTo>
                  <a:pt x="5257492" y="160319"/>
                  <a:pt x="5318838" y="94305"/>
                  <a:pt x="5394340" y="94305"/>
                </a:cubicBezTo>
                <a:close/>
                <a:moveTo>
                  <a:pt x="4639316" y="94305"/>
                </a:moveTo>
                <a:cubicBezTo>
                  <a:pt x="4714818" y="94305"/>
                  <a:pt x="4776164" y="160319"/>
                  <a:pt x="4776164" y="240478"/>
                </a:cubicBezTo>
                <a:cubicBezTo>
                  <a:pt x="4776164" y="320637"/>
                  <a:pt x="4714818" y="386651"/>
                  <a:pt x="4639316" y="386651"/>
                </a:cubicBezTo>
                <a:cubicBezTo>
                  <a:pt x="4563812" y="386651"/>
                  <a:pt x="4502466" y="320637"/>
                  <a:pt x="4502466" y="240478"/>
                </a:cubicBezTo>
                <a:cubicBezTo>
                  <a:pt x="4502466" y="160319"/>
                  <a:pt x="4563812" y="94305"/>
                  <a:pt x="4639316" y="94305"/>
                </a:cubicBezTo>
                <a:close/>
                <a:moveTo>
                  <a:pt x="3860695" y="94305"/>
                </a:moveTo>
                <a:cubicBezTo>
                  <a:pt x="3936198" y="94305"/>
                  <a:pt x="3997544" y="160319"/>
                  <a:pt x="3997544" y="240478"/>
                </a:cubicBezTo>
                <a:cubicBezTo>
                  <a:pt x="3997544" y="320637"/>
                  <a:pt x="3936198" y="386651"/>
                  <a:pt x="3860695" y="386651"/>
                </a:cubicBezTo>
                <a:cubicBezTo>
                  <a:pt x="3785193" y="386651"/>
                  <a:pt x="3723847" y="320637"/>
                  <a:pt x="3723847" y="240478"/>
                </a:cubicBezTo>
                <a:cubicBezTo>
                  <a:pt x="3723847" y="160319"/>
                  <a:pt x="3785193" y="94305"/>
                  <a:pt x="3860695" y="94305"/>
                </a:cubicBezTo>
                <a:close/>
                <a:moveTo>
                  <a:pt x="3444802" y="94305"/>
                </a:moveTo>
                <a:cubicBezTo>
                  <a:pt x="3520305" y="94305"/>
                  <a:pt x="3581650" y="160319"/>
                  <a:pt x="3581650" y="240478"/>
                </a:cubicBezTo>
                <a:cubicBezTo>
                  <a:pt x="3581650" y="320637"/>
                  <a:pt x="3520305" y="386651"/>
                  <a:pt x="3444802" y="386651"/>
                </a:cubicBezTo>
                <a:cubicBezTo>
                  <a:pt x="3369300" y="386651"/>
                  <a:pt x="3307954" y="320637"/>
                  <a:pt x="3307954" y="240478"/>
                </a:cubicBezTo>
                <a:cubicBezTo>
                  <a:pt x="3307954" y="160319"/>
                  <a:pt x="3369300" y="94305"/>
                  <a:pt x="3444802" y="94305"/>
                </a:cubicBezTo>
                <a:close/>
                <a:moveTo>
                  <a:pt x="2637869" y="94305"/>
                </a:moveTo>
                <a:cubicBezTo>
                  <a:pt x="2713371" y="94305"/>
                  <a:pt x="2774717" y="160319"/>
                  <a:pt x="2774717" y="240478"/>
                </a:cubicBezTo>
                <a:cubicBezTo>
                  <a:pt x="2774717" y="320637"/>
                  <a:pt x="2713371" y="386651"/>
                  <a:pt x="2637869" y="386651"/>
                </a:cubicBezTo>
                <a:cubicBezTo>
                  <a:pt x="2562367" y="386651"/>
                  <a:pt x="2501021" y="320637"/>
                  <a:pt x="2501021" y="240478"/>
                </a:cubicBezTo>
                <a:cubicBezTo>
                  <a:pt x="2501021" y="160319"/>
                  <a:pt x="2562367" y="94305"/>
                  <a:pt x="2637869" y="94305"/>
                </a:cubicBezTo>
                <a:close/>
                <a:moveTo>
                  <a:pt x="1991379" y="94305"/>
                </a:moveTo>
                <a:cubicBezTo>
                  <a:pt x="2066881" y="94305"/>
                  <a:pt x="2128227" y="160319"/>
                  <a:pt x="2128227" y="240478"/>
                </a:cubicBezTo>
                <a:cubicBezTo>
                  <a:pt x="2128227" y="320637"/>
                  <a:pt x="2066881" y="386651"/>
                  <a:pt x="1991379" y="386651"/>
                </a:cubicBezTo>
                <a:cubicBezTo>
                  <a:pt x="1915876" y="386651"/>
                  <a:pt x="1854530" y="320637"/>
                  <a:pt x="1854530" y="240478"/>
                </a:cubicBezTo>
                <a:cubicBezTo>
                  <a:pt x="1854530" y="160319"/>
                  <a:pt x="1915876" y="94305"/>
                  <a:pt x="1991379" y="94305"/>
                </a:cubicBezTo>
                <a:close/>
                <a:moveTo>
                  <a:pt x="1236353" y="94305"/>
                </a:moveTo>
                <a:cubicBezTo>
                  <a:pt x="1311856" y="94305"/>
                  <a:pt x="1373202" y="160319"/>
                  <a:pt x="1373202" y="240478"/>
                </a:cubicBezTo>
                <a:cubicBezTo>
                  <a:pt x="1373202" y="320637"/>
                  <a:pt x="1311856" y="386651"/>
                  <a:pt x="1236353" y="386651"/>
                </a:cubicBezTo>
                <a:cubicBezTo>
                  <a:pt x="1160851" y="386651"/>
                  <a:pt x="1099505" y="320637"/>
                  <a:pt x="1099505" y="240478"/>
                </a:cubicBezTo>
                <a:cubicBezTo>
                  <a:pt x="1099505" y="160319"/>
                  <a:pt x="1160851" y="94305"/>
                  <a:pt x="1236353" y="94305"/>
                </a:cubicBezTo>
                <a:close/>
                <a:moveTo>
                  <a:pt x="457734" y="94305"/>
                </a:moveTo>
                <a:cubicBezTo>
                  <a:pt x="533236" y="94305"/>
                  <a:pt x="594582" y="160319"/>
                  <a:pt x="594582" y="240478"/>
                </a:cubicBezTo>
                <a:cubicBezTo>
                  <a:pt x="594582" y="320637"/>
                  <a:pt x="533236" y="386651"/>
                  <a:pt x="457734" y="386651"/>
                </a:cubicBezTo>
                <a:cubicBezTo>
                  <a:pt x="382231" y="386651"/>
                  <a:pt x="320885" y="320637"/>
                  <a:pt x="320885" y="240478"/>
                </a:cubicBezTo>
                <a:cubicBezTo>
                  <a:pt x="320885" y="160319"/>
                  <a:pt x="382231" y="94305"/>
                  <a:pt x="457734" y="94305"/>
                </a:cubicBezTo>
                <a:close/>
                <a:moveTo>
                  <a:pt x="12192000" y="3735"/>
                </a:moveTo>
                <a:lnTo>
                  <a:pt x="12192000" y="203737"/>
                </a:lnTo>
                <a:lnTo>
                  <a:pt x="12171939" y="199220"/>
                </a:lnTo>
                <a:cubicBezTo>
                  <a:pt x="12138095" y="183306"/>
                  <a:pt x="12114205" y="146173"/>
                  <a:pt x="12114205" y="103736"/>
                </a:cubicBezTo>
                <a:cubicBezTo>
                  <a:pt x="12114205" y="61299"/>
                  <a:pt x="12138095" y="24166"/>
                  <a:pt x="12171939" y="8252"/>
                </a:cubicBezTo>
                <a:close/>
                <a:moveTo>
                  <a:pt x="11481872" y="0"/>
                </a:moveTo>
                <a:cubicBezTo>
                  <a:pt x="11533780" y="0"/>
                  <a:pt x="11576250" y="47153"/>
                  <a:pt x="11576250" y="103736"/>
                </a:cubicBezTo>
                <a:cubicBezTo>
                  <a:pt x="11576250" y="160319"/>
                  <a:pt x="11533780" y="207471"/>
                  <a:pt x="11481872" y="207471"/>
                </a:cubicBezTo>
                <a:cubicBezTo>
                  <a:pt x="11429964" y="207471"/>
                  <a:pt x="11387494" y="160319"/>
                  <a:pt x="11387494" y="103736"/>
                </a:cubicBezTo>
                <a:cubicBezTo>
                  <a:pt x="11387494" y="47153"/>
                  <a:pt x="11429964" y="0"/>
                  <a:pt x="11481872" y="0"/>
                </a:cubicBezTo>
                <a:close/>
                <a:moveTo>
                  <a:pt x="10750441" y="0"/>
                </a:moveTo>
                <a:cubicBezTo>
                  <a:pt x="10802349" y="0"/>
                  <a:pt x="10844819" y="47153"/>
                  <a:pt x="10844819" y="103736"/>
                </a:cubicBezTo>
                <a:cubicBezTo>
                  <a:pt x="10844819" y="160319"/>
                  <a:pt x="10802349" y="207471"/>
                  <a:pt x="10750441" y="207471"/>
                </a:cubicBezTo>
                <a:cubicBezTo>
                  <a:pt x="10698533" y="207471"/>
                  <a:pt x="10656063" y="160319"/>
                  <a:pt x="10656063" y="103736"/>
                </a:cubicBezTo>
                <a:cubicBezTo>
                  <a:pt x="10656063" y="47153"/>
                  <a:pt x="10698533" y="0"/>
                  <a:pt x="10750441" y="0"/>
                </a:cubicBezTo>
                <a:close/>
                <a:moveTo>
                  <a:pt x="9952889" y="0"/>
                </a:moveTo>
                <a:cubicBezTo>
                  <a:pt x="10004797" y="0"/>
                  <a:pt x="10047267" y="47153"/>
                  <a:pt x="10047267" y="103736"/>
                </a:cubicBezTo>
                <a:cubicBezTo>
                  <a:pt x="10047267" y="160319"/>
                  <a:pt x="10004797" y="207471"/>
                  <a:pt x="9952889" y="207471"/>
                </a:cubicBezTo>
                <a:cubicBezTo>
                  <a:pt x="9900981" y="207471"/>
                  <a:pt x="9858511" y="160319"/>
                  <a:pt x="9858511" y="103736"/>
                </a:cubicBezTo>
                <a:cubicBezTo>
                  <a:pt x="9858511" y="47153"/>
                  <a:pt x="9900981" y="0"/>
                  <a:pt x="9952889" y="0"/>
                </a:cubicBezTo>
                <a:close/>
                <a:moveTo>
                  <a:pt x="9212021" y="0"/>
                </a:moveTo>
                <a:cubicBezTo>
                  <a:pt x="9263929" y="0"/>
                  <a:pt x="9306399" y="47153"/>
                  <a:pt x="9306399" y="103736"/>
                </a:cubicBezTo>
                <a:cubicBezTo>
                  <a:pt x="9306399" y="160319"/>
                  <a:pt x="9263929" y="207471"/>
                  <a:pt x="9212021" y="207471"/>
                </a:cubicBezTo>
                <a:cubicBezTo>
                  <a:pt x="9160113" y="207471"/>
                  <a:pt x="9117642" y="160319"/>
                  <a:pt x="9117642" y="103736"/>
                </a:cubicBezTo>
                <a:cubicBezTo>
                  <a:pt x="9117642" y="47153"/>
                  <a:pt x="9160113" y="0"/>
                  <a:pt x="9212021" y="0"/>
                </a:cubicBezTo>
                <a:close/>
                <a:moveTo>
                  <a:pt x="8485309" y="0"/>
                </a:moveTo>
                <a:cubicBezTo>
                  <a:pt x="8537217" y="0"/>
                  <a:pt x="8579687" y="47153"/>
                  <a:pt x="8579687" y="103736"/>
                </a:cubicBezTo>
                <a:cubicBezTo>
                  <a:pt x="8579687" y="160319"/>
                  <a:pt x="8537217" y="207471"/>
                  <a:pt x="8485309" y="207471"/>
                </a:cubicBezTo>
                <a:cubicBezTo>
                  <a:pt x="8433401" y="207471"/>
                  <a:pt x="8390931" y="160319"/>
                  <a:pt x="8390931" y="103736"/>
                </a:cubicBezTo>
                <a:cubicBezTo>
                  <a:pt x="8390931" y="47153"/>
                  <a:pt x="8433401" y="0"/>
                  <a:pt x="8485309" y="0"/>
                </a:cubicBezTo>
                <a:close/>
                <a:moveTo>
                  <a:pt x="7753878" y="0"/>
                </a:moveTo>
                <a:cubicBezTo>
                  <a:pt x="7805786" y="0"/>
                  <a:pt x="7848256" y="47153"/>
                  <a:pt x="7848256" y="103736"/>
                </a:cubicBezTo>
                <a:cubicBezTo>
                  <a:pt x="7848256" y="160319"/>
                  <a:pt x="7805786" y="207471"/>
                  <a:pt x="7753878" y="207471"/>
                </a:cubicBezTo>
                <a:cubicBezTo>
                  <a:pt x="7701970" y="207471"/>
                  <a:pt x="7659500" y="160319"/>
                  <a:pt x="7659500" y="103736"/>
                </a:cubicBezTo>
                <a:cubicBezTo>
                  <a:pt x="7659500" y="47153"/>
                  <a:pt x="7701970" y="0"/>
                  <a:pt x="7753878" y="0"/>
                </a:cubicBezTo>
                <a:close/>
                <a:moveTo>
                  <a:pt x="6474970" y="0"/>
                </a:moveTo>
                <a:cubicBezTo>
                  <a:pt x="6526878" y="0"/>
                  <a:pt x="6569349" y="47153"/>
                  <a:pt x="6569349" y="103736"/>
                </a:cubicBezTo>
                <a:cubicBezTo>
                  <a:pt x="6569349" y="160319"/>
                  <a:pt x="6526878" y="207471"/>
                  <a:pt x="6474970" y="207471"/>
                </a:cubicBezTo>
                <a:cubicBezTo>
                  <a:pt x="6423063" y="207471"/>
                  <a:pt x="6380592" y="160319"/>
                  <a:pt x="6380592" y="103736"/>
                </a:cubicBezTo>
                <a:cubicBezTo>
                  <a:pt x="6380592" y="47153"/>
                  <a:pt x="6423063" y="0"/>
                  <a:pt x="6474970" y="0"/>
                </a:cubicBezTo>
                <a:close/>
                <a:moveTo>
                  <a:pt x="5734101" y="0"/>
                </a:moveTo>
                <a:cubicBezTo>
                  <a:pt x="5786010" y="0"/>
                  <a:pt x="5828479" y="47153"/>
                  <a:pt x="5828479" y="103736"/>
                </a:cubicBezTo>
                <a:cubicBezTo>
                  <a:pt x="5828479" y="160319"/>
                  <a:pt x="5786010" y="207471"/>
                  <a:pt x="5734101" y="207471"/>
                </a:cubicBezTo>
                <a:cubicBezTo>
                  <a:pt x="5682193" y="207471"/>
                  <a:pt x="5639724" y="160319"/>
                  <a:pt x="5639724" y="103736"/>
                </a:cubicBezTo>
                <a:cubicBezTo>
                  <a:pt x="5639724" y="47153"/>
                  <a:pt x="5682193" y="0"/>
                  <a:pt x="5734101" y="0"/>
                </a:cubicBezTo>
                <a:close/>
                <a:moveTo>
                  <a:pt x="5007390" y="0"/>
                </a:moveTo>
                <a:cubicBezTo>
                  <a:pt x="5059297" y="0"/>
                  <a:pt x="5101768" y="47153"/>
                  <a:pt x="5101768" y="103736"/>
                </a:cubicBezTo>
                <a:cubicBezTo>
                  <a:pt x="5101768" y="160319"/>
                  <a:pt x="5059297" y="207471"/>
                  <a:pt x="5007390" y="207471"/>
                </a:cubicBezTo>
                <a:cubicBezTo>
                  <a:pt x="4955482" y="207471"/>
                  <a:pt x="4913013" y="160319"/>
                  <a:pt x="4913013" y="103736"/>
                </a:cubicBezTo>
                <a:cubicBezTo>
                  <a:pt x="4913013" y="47153"/>
                  <a:pt x="4955482" y="0"/>
                  <a:pt x="5007390" y="0"/>
                </a:cubicBezTo>
                <a:close/>
                <a:moveTo>
                  <a:pt x="4275959" y="0"/>
                </a:moveTo>
                <a:cubicBezTo>
                  <a:pt x="4327868" y="0"/>
                  <a:pt x="4370337" y="47153"/>
                  <a:pt x="4370337" y="103736"/>
                </a:cubicBezTo>
                <a:cubicBezTo>
                  <a:pt x="4370337" y="160319"/>
                  <a:pt x="4327868" y="207471"/>
                  <a:pt x="4275959" y="207471"/>
                </a:cubicBezTo>
                <a:cubicBezTo>
                  <a:pt x="4224051" y="207471"/>
                  <a:pt x="4181581" y="160319"/>
                  <a:pt x="4181581" y="103736"/>
                </a:cubicBezTo>
                <a:cubicBezTo>
                  <a:pt x="4181581" y="47153"/>
                  <a:pt x="4224051" y="0"/>
                  <a:pt x="4275959" y="0"/>
                </a:cubicBezTo>
                <a:close/>
                <a:moveTo>
                  <a:pt x="3072008" y="0"/>
                </a:moveTo>
                <a:cubicBezTo>
                  <a:pt x="3123917" y="0"/>
                  <a:pt x="3166386" y="47153"/>
                  <a:pt x="3166386" y="103736"/>
                </a:cubicBezTo>
                <a:cubicBezTo>
                  <a:pt x="3166386" y="160319"/>
                  <a:pt x="3123917" y="207471"/>
                  <a:pt x="3072008" y="207471"/>
                </a:cubicBezTo>
                <a:cubicBezTo>
                  <a:pt x="3020100" y="207471"/>
                  <a:pt x="2977630" y="160319"/>
                  <a:pt x="2977630" y="103736"/>
                </a:cubicBezTo>
                <a:cubicBezTo>
                  <a:pt x="2977630" y="47153"/>
                  <a:pt x="3020100" y="0"/>
                  <a:pt x="3072008" y="0"/>
                </a:cubicBezTo>
                <a:close/>
                <a:moveTo>
                  <a:pt x="2331140" y="0"/>
                </a:moveTo>
                <a:cubicBezTo>
                  <a:pt x="2383048" y="0"/>
                  <a:pt x="2425518" y="47153"/>
                  <a:pt x="2425518" y="103736"/>
                </a:cubicBezTo>
                <a:cubicBezTo>
                  <a:pt x="2425518" y="160319"/>
                  <a:pt x="2383048" y="207471"/>
                  <a:pt x="2331140" y="207471"/>
                </a:cubicBezTo>
                <a:cubicBezTo>
                  <a:pt x="2279232" y="207471"/>
                  <a:pt x="2236762" y="160319"/>
                  <a:pt x="2236762" y="103736"/>
                </a:cubicBezTo>
                <a:cubicBezTo>
                  <a:pt x="2236762" y="47153"/>
                  <a:pt x="2279232" y="0"/>
                  <a:pt x="2331140" y="0"/>
                </a:cubicBezTo>
                <a:close/>
                <a:moveTo>
                  <a:pt x="1604428" y="0"/>
                </a:moveTo>
                <a:cubicBezTo>
                  <a:pt x="1656336" y="0"/>
                  <a:pt x="1698806" y="47153"/>
                  <a:pt x="1698806" y="103736"/>
                </a:cubicBezTo>
                <a:cubicBezTo>
                  <a:pt x="1698806" y="160319"/>
                  <a:pt x="1656336" y="207471"/>
                  <a:pt x="1604428" y="207471"/>
                </a:cubicBezTo>
                <a:cubicBezTo>
                  <a:pt x="1552520" y="207471"/>
                  <a:pt x="1510050" y="160319"/>
                  <a:pt x="1510050" y="103736"/>
                </a:cubicBezTo>
                <a:cubicBezTo>
                  <a:pt x="1510050" y="47153"/>
                  <a:pt x="1552520" y="0"/>
                  <a:pt x="1604428" y="0"/>
                </a:cubicBezTo>
                <a:close/>
                <a:moveTo>
                  <a:pt x="872998" y="0"/>
                </a:moveTo>
                <a:cubicBezTo>
                  <a:pt x="924905" y="0"/>
                  <a:pt x="967376" y="47153"/>
                  <a:pt x="967376" y="103736"/>
                </a:cubicBezTo>
                <a:cubicBezTo>
                  <a:pt x="967376" y="160319"/>
                  <a:pt x="924905" y="207471"/>
                  <a:pt x="872998" y="207471"/>
                </a:cubicBezTo>
                <a:cubicBezTo>
                  <a:pt x="821089" y="207471"/>
                  <a:pt x="778619" y="160319"/>
                  <a:pt x="778619" y="103736"/>
                </a:cubicBezTo>
                <a:cubicBezTo>
                  <a:pt x="778619" y="47153"/>
                  <a:pt x="821089" y="0"/>
                  <a:pt x="87299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cxnSp>
        <p:nvCxnSpPr>
          <p:cNvPr id="89" name="直接连接符 88">
            <a:extLst>
              <a:ext uri="{FF2B5EF4-FFF2-40B4-BE49-F238E27FC236}">
                <a16:creationId xmlns:a16="http://schemas.microsoft.com/office/drawing/2014/main" id="{67D8F14F-6ACD-4D22-AA36-B53BC24F5513}"/>
              </a:ext>
            </a:extLst>
          </p:cNvPr>
          <p:cNvCxnSpPr>
            <a:cxnSpLocks/>
            <a:stCxn id="90" idx="4"/>
            <a:endCxn id="92" idx="0"/>
          </p:cNvCxnSpPr>
          <p:nvPr/>
        </p:nvCxnSpPr>
        <p:spPr>
          <a:xfrm flipH="1">
            <a:off x="2122829" y="3806545"/>
            <a:ext cx="763" cy="1328831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椭圆 89">
            <a:extLst>
              <a:ext uri="{FF2B5EF4-FFF2-40B4-BE49-F238E27FC236}">
                <a16:creationId xmlns:a16="http://schemas.microsoft.com/office/drawing/2014/main" id="{F60C40F1-1C14-4154-99DE-880E73FBD4DB}"/>
              </a:ext>
            </a:extLst>
          </p:cNvPr>
          <p:cNvSpPr/>
          <p:nvPr/>
        </p:nvSpPr>
        <p:spPr>
          <a:xfrm>
            <a:off x="1710242" y="2979845"/>
            <a:ext cx="826700" cy="826700"/>
          </a:xfrm>
          <a:prstGeom prst="ellipse">
            <a:avLst/>
          </a:prstGeom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/>
          </a:p>
        </p:txBody>
      </p:sp>
      <p:grpSp>
        <p:nvGrpSpPr>
          <p:cNvPr id="91" name="组合 90">
            <a:extLst>
              <a:ext uri="{FF2B5EF4-FFF2-40B4-BE49-F238E27FC236}">
                <a16:creationId xmlns:a16="http://schemas.microsoft.com/office/drawing/2014/main" id="{9AE80F19-E4D7-48EE-BBAE-FAF7E659EA1F}"/>
              </a:ext>
            </a:extLst>
          </p:cNvPr>
          <p:cNvGrpSpPr/>
          <p:nvPr/>
        </p:nvGrpSpPr>
        <p:grpSpPr>
          <a:xfrm>
            <a:off x="673100" y="4041531"/>
            <a:ext cx="2900986" cy="955860"/>
            <a:chOff x="4832962" y="4020861"/>
            <a:chExt cx="2140047" cy="955860"/>
          </a:xfrm>
          <a:solidFill>
            <a:schemeClr val="bg1"/>
          </a:solidFill>
        </p:grpSpPr>
        <p:sp>
          <p:nvSpPr>
            <p:cNvPr id="94" name="文本框 93">
              <a:extLst>
                <a:ext uri="{FF2B5EF4-FFF2-40B4-BE49-F238E27FC236}">
                  <a16:creationId xmlns:a16="http://schemas.microsoft.com/office/drawing/2014/main" id="{08DBFE12-41CD-4EFC-B674-9B70793D06D5}"/>
                </a:ext>
              </a:extLst>
            </p:cNvPr>
            <p:cNvSpPr txBox="1"/>
            <p:nvPr/>
          </p:nvSpPr>
          <p:spPr bwMode="auto">
            <a:xfrm>
              <a:off x="4832962" y="4020861"/>
              <a:ext cx="2138519" cy="3984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 b="1" dirty="0"/>
                <a:t>Text here</a:t>
              </a:r>
              <a:endParaRPr lang="zh-CN" altLang="en-US" sz="1800" b="1" dirty="0"/>
            </a:p>
          </p:txBody>
        </p:sp>
        <p:sp>
          <p:nvSpPr>
            <p:cNvPr id="95" name="矩形 94">
              <a:extLst>
                <a:ext uri="{FF2B5EF4-FFF2-40B4-BE49-F238E27FC236}">
                  <a16:creationId xmlns:a16="http://schemas.microsoft.com/office/drawing/2014/main" id="{421A7DC5-3FC5-41CC-AB32-749540DF31BC}"/>
                </a:ext>
              </a:extLst>
            </p:cNvPr>
            <p:cNvSpPr/>
            <p:nvPr/>
          </p:nvSpPr>
          <p:spPr bwMode="auto">
            <a:xfrm>
              <a:off x="4834490" y="4419322"/>
              <a:ext cx="2138519" cy="55739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  <a:spcBef>
                  <a:spcPct val="0"/>
                </a:spcBef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</p:grpSp>
      <p:sp>
        <p:nvSpPr>
          <p:cNvPr id="92" name="矩形 91">
            <a:extLst>
              <a:ext uri="{FF2B5EF4-FFF2-40B4-BE49-F238E27FC236}">
                <a16:creationId xmlns:a16="http://schemas.microsoft.com/office/drawing/2014/main" id="{73E87AED-FC2A-4E5D-9B58-643146019A4D}"/>
              </a:ext>
            </a:extLst>
          </p:cNvPr>
          <p:cNvSpPr/>
          <p:nvPr/>
        </p:nvSpPr>
        <p:spPr bwMode="auto">
          <a:xfrm>
            <a:off x="673372" y="5135376"/>
            <a:ext cx="2898914" cy="5573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/>
              <a:t>…</a:t>
            </a:r>
          </a:p>
        </p:txBody>
      </p:sp>
      <p:sp>
        <p:nvSpPr>
          <p:cNvPr id="93" name="任意多边形: 形状 92">
            <a:extLst>
              <a:ext uri="{FF2B5EF4-FFF2-40B4-BE49-F238E27FC236}">
                <a16:creationId xmlns:a16="http://schemas.microsoft.com/office/drawing/2014/main" id="{0C581D76-0EE0-4C09-8F5C-93FB16B44582}"/>
              </a:ext>
            </a:extLst>
          </p:cNvPr>
          <p:cNvSpPr/>
          <p:nvPr/>
        </p:nvSpPr>
        <p:spPr bwMode="auto">
          <a:xfrm>
            <a:off x="1899025" y="3211859"/>
            <a:ext cx="449134" cy="362670"/>
          </a:xfrm>
          <a:custGeom>
            <a:avLst/>
            <a:gdLst>
              <a:gd name="connsiteX0" fmla="*/ 499361 w 608838"/>
              <a:gd name="connsiteY0" fmla="*/ 285654 h 491629"/>
              <a:gd name="connsiteX1" fmla="*/ 499361 w 608838"/>
              <a:gd name="connsiteY1" fmla="*/ 344437 h 491629"/>
              <a:gd name="connsiteX2" fmla="*/ 558245 w 608838"/>
              <a:gd name="connsiteY2" fmla="*/ 344437 h 491629"/>
              <a:gd name="connsiteX3" fmla="*/ 558245 w 608838"/>
              <a:gd name="connsiteY3" fmla="*/ 285654 h 491629"/>
              <a:gd name="connsiteX4" fmla="*/ 50593 w 608838"/>
              <a:gd name="connsiteY4" fmla="*/ 285654 h 491629"/>
              <a:gd name="connsiteX5" fmla="*/ 50593 w 608838"/>
              <a:gd name="connsiteY5" fmla="*/ 344437 h 491629"/>
              <a:gd name="connsiteX6" fmla="*/ 109477 w 608838"/>
              <a:gd name="connsiteY6" fmla="*/ 344437 h 491629"/>
              <a:gd name="connsiteX7" fmla="*/ 109477 w 608838"/>
              <a:gd name="connsiteY7" fmla="*/ 285654 h 491629"/>
              <a:gd name="connsiteX8" fmla="*/ 324062 w 608838"/>
              <a:gd name="connsiteY8" fmla="*/ 265425 h 491629"/>
              <a:gd name="connsiteX9" fmla="*/ 324062 w 608838"/>
              <a:gd name="connsiteY9" fmla="*/ 329947 h 491629"/>
              <a:gd name="connsiteX10" fmla="*/ 388693 w 608838"/>
              <a:gd name="connsiteY10" fmla="*/ 329947 h 491629"/>
              <a:gd name="connsiteX11" fmla="*/ 388693 w 608838"/>
              <a:gd name="connsiteY11" fmla="*/ 265425 h 491629"/>
              <a:gd name="connsiteX12" fmla="*/ 220144 w 608838"/>
              <a:gd name="connsiteY12" fmla="*/ 265425 h 491629"/>
              <a:gd name="connsiteX13" fmla="*/ 220144 w 608838"/>
              <a:gd name="connsiteY13" fmla="*/ 329947 h 491629"/>
              <a:gd name="connsiteX14" fmla="*/ 284775 w 608838"/>
              <a:gd name="connsiteY14" fmla="*/ 329947 h 491629"/>
              <a:gd name="connsiteX15" fmla="*/ 284775 w 608838"/>
              <a:gd name="connsiteY15" fmla="*/ 265425 h 491629"/>
              <a:gd name="connsiteX16" fmla="*/ 499361 w 608838"/>
              <a:gd name="connsiteY16" fmla="*/ 191225 h 491629"/>
              <a:gd name="connsiteX17" fmla="*/ 499361 w 608838"/>
              <a:gd name="connsiteY17" fmla="*/ 250008 h 491629"/>
              <a:gd name="connsiteX18" fmla="*/ 558245 w 608838"/>
              <a:gd name="connsiteY18" fmla="*/ 250008 h 491629"/>
              <a:gd name="connsiteX19" fmla="*/ 558245 w 608838"/>
              <a:gd name="connsiteY19" fmla="*/ 191225 h 491629"/>
              <a:gd name="connsiteX20" fmla="*/ 50593 w 608838"/>
              <a:gd name="connsiteY20" fmla="*/ 191225 h 491629"/>
              <a:gd name="connsiteX21" fmla="*/ 50593 w 608838"/>
              <a:gd name="connsiteY21" fmla="*/ 250008 h 491629"/>
              <a:gd name="connsiteX22" fmla="*/ 109477 w 608838"/>
              <a:gd name="connsiteY22" fmla="*/ 250008 h 491629"/>
              <a:gd name="connsiteX23" fmla="*/ 109477 w 608838"/>
              <a:gd name="connsiteY23" fmla="*/ 191225 h 491629"/>
              <a:gd name="connsiteX24" fmla="*/ 324062 w 608838"/>
              <a:gd name="connsiteY24" fmla="*/ 161682 h 491629"/>
              <a:gd name="connsiteX25" fmla="*/ 324062 w 608838"/>
              <a:gd name="connsiteY25" fmla="*/ 226204 h 491629"/>
              <a:gd name="connsiteX26" fmla="*/ 388693 w 608838"/>
              <a:gd name="connsiteY26" fmla="*/ 226204 h 491629"/>
              <a:gd name="connsiteX27" fmla="*/ 388693 w 608838"/>
              <a:gd name="connsiteY27" fmla="*/ 161682 h 491629"/>
              <a:gd name="connsiteX28" fmla="*/ 220144 w 608838"/>
              <a:gd name="connsiteY28" fmla="*/ 161682 h 491629"/>
              <a:gd name="connsiteX29" fmla="*/ 220144 w 608838"/>
              <a:gd name="connsiteY29" fmla="*/ 226204 h 491629"/>
              <a:gd name="connsiteX30" fmla="*/ 284775 w 608838"/>
              <a:gd name="connsiteY30" fmla="*/ 226204 h 491629"/>
              <a:gd name="connsiteX31" fmla="*/ 284775 w 608838"/>
              <a:gd name="connsiteY31" fmla="*/ 161682 h 491629"/>
              <a:gd name="connsiteX32" fmla="*/ 499361 w 608838"/>
              <a:gd name="connsiteY32" fmla="*/ 96797 h 491629"/>
              <a:gd name="connsiteX33" fmla="*/ 499361 w 608838"/>
              <a:gd name="connsiteY33" fmla="*/ 155579 h 491629"/>
              <a:gd name="connsiteX34" fmla="*/ 558245 w 608838"/>
              <a:gd name="connsiteY34" fmla="*/ 155579 h 491629"/>
              <a:gd name="connsiteX35" fmla="*/ 558245 w 608838"/>
              <a:gd name="connsiteY35" fmla="*/ 96797 h 491629"/>
              <a:gd name="connsiteX36" fmla="*/ 50593 w 608838"/>
              <a:gd name="connsiteY36" fmla="*/ 96797 h 491629"/>
              <a:gd name="connsiteX37" fmla="*/ 50593 w 608838"/>
              <a:gd name="connsiteY37" fmla="*/ 155579 h 491629"/>
              <a:gd name="connsiteX38" fmla="*/ 109477 w 608838"/>
              <a:gd name="connsiteY38" fmla="*/ 155579 h 491629"/>
              <a:gd name="connsiteX39" fmla="*/ 109477 w 608838"/>
              <a:gd name="connsiteY39" fmla="*/ 96797 h 491629"/>
              <a:gd name="connsiteX40" fmla="*/ 324062 w 608838"/>
              <a:gd name="connsiteY40" fmla="*/ 57938 h 491629"/>
              <a:gd name="connsiteX41" fmla="*/ 324062 w 608838"/>
              <a:gd name="connsiteY41" fmla="*/ 122461 h 491629"/>
              <a:gd name="connsiteX42" fmla="*/ 388693 w 608838"/>
              <a:gd name="connsiteY42" fmla="*/ 122461 h 491629"/>
              <a:gd name="connsiteX43" fmla="*/ 388693 w 608838"/>
              <a:gd name="connsiteY43" fmla="*/ 57938 h 491629"/>
              <a:gd name="connsiteX44" fmla="*/ 220144 w 608838"/>
              <a:gd name="connsiteY44" fmla="*/ 57938 h 491629"/>
              <a:gd name="connsiteX45" fmla="*/ 220144 w 608838"/>
              <a:gd name="connsiteY45" fmla="*/ 122461 h 491629"/>
              <a:gd name="connsiteX46" fmla="*/ 284775 w 608838"/>
              <a:gd name="connsiteY46" fmla="*/ 122461 h 491629"/>
              <a:gd name="connsiteX47" fmla="*/ 284775 w 608838"/>
              <a:gd name="connsiteY47" fmla="*/ 57938 h 491629"/>
              <a:gd name="connsiteX48" fmla="*/ 469401 w 608838"/>
              <a:gd name="connsiteY48" fmla="*/ 44033 h 491629"/>
              <a:gd name="connsiteX49" fmla="*/ 608838 w 608838"/>
              <a:gd name="connsiteY49" fmla="*/ 44033 h 491629"/>
              <a:gd name="connsiteX50" fmla="*/ 608838 w 608838"/>
              <a:gd name="connsiteY50" fmla="*/ 491629 h 491629"/>
              <a:gd name="connsiteX51" fmla="*/ 510950 w 608838"/>
              <a:gd name="connsiteY51" fmla="*/ 491629 h 491629"/>
              <a:gd name="connsiteX52" fmla="*/ 510950 w 608838"/>
              <a:gd name="connsiteY52" fmla="*/ 391651 h 491629"/>
              <a:gd name="connsiteX53" fmla="*/ 469401 w 608838"/>
              <a:gd name="connsiteY53" fmla="*/ 391651 h 491629"/>
              <a:gd name="connsiteX54" fmla="*/ 0 w 608838"/>
              <a:gd name="connsiteY54" fmla="*/ 44033 h 491629"/>
              <a:gd name="connsiteX55" fmla="*/ 139437 w 608838"/>
              <a:gd name="connsiteY55" fmla="*/ 44033 h 491629"/>
              <a:gd name="connsiteX56" fmla="*/ 139437 w 608838"/>
              <a:gd name="connsiteY56" fmla="*/ 391651 h 491629"/>
              <a:gd name="connsiteX57" fmla="*/ 97889 w 608838"/>
              <a:gd name="connsiteY57" fmla="*/ 391651 h 491629"/>
              <a:gd name="connsiteX58" fmla="*/ 97889 w 608838"/>
              <a:gd name="connsiteY58" fmla="*/ 491629 h 491629"/>
              <a:gd name="connsiteX59" fmla="*/ 0 w 608838"/>
              <a:gd name="connsiteY59" fmla="*/ 491629 h 491629"/>
              <a:gd name="connsiteX60" fmla="*/ 164558 w 608838"/>
              <a:gd name="connsiteY60" fmla="*/ 0 h 491629"/>
              <a:gd name="connsiteX61" fmla="*/ 444279 w 608838"/>
              <a:gd name="connsiteY61" fmla="*/ 0 h 491629"/>
              <a:gd name="connsiteX62" fmla="*/ 444279 w 608838"/>
              <a:gd name="connsiteY62" fmla="*/ 491629 h 491629"/>
              <a:gd name="connsiteX63" fmla="*/ 336781 w 608838"/>
              <a:gd name="connsiteY63" fmla="*/ 491629 h 491629"/>
              <a:gd name="connsiteX64" fmla="*/ 336781 w 608838"/>
              <a:gd name="connsiteY64" fmla="*/ 381866 h 491629"/>
              <a:gd name="connsiteX65" fmla="*/ 272056 w 608838"/>
              <a:gd name="connsiteY65" fmla="*/ 381866 h 491629"/>
              <a:gd name="connsiteX66" fmla="*/ 272056 w 608838"/>
              <a:gd name="connsiteY66" fmla="*/ 491629 h 491629"/>
              <a:gd name="connsiteX67" fmla="*/ 164558 w 608838"/>
              <a:gd name="connsiteY67" fmla="*/ 491629 h 491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</a:cxnLst>
            <a:rect l="l" t="t" r="r" b="b"/>
            <a:pathLst>
              <a:path w="608838" h="491629">
                <a:moveTo>
                  <a:pt x="499361" y="285654"/>
                </a:moveTo>
                <a:lnTo>
                  <a:pt x="499361" y="344437"/>
                </a:lnTo>
                <a:lnTo>
                  <a:pt x="558245" y="344437"/>
                </a:lnTo>
                <a:lnTo>
                  <a:pt x="558245" y="285654"/>
                </a:lnTo>
                <a:close/>
                <a:moveTo>
                  <a:pt x="50593" y="285654"/>
                </a:moveTo>
                <a:lnTo>
                  <a:pt x="50593" y="344437"/>
                </a:lnTo>
                <a:lnTo>
                  <a:pt x="109477" y="344437"/>
                </a:lnTo>
                <a:lnTo>
                  <a:pt x="109477" y="285654"/>
                </a:lnTo>
                <a:close/>
                <a:moveTo>
                  <a:pt x="324062" y="265425"/>
                </a:moveTo>
                <a:lnTo>
                  <a:pt x="324062" y="329947"/>
                </a:lnTo>
                <a:lnTo>
                  <a:pt x="388693" y="329947"/>
                </a:lnTo>
                <a:lnTo>
                  <a:pt x="388693" y="265425"/>
                </a:lnTo>
                <a:close/>
                <a:moveTo>
                  <a:pt x="220144" y="265425"/>
                </a:moveTo>
                <a:lnTo>
                  <a:pt x="220144" y="329947"/>
                </a:lnTo>
                <a:lnTo>
                  <a:pt x="284775" y="329947"/>
                </a:lnTo>
                <a:lnTo>
                  <a:pt x="284775" y="265425"/>
                </a:lnTo>
                <a:close/>
                <a:moveTo>
                  <a:pt x="499361" y="191225"/>
                </a:moveTo>
                <a:lnTo>
                  <a:pt x="499361" y="250008"/>
                </a:lnTo>
                <a:lnTo>
                  <a:pt x="558245" y="250008"/>
                </a:lnTo>
                <a:lnTo>
                  <a:pt x="558245" y="191225"/>
                </a:lnTo>
                <a:close/>
                <a:moveTo>
                  <a:pt x="50593" y="191225"/>
                </a:moveTo>
                <a:lnTo>
                  <a:pt x="50593" y="250008"/>
                </a:lnTo>
                <a:lnTo>
                  <a:pt x="109477" y="250008"/>
                </a:lnTo>
                <a:lnTo>
                  <a:pt x="109477" y="191225"/>
                </a:lnTo>
                <a:close/>
                <a:moveTo>
                  <a:pt x="324062" y="161682"/>
                </a:moveTo>
                <a:lnTo>
                  <a:pt x="324062" y="226204"/>
                </a:lnTo>
                <a:lnTo>
                  <a:pt x="388693" y="226204"/>
                </a:lnTo>
                <a:lnTo>
                  <a:pt x="388693" y="161682"/>
                </a:lnTo>
                <a:close/>
                <a:moveTo>
                  <a:pt x="220144" y="161682"/>
                </a:moveTo>
                <a:lnTo>
                  <a:pt x="220144" y="226204"/>
                </a:lnTo>
                <a:lnTo>
                  <a:pt x="284775" y="226204"/>
                </a:lnTo>
                <a:lnTo>
                  <a:pt x="284775" y="161682"/>
                </a:lnTo>
                <a:close/>
                <a:moveTo>
                  <a:pt x="499361" y="96797"/>
                </a:moveTo>
                <a:lnTo>
                  <a:pt x="499361" y="155579"/>
                </a:lnTo>
                <a:lnTo>
                  <a:pt x="558245" y="155579"/>
                </a:lnTo>
                <a:lnTo>
                  <a:pt x="558245" y="96797"/>
                </a:lnTo>
                <a:close/>
                <a:moveTo>
                  <a:pt x="50593" y="96797"/>
                </a:moveTo>
                <a:lnTo>
                  <a:pt x="50593" y="155579"/>
                </a:lnTo>
                <a:lnTo>
                  <a:pt x="109477" y="155579"/>
                </a:lnTo>
                <a:lnTo>
                  <a:pt x="109477" y="96797"/>
                </a:lnTo>
                <a:close/>
                <a:moveTo>
                  <a:pt x="324062" y="57938"/>
                </a:moveTo>
                <a:lnTo>
                  <a:pt x="324062" y="122461"/>
                </a:lnTo>
                <a:lnTo>
                  <a:pt x="388693" y="122461"/>
                </a:lnTo>
                <a:lnTo>
                  <a:pt x="388693" y="57938"/>
                </a:lnTo>
                <a:close/>
                <a:moveTo>
                  <a:pt x="220144" y="57938"/>
                </a:moveTo>
                <a:lnTo>
                  <a:pt x="220144" y="122461"/>
                </a:lnTo>
                <a:lnTo>
                  <a:pt x="284775" y="122461"/>
                </a:lnTo>
                <a:lnTo>
                  <a:pt x="284775" y="57938"/>
                </a:lnTo>
                <a:close/>
                <a:moveTo>
                  <a:pt x="469401" y="44033"/>
                </a:moveTo>
                <a:lnTo>
                  <a:pt x="608838" y="44033"/>
                </a:lnTo>
                <a:lnTo>
                  <a:pt x="608838" y="491629"/>
                </a:lnTo>
                <a:lnTo>
                  <a:pt x="510950" y="491629"/>
                </a:lnTo>
                <a:lnTo>
                  <a:pt x="510950" y="391651"/>
                </a:lnTo>
                <a:lnTo>
                  <a:pt x="469401" y="391651"/>
                </a:lnTo>
                <a:close/>
                <a:moveTo>
                  <a:pt x="0" y="44033"/>
                </a:moveTo>
                <a:lnTo>
                  <a:pt x="139437" y="44033"/>
                </a:lnTo>
                <a:lnTo>
                  <a:pt x="139437" y="391651"/>
                </a:lnTo>
                <a:lnTo>
                  <a:pt x="97889" y="391651"/>
                </a:lnTo>
                <a:lnTo>
                  <a:pt x="97889" y="491629"/>
                </a:lnTo>
                <a:lnTo>
                  <a:pt x="0" y="491629"/>
                </a:lnTo>
                <a:close/>
                <a:moveTo>
                  <a:pt x="164558" y="0"/>
                </a:moveTo>
                <a:lnTo>
                  <a:pt x="444279" y="0"/>
                </a:lnTo>
                <a:lnTo>
                  <a:pt x="444279" y="491629"/>
                </a:lnTo>
                <a:lnTo>
                  <a:pt x="336781" y="491629"/>
                </a:lnTo>
                <a:lnTo>
                  <a:pt x="336781" y="381866"/>
                </a:lnTo>
                <a:lnTo>
                  <a:pt x="272056" y="381866"/>
                </a:lnTo>
                <a:lnTo>
                  <a:pt x="272056" y="491629"/>
                </a:lnTo>
                <a:lnTo>
                  <a:pt x="164558" y="4916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cxnSp>
        <p:nvCxnSpPr>
          <p:cNvPr id="82" name="直接连接符 81">
            <a:extLst>
              <a:ext uri="{FF2B5EF4-FFF2-40B4-BE49-F238E27FC236}">
                <a16:creationId xmlns:a16="http://schemas.microsoft.com/office/drawing/2014/main" id="{E7EC265D-2344-4B36-B46F-325497FCECDD}"/>
              </a:ext>
            </a:extLst>
          </p:cNvPr>
          <p:cNvCxnSpPr>
            <a:cxnSpLocks/>
            <a:stCxn id="83" idx="4"/>
            <a:endCxn id="85" idx="0"/>
          </p:cNvCxnSpPr>
          <p:nvPr/>
        </p:nvCxnSpPr>
        <p:spPr>
          <a:xfrm flipH="1">
            <a:off x="6095236" y="3806545"/>
            <a:ext cx="763" cy="1328831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椭圆 82">
            <a:extLst>
              <a:ext uri="{FF2B5EF4-FFF2-40B4-BE49-F238E27FC236}">
                <a16:creationId xmlns:a16="http://schemas.microsoft.com/office/drawing/2014/main" id="{1C3E8207-04C5-4A78-AA37-6EB1906F46F6}"/>
              </a:ext>
            </a:extLst>
          </p:cNvPr>
          <p:cNvSpPr/>
          <p:nvPr/>
        </p:nvSpPr>
        <p:spPr>
          <a:xfrm>
            <a:off x="5682649" y="2979845"/>
            <a:ext cx="826700" cy="826700"/>
          </a:xfrm>
          <a:prstGeom prst="ellipse">
            <a:avLst/>
          </a:prstGeom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/>
          </a:p>
        </p:txBody>
      </p:sp>
      <p:grpSp>
        <p:nvGrpSpPr>
          <p:cNvPr id="84" name="组合 83">
            <a:extLst>
              <a:ext uri="{FF2B5EF4-FFF2-40B4-BE49-F238E27FC236}">
                <a16:creationId xmlns:a16="http://schemas.microsoft.com/office/drawing/2014/main" id="{B71310DE-AB68-4EFE-943D-BA8095CF1B48}"/>
              </a:ext>
            </a:extLst>
          </p:cNvPr>
          <p:cNvGrpSpPr/>
          <p:nvPr/>
        </p:nvGrpSpPr>
        <p:grpSpPr>
          <a:xfrm>
            <a:off x="4645507" y="4041531"/>
            <a:ext cx="2900986" cy="955860"/>
            <a:chOff x="4832962" y="4020861"/>
            <a:chExt cx="2140047" cy="955860"/>
          </a:xfrm>
          <a:solidFill>
            <a:schemeClr val="bg1"/>
          </a:solidFill>
        </p:grpSpPr>
        <p:sp>
          <p:nvSpPr>
            <p:cNvPr id="87" name="文本框 86">
              <a:extLst>
                <a:ext uri="{FF2B5EF4-FFF2-40B4-BE49-F238E27FC236}">
                  <a16:creationId xmlns:a16="http://schemas.microsoft.com/office/drawing/2014/main" id="{0E4A5E8A-85F8-4B20-A23A-A1432BDDCB5C}"/>
                </a:ext>
              </a:extLst>
            </p:cNvPr>
            <p:cNvSpPr txBox="1"/>
            <p:nvPr/>
          </p:nvSpPr>
          <p:spPr bwMode="auto">
            <a:xfrm>
              <a:off x="4832962" y="4020861"/>
              <a:ext cx="2138519" cy="3984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 b="1" dirty="0"/>
                <a:t>Text here</a:t>
              </a:r>
              <a:endParaRPr lang="zh-CN" altLang="en-US" sz="1800" b="1" dirty="0"/>
            </a:p>
          </p:txBody>
        </p:sp>
        <p:sp>
          <p:nvSpPr>
            <p:cNvPr id="88" name="矩形 87">
              <a:extLst>
                <a:ext uri="{FF2B5EF4-FFF2-40B4-BE49-F238E27FC236}">
                  <a16:creationId xmlns:a16="http://schemas.microsoft.com/office/drawing/2014/main" id="{03FA3DBF-79ED-41A7-8B52-D50CB3DD9D2B}"/>
                </a:ext>
              </a:extLst>
            </p:cNvPr>
            <p:cNvSpPr/>
            <p:nvPr/>
          </p:nvSpPr>
          <p:spPr bwMode="auto">
            <a:xfrm>
              <a:off x="4834490" y="4419322"/>
              <a:ext cx="2138519" cy="55739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  <a:spcBef>
                  <a:spcPct val="0"/>
                </a:spcBef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</p:grpSp>
      <p:sp>
        <p:nvSpPr>
          <p:cNvPr id="85" name="矩形 84">
            <a:extLst>
              <a:ext uri="{FF2B5EF4-FFF2-40B4-BE49-F238E27FC236}">
                <a16:creationId xmlns:a16="http://schemas.microsoft.com/office/drawing/2014/main" id="{83273278-F71C-41BE-9B83-07BC1BA582B2}"/>
              </a:ext>
            </a:extLst>
          </p:cNvPr>
          <p:cNvSpPr/>
          <p:nvPr/>
        </p:nvSpPr>
        <p:spPr bwMode="auto">
          <a:xfrm>
            <a:off x="4645779" y="5135376"/>
            <a:ext cx="2898914" cy="5573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/>
              <a:t>…</a:t>
            </a:r>
          </a:p>
        </p:txBody>
      </p:sp>
      <p:sp>
        <p:nvSpPr>
          <p:cNvPr id="86" name="任意多边形: 形状 85">
            <a:extLst>
              <a:ext uri="{FF2B5EF4-FFF2-40B4-BE49-F238E27FC236}">
                <a16:creationId xmlns:a16="http://schemas.microsoft.com/office/drawing/2014/main" id="{40BE4DB3-6DFE-465A-9E77-E34C3772BA42}"/>
              </a:ext>
            </a:extLst>
          </p:cNvPr>
          <p:cNvSpPr/>
          <p:nvPr/>
        </p:nvSpPr>
        <p:spPr bwMode="auto">
          <a:xfrm>
            <a:off x="5889845" y="3168628"/>
            <a:ext cx="412306" cy="449134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  <a:gd name="connsiteX107" fmla="*/ 373273 h 605239"/>
              <a:gd name="connsiteY107" fmla="*/ 373273 h 605239"/>
              <a:gd name="connsiteX108" fmla="*/ 373273 h 605239"/>
              <a:gd name="connsiteY108" fmla="*/ 373273 h 605239"/>
              <a:gd name="connsiteX109" fmla="*/ 373273 h 605239"/>
              <a:gd name="connsiteY109" fmla="*/ 373273 h 605239"/>
              <a:gd name="connsiteX110" fmla="*/ 373273 h 605239"/>
              <a:gd name="connsiteY110" fmla="*/ 373273 h 605239"/>
              <a:gd name="connsiteX111" fmla="*/ 373273 h 605239"/>
              <a:gd name="connsiteY111" fmla="*/ 373273 h 605239"/>
              <a:gd name="connsiteX112" fmla="*/ 373273 h 605239"/>
              <a:gd name="connsiteY112" fmla="*/ 373273 h 605239"/>
              <a:gd name="connsiteX113" fmla="*/ 373273 h 605239"/>
              <a:gd name="connsiteY113" fmla="*/ 373273 h 605239"/>
              <a:gd name="connsiteX114" fmla="*/ 373273 h 605239"/>
              <a:gd name="connsiteY114" fmla="*/ 373273 h 605239"/>
              <a:gd name="connsiteX115" fmla="*/ 373273 h 605239"/>
              <a:gd name="connsiteY115" fmla="*/ 373273 h 605239"/>
              <a:gd name="connsiteX116" fmla="*/ 373273 h 605239"/>
              <a:gd name="connsiteY116" fmla="*/ 373273 h 605239"/>
              <a:gd name="connsiteX117" fmla="*/ 373273 h 605239"/>
              <a:gd name="connsiteY117" fmla="*/ 373273 h 605239"/>
              <a:gd name="connsiteX118" fmla="*/ 373273 h 605239"/>
              <a:gd name="connsiteY118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556973" h="606722">
                <a:moveTo>
                  <a:pt x="480190" y="505602"/>
                </a:moveTo>
                <a:cubicBezTo>
                  <a:pt x="522897" y="505602"/>
                  <a:pt x="556973" y="537147"/>
                  <a:pt x="556973" y="556162"/>
                </a:cubicBezTo>
                <a:lnTo>
                  <a:pt x="556439" y="586996"/>
                </a:lnTo>
                <a:cubicBezTo>
                  <a:pt x="556261" y="597925"/>
                  <a:pt x="547364" y="606722"/>
                  <a:pt x="536420" y="606722"/>
                </a:cubicBezTo>
                <a:lnTo>
                  <a:pt x="425206" y="606722"/>
                </a:lnTo>
                <a:cubicBezTo>
                  <a:pt x="414173" y="606722"/>
                  <a:pt x="405187" y="597748"/>
                  <a:pt x="405187" y="586640"/>
                </a:cubicBezTo>
                <a:lnTo>
                  <a:pt x="405187" y="556162"/>
                </a:lnTo>
                <a:cubicBezTo>
                  <a:pt x="405187" y="537147"/>
                  <a:pt x="437573" y="505602"/>
                  <a:pt x="480190" y="505602"/>
                </a:cubicBezTo>
                <a:close/>
                <a:moveTo>
                  <a:pt x="277711" y="505602"/>
                </a:moveTo>
                <a:cubicBezTo>
                  <a:pt x="320343" y="505602"/>
                  <a:pt x="354520" y="537147"/>
                  <a:pt x="354520" y="556162"/>
                </a:cubicBezTo>
                <a:lnTo>
                  <a:pt x="353986" y="586996"/>
                </a:lnTo>
                <a:cubicBezTo>
                  <a:pt x="353808" y="597925"/>
                  <a:pt x="344908" y="606722"/>
                  <a:pt x="333960" y="606722"/>
                </a:cubicBezTo>
                <a:lnTo>
                  <a:pt x="222619" y="606722"/>
                </a:lnTo>
                <a:cubicBezTo>
                  <a:pt x="211582" y="606722"/>
                  <a:pt x="202593" y="597748"/>
                  <a:pt x="202593" y="586640"/>
                </a:cubicBezTo>
                <a:lnTo>
                  <a:pt x="202593" y="556162"/>
                </a:lnTo>
                <a:cubicBezTo>
                  <a:pt x="202593" y="537147"/>
                  <a:pt x="234990" y="505602"/>
                  <a:pt x="277711" y="505602"/>
                </a:cubicBezTo>
                <a:close/>
                <a:moveTo>
                  <a:pt x="75118" y="505602"/>
                </a:moveTo>
                <a:cubicBezTo>
                  <a:pt x="117839" y="505602"/>
                  <a:pt x="151927" y="537147"/>
                  <a:pt x="151927" y="556162"/>
                </a:cubicBezTo>
                <a:lnTo>
                  <a:pt x="151393" y="586996"/>
                </a:lnTo>
                <a:cubicBezTo>
                  <a:pt x="151215" y="597925"/>
                  <a:pt x="142315" y="606722"/>
                  <a:pt x="131367" y="606722"/>
                </a:cubicBezTo>
                <a:lnTo>
                  <a:pt x="20115" y="606722"/>
                </a:lnTo>
                <a:cubicBezTo>
                  <a:pt x="8989" y="606722"/>
                  <a:pt x="0" y="597748"/>
                  <a:pt x="0" y="586640"/>
                </a:cubicBezTo>
                <a:lnTo>
                  <a:pt x="0" y="556162"/>
                </a:lnTo>
                <a:cubicBezTo>
                  <a:pt x="0" y="537147"/>
                  <a:pt x="32486" y="505602"/>
                  <a:pt x="75118" y="505602"/>
                </a:cubicBezTo>
                <a:close/>
                <a:moveTo>
                  <a:pt x="481080" y="379219"/>
                </a:moveTo>
                <a:cubicBezTo>
                  <a:pt x="509043" y="379219"/>
                  <a:pt x="531711" y="401840"/>
                  <a:pt x="531711" y="429744"/>
                </a:cubicBezTo>
                <a:cubicBezTo>
                  <a:pt x="531711" y="457648"/>
                  <a:pt x="509043" y="480269"/>
                  <a:pt x="481080" y="480269"/>
                </a:cubicBezTo>
                <a:cubicBezTo>
                  <a:pt x="453117" y="480269"/>
                  <a:pt x="430449" y="457648"/>
                  <a:pt x="430449" y="429744"/>
                </a:cubicBezTo>
                <a:cubicBezTo>
                  <a:pt x="430449" y="401840"/>
                  <a:pt x="453117" y="379219"/>
                  <a:pt x="481080" y="379219"/>
                </a:cubicBezTo>
                <a:close/>
                <a:moveTo>
                  <a:pt x="278522" y="379219"/>
                </a:moveTo>
                <a:cubicBezTo>
                  <a:pt x="306465" y="379219"/>
                  <a:pt x="329118" y="401840"/>
                  <a:pt x="329118" y="429744"/>
                </a:cubicBezTo>
                <a:cubicBezTo>
                  <a:pt x="329118" y="457648"/>
                  <a:pt x="306465" y="480269"/>
                  <a:pt x="278522" y="480269"/>
                </a:cubicBezTo>
                <a:cubicBezTo>
                  <a:pt x="250579" y="480269"/>
                  <a:pt x="227926" y="457648"/>
                  <a:pt x="227926" y="429744"/>
                </a:cubicBezTo>
                <a:cubicBezTo>
                  <a:pt x="227926" y="401840"/>
                  <a:pt x="250579" y="379219"/>
                  <a:pt x="278522" y="379219"/>
                </a:cubicBezTo>
                <a:close/>
                <a:moveTo>
                  <a:pt x="76035" y="379219"/>
                </a:moveTo>
                <a:cubicBezTo>
                  <a:pt x="103998" y="379219"/>
                  <a:pt x="126666" y="401840"/>
                  <a:pt x="126666" y="429744"/>
                </a:cubicBezTo>
                <a:cubicBezTo>
                  <a:pt x="126666" y="457648"/>
                  <a:pt x="103998" y="480269"/>
                  <a:pt x="76035" y="480269"/>
                </a:cubicBezTo>
                <a:cubicBezTo>
                  <a:pt x="48072" y="480269"/>
                  <a:pt x="25404" y="457648"/>
                  <a:pt x="25404" y="429744"/>
                </a:cubicBezTo>
                <a:cubicBezTo>
                  <a:pt x="25404" y="401840"/>
                  <a:pt x="48072" y="379219"/>
                  <a:pt x="76035" y="379219"/>
                </a:cubicBezTo>
                <a:close/>
                <a:moveTo>
                  <a:pt x="353886" y="80445"/>
                </a:moveTo>
                <a:lnTo>
                  <a:pt x="360298" y="80445"/>
                </a:lnTo>
                <a:cubicBezTo>
                  <a:pt x="362435" y="80445"/>
                  <a:pt x="364216" y="80712"/>
                  <a:pt x="365552" y="81424"/>
                </a:cubicBezTo>
                <a:cubicBezTo>
                  <a:pt x="366888" y="82136"/>
                  <a:pt x="367956" y="82936"/>
                  <a:pt x="368669" y="84004"/>
                </a:cubicBezTo>
                <a:cubicBezTo>
                  <a:pt x="369381" y="84982"/>
                  <a:pt x="369916" y="86139"/>
                  <a:pt x="370183" y="87206"/>
                </a:cubicBezTo>
                <a:cubicBezTo>
                  <a:pt x="370361" y="88363"/>
                  <a:pt x="370539" y="89341"/>
                  <a:pt x="370539" y="90142"/>
                </a:cubicBezTo>
                <a:cubicBezTo>
                  <a:pt x="370539" y="92277"/>
                  <a:pt x="370272" y="94145"/>
                  <a:pt x="369738" y="95569"/>
                </a:cubicBezTo>
                <a:cubicBezTo>
                  <a:pt x="369203" y="96992"/>
                  <a:pt x="368491" y="98149"/>
                  <a:pt x="367600" y="98949"/>
                </a:cubicBezTo>
                <a:cubicBezTo>
                  <a:pt x="366799" y="99750"/>
                  <a:pt x="365819" y="100373"/>
                  <a:pt x="364840" y="100728"/>
                </a:cubicBezTo>
                <a:cubicBezTo>
                  <a:pt x="363860" y="101084"/>
                  <a:pt x="362791" y="101262"/>
                  <a:pt x="361723" y="101262"/>
                </a:cubicBezTo>
                <a:lnTo>
                  <a:pt x="353886" y="101262"/>
                </a:lnTo>
                <a:close/>
                <a:moveTo>
                  <a:pt x="288104" y="75802"/>
                </a:moveTo>
                <a:lnTo>
                  <a:pt x="288104" y="81667"/>
                </a:lnTo>
                <a:lnTo>
                  <a:pt x="303770" y="81667"/>
                </a:lnTo>
                <a:lnTo>
                  <a:pt x="303770" y="128321"/>
                </a:lnTo>
                <a:lnTo>
                  <a:pt x="312404" y="128321"/>
                </a:lnTo>
                <a:lnTo>
                  <a:pt x="312404" y="81667"/>
                </a:lnTo>
                <a:lnTo>
                  <a:pt x="328159" y="81667"/>
                </a:lnTo>
                <a:lnTo>
                  <a:pt x="328159" y="75802"/>
                </a:lnTo>
                <a:close/>
                <a:moveTo>
                  <a:pt x="233896" y="75802"/>
                </a:moveTo>
                <a:lnTo>
                  <a:pt x="233896" y="81667"/>
                </a:lnTo>
                <a:lnTo>
                  <a:pt x="249562" y="81667"/>
                </a:lnTo>
                <a:lnTo>
                  <a:pt x="249562" y="128321"/>
                </a:lnTo>
                <a:lnTo>
                  <a:pt x="258196" y="128321"/>
                </a:lnTo>
                <a:lnTo>
                  <a:pt x="258196" y="81667"/>
                </a:lnTo>
                <a:lnTo>
                  <a:pt x="273951" y="81667"/>
                </a:lnTo>
                <a:lnTo>
                  <a:pt x="273951" y="75802"/>
                </a:lnTo>
                <a:close/>
                <a:moveTo>
                  <a:pt x="183516" y="75802"/>
                </a:moveTo>
                <a:lnTo>
                  <a:pt x="183516" y="128321"/>
                </a:lnTo>
                <a:lnTo>
                  <a:pt x="192239" y="128321"/>
                </a:lnTo>
                <a:lnTo>
                  <a:pt x="192239" y="104683"/>
                </a:lnTo>
                <a:lnTo>
                  <a:pt x="215026" y="104683"/>
                </a:lnTo>
                <a:lnTo>
                  <a:pt x="215026" y="128321"/>
                </a:lnTo>
                <a:lnTo>
                  <a:pt x="223571" y="128321"/>
                </a:lnTo>
                <a:lnTo>
                  <a:pt x="223571" y="75802"/>
                </a:lnTo>
                <a:lnTo>
                  <a:pt x="215026" y="75802"/>
                </a:lnTo>
                <a:lnTo>
                  <a:pt x="215026" y="98818"/>
                </a:lnTo>
                <a:lnTo>
                  <a:pt x="192239" y="98818"/>
                </a:lnTo>
                <a:lnTo>
                  <a:pt x="192239" y="75802"/>
                </a:lnTo>
                <a:close/>
                <a:moveTo>
                  <a:pt x="345338" y="73935"/>
                </a:moveTo>
                <a:lnTo>
                  <a:pt x="345338" y="126366"/>
                </a:lnTo>
                <a:lnTo>
                  <a:pt x="353883" y="126366"/>
                </a:lnTo>
                <a:lnTo>
                  <a:pt x="353883" y="107438"/>
                </a:lnTo>
                <a:lnTo>
                  <a:pt x="360203" y="107438"/>
                </a:lnTo>
                <a:cubicBezTo>
                  <a:pt x="362962" y="107438"/>
                  <a:pt x="365544" y="107083"/>
                  <a:pt x="367769" y="106283"/>
                </a:cubicBezTo>
                <a:cubicBezTo>
                  <a:pt x="370083" y="105394"/>
                  <a:pt x="372041" y="104328"/>
                  <a:pt x="373644" y="102817"/>
                </a:cubicBezTo>
                <a:cubicBezTo>
                  <a:pt x="375246" y="101306"/>
                  <a:pt x="376492" y="99529"/>
                  <a:pt x="377382" y="97396"/>
                </a:cubicBezTo>
                <a:cubicBezTo>
                  <a:pt x="378361" y="95264"/>
                  <a:pt x="378717" y="92775"/>
                  <a:pt x="378717" y="90109"/>
                </a:cubicBezTo>
                <a:cubicBezTo>
                  <a:pt x="378717" y="87621"/>
                  <a:pt x="378183" y="85400"/>
                  <a:pt x="377115" y="83356"/>
                </a:cubicBezTo>
                <a:cubicBezTo>
                  <a:pt x="376136" y="81312"/>
                  <a:pt x="374712" y="79623"/>
                  <a:pt x="372932" y="78201"/>
                </a:cubicBezTo>
                <a:cubicBezTo>
                  <a:pt x="371240" y="76779"/>
                  <a:pt x="369282" y="75713"/>
                  <a:pt x="367057" y="75002"/>
                </a:cubicBezTo>
                <a:cubicBezTo>
                  <a:pt x="364921" y="74291"/>
                  <a:pt x="362695" y="73935"/>
                  <a:pt x="360381" y="73935"/>
                </a:cubicBezTo>
                <a:close/>
                <a:moveTo>
                  <a:pt x="177285" y="0"/>
                </a:moveTo>
                <a:lnTo>
                  <a:pt x="379785" y="0"/>
                </a:lnTo>
                <a:cubicBezTo>
                  <a:pt x="435684" y="0"/>
                  <a:pt x="481080" y="45321"/>
                  <a:pt x="481080" y="101129"/>
                </a:cubicBezTo>
                <a:cubicBezTo>
                  <a:pt x="481080" y="156847"/>
                  <a:pt x="435684" y="202257"/>
                  <a:pt x="379785" y="202257"/>
                </a:cubicBezTo>
                <a:lnTo>
                  <a:pt x="303859" y="202257"/>
                </a:lnTo>
                <a:lnTo>
                  <a:pt x="303859" y="227495"/>
                </a:lnTo>
                <a:lnTo>
                  <a:pt x="481080" y="227495"/>
                </a:lnTo>
                <a:cubicBezTo>
                  <a:pt x="495055" y="227495"/>
                  <a:pt x="506448" y="238781"/>
                  <a:pt x="506448" y="252732"/>
                </a:cubicBezTo>
                <a:lnTo>
                  <a:pt x="506448" y="303297"/>
                </a:lnTo>
                <a:cubicBezTo>
                  <a:pt x="506448" y="317249"/>
                  <a:pt x="495055" y="328623"/>
                  <a:pt x="481080" y="328623"/>
                </a:cubicBezTo>
                <a:cubicBezTo>
                  <a:pt x="467105" y="328623"/>
                  <a:pt x="455801" y="317249"/>
                  <a:pt x="455801" y="303297"/>
                </a:cubicBezTo>
                <a:lnTo>
                  <a:pt x="455801" y="278059"/>
                </a:lnTo>
                <a:lnTo>
                  <a:pt x="303859" y="278059"/>
                </a:lnTo>
                <a:lnTo>
                  <a:pt x="303859" y="303297"/>
                </a:lnTo>
                <a:cubicBezTo>
                  <a:pt x="303859" y="317249"/>
                  <a:pt x="292555" y="328623"/>
                  <a:pt x="278580" y="328623"/>
                </a:cubicBezTo>
                <a:cubicBezTo>
                  <a:pt x="264516" y="328623"/>
                  <a:pt x="253212" y="317249"/>
                  <a:pt x="253212" y="303297"/>
                </a:cubicBezTo>
                <a:lnTo>
                  <a:pt x="253212" y="278059"/>
                </a:lnTo>
                <a:lnTo>
                  <a:pt x="102160" y="278059"/>
                </a:lnTo>
                <a:lnTo>
                  <a:pt x="102160" y="303297"/>
                </a:lnTo>
                <a:cubicBezTo>
                  <a:pt x="102160" y="317249"/>
                  <a:pt x="90856" y="328623"/>
                  <a:pt x="76881" y="328623"/>
                </a:cubicBezTo>
                <a:cubicBezTo>
                  <a:pt x="62817" y="328623"/>
                  <a:pt x="51513" y="317249"/>
                  <a:pt x="51513" y="303297"/>
                </a:cubicBezTo>
                <a:lnTo>
                  <a:pt x="51513" y="252732"/>
                </a:lnTo>
                <a:cubicBezTo>
                  <a:pt x="51513" y="238781"/>
                  <a:pt x="62817" y="227495"/>
                  <a:pt x="76881" y="227495"/>
                </a:cubicBezTo>
                <a:lnTo>
                  <a:pt x="253212" y="227495"/>
                </a:lnTo>
                <a:lnTo>
                  <a:pt x="253212" y="202257"/>
                </a:lnTo>
                <a:lnTo>
                  <a:pt x="177285" y="202257"/>
                </a:lnTo>
                <a:cubicBezTo>
                  <a:pt x="121387" y="202257"/>
                  <a:pt x="75991" y="156847"/>
                  <a:pt x="75991" y="101129"/>
                </a:cubicBezTo>
                <a:cubicBezTo>
                  <a:pt x="75991" y="45321"/>
                  <a:pt x="121387" y="0"/>
                  <a:pt x="177285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cxnSp>
        <p:nvCxnSpPr>
          <p:cNvPr id="75" name="直接连接符 74">
            <a:extLst>
              <a:ext uri="{FF2B5EF4-FFF2-40B4-BE49-F238E27FC236}">
                <a16:creationId xmlns:a16="http://schemas.microsoft.com/office/drawing/2014/main" id="{94B7AEEC-B410-4978-B207-70390787AD4E}"/>
              </a:ext>
            </a:extLst>
          </p:cNvPr>
          <p:cNvCxnSpPr>
            <a:cxnSpLocks/>
            <a:stCxn id="76" idx="4"/>
            <a:endCxn id="78" idx="0"/>
          </p:cNvCxnSpPr>
          <p:nvPr/>
        </p:nvCxnSpPr>
        <p:spPr>
          <a:xfrm flipH="1">
            <a:off x="10067643" y="3806545"/>
            <a:ext cx="763" cy="1328831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椭圆 75">
            <a:extLst>
              <a:ext uri="{FF2B5EF4-FFF2-40B4-BE49-F238E27FC236}">
                <a16:creationId xmlns:a16="http://schemas.microsoft.com/office/drawing/2014/main" id="{575AB383-B639-4747-9F10-17F238ED99A7}"/>
              </a:ext>
            </a:extLst>
          </p:cNvPr>
          <p:cNvSpPr/>
          <p:nvPr/>
        </p:nvSpPr>
        <p:spPr>
          <a:xfrm>
            <a:off x="9655056" y="2979845"/>
            <a:ext cx="826700" cy="826700"/>
          </a:xfrm>
          <a:prstGeom prst="ellipse">
            <a:avLst/>
          </a:prstGeom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/>
          </a:p>
        </p:txBody>
      </p:sp>
      <p:grpSp>
        <p:nvGrpSpPr>
          <p:cNvPr id="77" name="组合 76">
            <a:extLst>
              <a:ext uri="{FF2B5EF4-FFF2-40B4-BE49-F238E27FC236}">
                <a16:creationId xmlns:a16="http://schemas.microsoft.com/office/drawing/2014/main" id="{8945BF26-32F5-4879-B84D-DA8C5C3B44CF}"/>
              </a:ext>
            </a:extLst>
          </p:cNvPr>
          <p:cNvGrpSpPr/>
          <p:nvPr/>
        </p:nvGrpSpPr>
        <p:grpSpPr>
          <a:xfrm>
            <a:off x="8617914" y="4041531"/>
            <a:ext cx="2900986" cy="955860"/>
            <a:chOff x="4832962" y="4020861"/>
            <a:chExt cx="2140047" cy="955860"/>
          </a:xfrm>
          <a:solidFill>
            <a:schemeClr val="bg1"/>
          </a:solidFill>
        </p:grpSpPr>
        <p:sp>
          <p:nvSpPr>
            <p:cNvPr id="80" name="文本框 79">
              <a:extLst>
                <a:ext uri="{FF2B5EF4-FFF2-40B4-BE49-F238E27FC236}">
                  <a16:creationId xmlns:a16="http://schemas.microsoft.com/office/drawing/2014/main" id="{180A4F82-1ED2-47A2-91A0-6039080A19BA}"/>
                </a:ext>
              </a:extLst>
            </p:cNvPr>
            <p:cNvSpPr txBox="1"/>
            <p:nvPr/>
          </p:nvSpPr>
          <p:spPr bwMode="auto">
            <a:xfrm>
              <a:off x="4832962" y="4020861"/>
              <a:ext cx="2138519" cy="3984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zh-CN" sz="1800" b="1" dirty="0"/>
                <a:t>Text here</a:t>
              </a:r>
              <a:endParaRPr lang="zh-CN" altLang="en-US" sz="1800" b="1" dirty="0"/>
            </a:p>
          </p:txBody>
        </p:sp>
        <p:sp>
          <p:nvSpPr>
            <p:cNvPr id="81" name="矩形 80">
              <a:extLst>
                <a:ext uri="{FF2B5EF4-FFF2-40B4-BE49-F238E27FC236}">
                  <a16:creationId xmlns:a16="http://schemas.microsoft.com/office/drawing/2014/main" id="{C3DD1E46-7511-4C12-92DC-F0AEB356C1AC}"/>
                </a:ext>
              </a:extLst>
            </p:cNvPr>
            <p:cNvSpPr/>
            <p:nvPr/>
          </p:nvSpPr>
          <p:spPr bwMode="auto">
            <a:xfrm>
              <a:off x="4834490" y="4419322"/>
              <a:ext cx="2138519" cy="55739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  <a:spcBef>
                  <a:spcPct val="0"/>
                </a:spcBef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</p:grpSp>
      <p:sp>
        <p:nvSpPr>
          <p:cNvPr id="78" name="矩形 77">
            <a:extLst>
              <a:ext uri="{FF2B5EF4-FFF2-40B4-BE49-F238E27FC236}">
                <a16:creationId xmlns:a16="http://schemas.microsoft.com/office/drawing/2014/main" id="{D0CB4B0E-49EE-4C0F-8390-6D38EF24C402}"/>
              </a:ext>
            </a:extLst>
          </p:cNvPr>
          <p:cNvSpPr/>
          <p:nvPr/>
        </p:nvSpPr>
        <p:spPr bwMode="auto">
          <a:xfrm>
            <a:off x="8618186" y="5135376"/>
            <a:ext cx="2898914" cy="5573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/>
              <a:t>……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/>
              <a:t>…</a:t>
            </a:r>
          </a:p>
        </p:txBody>
      </p:sp>
      <p:sp>
        <p:nvSpPr>
          <p:cNvPr id="79" name="任意多边形: 形状 78">
            <a:extLst>
              <a:ext uri="{FF2B5EF4-FFF2-40B4-BE49-F238E27FC236}">
                <a16:creationId xmlns:a16="http://schemas.microsoft.com/office/drawing/2014/main" id="{8D434819-4E32-45C7-8DC1-099D76E942A2}"/>
              </a:ext>
            </a:extLst>
          </p:cNvPr>
          <p:cNvSpPr/>
          <p:nvPr/>
        </p:nvSpPr>
        <p:spPr bwMode="auto">
          <a:xfrm>
            <a:off x="9865107" y="3168628"/>
            <a:ext cx="406594" cy="449134"/>
          </a:xfrm>
          <a:custGeom>
            <a:avLst/>
            <a:gdLst>
              <a:gd name="connsiteX0" fmla="*/ 485820 w 551045"/>
              <a:gd name="connsiteY0" fmla="*/ 430096 h 608697"/>
              <a:gd name="connsiteX1" fmla="*/ 550987 w 551045"/>
              <a:gd name="connsiteY1" fmla="*/ 492317 h 608697"/>
              <a:gd name="connsiteX2" fmla="*/ 551045 w 551045"/>
              <a:gd name="connsiteY2" fmla="*/ 492490 h 608697"/>
              <a:gd name="connsiteX3" fmla="*/ 550987 w 551045"/>
              <a:gd name="connsiteY3" fmla="*/ 493813 h 608697"/>
              <a:gd name="connsiteX4" fmla="*/ 551045 w 551045"/>
              <a:gd name="connsiteY4" fmla="*/ 495193 h 608697"/>
              <a:gd name="connsiteX5" fmla="*/ 485820 w 551045"/>
              <a:gd name="connsiteY5" fmla="*/ 560289 h 608697"/>
              <a:gd name="connsiteX6" fmla="*/ 421862 w 551045"/>
              <a:gd name="connsiteY6" fmla="*/ 507902 h 608697"/>
              <a:gd name="connsiteX7" fmla="*/ 420134 w 551045"/>
              <a:gd name="connsiteY7" fmla="*/ 494560 h 608697"/>
              <a:gd name="connsiteX8" fmla="*/ 422611 w 551045"/>
              <a:gd name="connsiteY8" fmla="*/ 479034 h 608697"/>
              <a:gd name="connsiteX9" fmla="*/ 485820 w 551045"/>
              <a:gd name="connsiteY9" fmla="*/ 430096 h 608697"/>
              <a:gd name="connsiteX10" fmla="*/ 485137 w 551045"/>
              <a:gd name="connsiteY10" fmla="*/ 236253 h 608697"/>
              <a:gd name="connsiteX11" fmla="*/ 551045 w 551045"/>
              <a:gd name="connsiteY11" fmla="*/ 302055 h 608697"/>
              <a:gd name="connsiteX12" fmla="*/ 485137 w 551045"/>
              <a:gd name="connsiteY12" fmla="*/ 367857 h 608697"/>
              <a:gd name="connsiteX13" fmla="*/ 419229 w 551045"/>
              <a:gd name="connsiteY13" fmla="*/ 302055 h 608697"/>
              <a:gd name="connsiteX14" fmla="*/ 485137 w 551045"/>
              <a:gd name="connsiteY14" fmla="*/ 236253 h 608697"/>
              <a:gd name="connsiteX15" fmla="*/ 45513 w 551045"/>
              <a:gd name="connsiteY15" fmla="*/ 160819 h 608697"/>
              <a:gd name="connsiteX16" fmla="*/ 62048 w 551045"/>
              <a:gd name="connsiteY16" fmla="*/ 160819 h 608697"/>
              <a:gd name="connsiteX17" fmla="*/ 78583 w 551045"/>
              <a:gd name="connsiteY17" fmla="*/ 243365 h 608697"/>
              <a:gd name="connsiteX18" fmla="*/ 98228 w 551045"/>
              <a:gd name="connsiteY18" fmla="*/ 243365 h 608697"/>
              <a:gd name="connsiteX19" fmla="*/ 103356 w 551045"/>
              <a:gd name="connsiteY19" fmla="*/ 187625 h 608697"/>
              <a:gd name="connsiteX20" fmla="*/ 102722 w 551045"/>
              <a:gd name="connsiteY20" fmla="*/ 184634 h 608697"/>
              <a:gd name="connsiteX21" fmla="*/ 94368 w 551045"/>
              <a:gd name="connsiteY21" fmla="*/ 163293 h 608697"/>
              <a:gd name="connsiteX22" fmla="*/ 93331 w 551045"/>
              <a:gd name="connsiteY22" fmla="*/ 161107 h 608697"/>
              <a:gd name="connsiteX23" fmla="*/ 93389 w 551045"/>
              <a:gd name="connsiteY23" fmla="*/ 161107 h 608697"/>
              <a:gd name="connsiteX24" fmla="*/ 93274 w 551045"/>
              <a:gd name="connsiteY24" fmla="*/ 160819 h 608697"/>
              <a:gd name="connsiteX25" fmla="*/ 137347 w 551045"/>
              <a:gd name="connsiteY25" fmla="*/ 160819 h 608697"/>
              <a:gd name="connsiteX26" fmla="*/ 137232 w 551045"/>
              <a:gd name="connsiteY26" fmla="*/ 161107 h 608697"/>
              <a:gd name="connsiteX27" fmla="*/ 137404 w 551045"/>
              <a:gd name="connsiteY27" fmla="*/ 161107 h 608697"/>
              <a:gd name="connsiteX28" fmla="*/ 136367 w 551045"/>
              <a:gd name="connsiteY28" fmla="*/ 163293 h 608697"/>
              <a:gd name="connsiteX29" fmla="*/ 127322 w 551045"/>
              <a:gd name="connsiteY29" fmla="*/ 187913 h 608697"/>
              <a:gd name="connsiteX30" fmla="*/ 132450 w 551045"/>
              <a:gd name="connsiteY30" fmla="*/ 243365 h 608697"/>
              <a:gd name="connsiteX31" fmla="*/ 152038 w 551045"/>
              <a:gd name="connsiteY31" fmla="*/ 243365 h 608697"/>
              <a:gd name="connsiteX32" fmla="*/ 168630 w 551045"/>
              <a:gd name="connsiteY32" fmla="*/ 160819 h 608697"/>
              <a:gd name="connsiteX33" fmla="*/ 185165 w 551045"/>
              <a:gd name="connsiteY33" fmla="*/ 160819 h 608697"/>
              <a:gd name="connsiteX34" fmla="*/ 230678 w 551045"/>
              <a:gd name="connsiteY34" fmla="*/ 206263 h 608697"/>
              <a:gd name="connsiteX35" fmla="*/ 230678 w 551045"/>
              <a:gd name="connsiteY35" fmla="*/ 338682 h 608697"/>
              <a:gd name="connsiteX36" fmla="*/ 185165 w 551045"/>
              <a:gd name="connsiteY36" fmla="*/ 384125 h 608697"/>
              <a:gd name="connsiteX37" fmla="*/ 179346 w 551045"/>
              <a:gd name="connsiteY37" fmla="*/ 384125 h 608697"/>
              <a:gd name="connsiteX38" fmla="*/ 179346 w 551045"/>
              <a:gd name="connsiteY38" fmla="*/ 576599 h 608697"/>
              <a:gd name="connsiteX39" fmla="*/ 147256 w 551045"/>
              <a:gd name="connsiteY39" fmla="*/ 608697 h 608697"/>
              <a:gd name="connsiteX40" fmla="*/ 115339 w 551045"/>
              <a:gd name="connsiteY40" fmla="*/ 580223 h 608697"/>
              <a:gd name="connsiteX41" fmla="*/ 83422 w 551045"/>
              <a:gd name="connsiteY41" fmla="*/ 608697 h 608697"/>
              <a:gd name="connsiteX42" fmla="*/ 51332 w 551045"/>
              <a:gd name="connsiteY42" fmla="*/ 576599 h 608697"/>
              <a:gd name="connsiteX43" fmla="*/ 51332 w 551045"/>
              <a:gd name="connsiteY43" fmla="*/ 384125 h 608697"/>
              <a:gd name="connsiteX44" fmla="*/ 45513 w 551045"/>
              <a:gd name="connsiteY44" fmla="*/ 384125 h 608697"/>
              <a:gd name="connsiteX45" fmla="*/ 0 w 551045"/>
              <a:gd name="connsiteY45" fmla="*/ 338682 h 608697"/>
              <a:gd name="connsiteX46" fmla="*/ 0 w 551045"/>
              <a:gd name="connsiteY46" fmla="*/ 206263 h 608697"/>
              <a:gd name="connsiteX47" fmla="*/ 45513 w 551045"/>
              <a:gd name="connsiteY47" fmla="*/ 160819 h 608697"/>
              <a:gd name="connsiteX48" fmla="*/ 400710 w 551045"/>
              <a:gd name="connsiteY48" fmla="*/ 89618 h 608697"/>
              <a:gd name="connsiteX49" fmla="*/ 400710 w 551045"/>
              <a:gd name="connsiteY49" fmla="*/ 134086 h 608697"/>
              <a:gd name="connsiteX50" fmla="*/ 355362 w 551045"/>
              <a:gd name="connsiteY50" fmla="*/ 179359 h 608697"/>
              <a:gd name="connsiteX51" fmla="*/ 355362 w 551045"/>
              <a:gd name="connsiteY51" fmla="*/ 279857 h 608697"/>
              <a:gd name="connsiteX52" fmla="*/ 401517 w 551045"/>
              <a:gd name="connsiteY52" fmla="*/ 279857 h 608697"/>
              <a:gd name="connsiteX53" fmla="*/ 401517 w 551045"/>
              <a:gd name="connsiteY53" fmla="*/ 324325 h 608697"/>
              <a:gd name="connsiteX54" fmla="*/ 355362 w 551045"/>
              <a:gd name="connsiteY54" fmla="*/ 324325 h 608697"/>
              <a:gd name="connsiteX55" fmla="*/ 355362 w 551045"/>
              <a:gd name="connsiteY55" fmla="*/ 424823 h 608697"/>
              <a:gd name="connsiteX56" fmla="*/ 400710 w 551045"/>
              <a:gd name="connsiteY56" fmla="*/ 470038 h 608697"/>
              <a:gd name="connsiteX57" fmla="*/ 400710 w 551045"/>
              <a:gd name="connsiteY57" fmla="*/ 514563 h 608697"/>
              <a:gd name="connsiteX58" fmla="*/ 310820 w 551045"/>
              <a:gd name="connsiteY58" fmla="*/ 424823 h 608697"/>
              <a:gd name="connsiteX59" fmla="*/ 310820 w 551045"/>
              <a:gd name="connsiteY59" fmla="*/ 324325 h 608697"/>
              <a:gd name="connsiteX60" fmla="*/ 270830 w 551045"/>
              <a:gd name="connsiteY60" fmla="*/ 324325 h 608697"/>
              <a:gd name="connsiteX61" fmla="*/ 270830 w 551045"/>
              <a:gd name="connsiteY61" fmla="*/ 279857 h 608697"/>
              <a:gd name="connsiteX62" fmla="*/ 310820 w 551045"/>
              <a:gd name="connsiteY62" fmla="*/ 279857 h 608697"/>
              <a:gd name="connsiteX63" fmla="*/ 310820 w 551045"/>
              <a:gd name="connsiteY63" fmla="*/ 179359 h 608697"/>
              <a:gd name="connsiteX64" fmla="*/ 400710 w 551045"/>
              <a:gd name="connsiteY64" fmla="*/ 89618 h 608697"/>
              <a:gd name="connsiteX65" fmla="*/ 487441 w 551045"/>
              <a:gd name="connsiteY65" fmla="*/ 44033 h 608697"/>
              <a:gd name="connsiteX66" fmla="*/ 487729 w 551045"/>
              <a:gd name="connsiteY66" fmla="*/ 44148 h 608697"/>
              <a:gd name="connsiteX67" fmla="*/ 550282 w 551045"/>
              <a:gd name="connsiteY67" fmla="*/ 107206 h 608697"/>
              <a:gd name="connsiteX68" fmla="*/ 550340 w 551045"/>
              <a:gd name="connsiteY68" fmla="*/ 107897 h 608697"/>
              <a:gd name="connsiteX69" fmla="*/ 550340 w 551045"/>
              <a:gd name="connsiteY69" fmla="*/ 108760 h 608697"/>
              <a:gd name="connsiteX70" fmla="*/ 550340 w 551045"/>
              <a:gd name="connsiteY70" fmla="*/ 109220 h 608697"/>
              <a:gd name="connsiteX71" fmla="*/ 550340 w 551045"/>
              <a:gd name="connsiteY71" fmla="*/ 109680 h 608697"/>
              <a:gd name="connsiteX72" fmla="*/ 550282 w 551045"/>
              <a:gd name="connsiteY72" fmla="*/ 111867 h 608697"/>
              <a:gd name="connsiteX73" fmla="*/ 550167 w 551045"/>
              <a:gd name="connsiteY73" fmla="*/ 113420 h 608697"/>
              <a:gd name="connsiteX74" fmla="*/ 550167 w 551045"/>
              <a:gd name="connsiteY74" fmla="*/ 113938 h 608697"/>
              <a:gd name="connsiteX75" fmla="*/ 485137 w 551045"/>
              <a:gd name="connsiteY75" fmla="*/ 174349 h 608697"/>
              <a:gd name="connsiteX76" fmla="*/ 484158 w 551045"/>
              <a:gd name="connsiteY76" fmla="*/ 174292 h 608697"/>
              <a:gd name="connsiteX77" fmla="*/ 467685 w 551045"/>
              <a:gd name="connsiteY77" fmla="*/ 171933 h 608697"/>
              <a:gd name="connsiteX78" fmla="*/ 419993 w 551045"/>
              <a:gd name="connsiteY78" fmla="*/ 110428 h 608697"/>
              <a:gd name="connsiteX79" fmla="*/ 419935 w 551045"/>
              <a:gd name="connsiteY79" fmla="*/ 110083 h 608697"/>
              <a:gd name="connsiteX80" fmla="*/ 419993 w 551045"/>
              <a:gd name="connsiteY80" fmla="*/ 109680 h 608697"/>
              <a:gd name="connsiteX81" fmla="*/ 419935 w 551045"/>
              <a:gd name="connsiteY81" fmla="*/ 109220 h 608697"/>
              <a:gd name="connsiteX82" fmla="*/ 419993 w 551045"/>
              <a:gd name="connsiteY82" fmla="*/ 108530 h 608697"/>
              <a:gd name="connsiteX83" fmla="*/ 419993 w 551045"/>
              <a:gd name="connsiteY83" fmla="*/ 106516 h 608697"/>
              <a:gd name="connsiteX84" fmla="*/ 485137 w 551045"/>
              <a:gd name="connsiteY84" fmla="*/ 44090 h 608697"/>
              <a:gd name="connsiteX85" fmla="*/ 486001 w 551045"/>
              <a:gd name="connsiteY85" fmla="*/ 44090 h 608697"/>
              <a:gd name="connsiteX86" fmla="*/ 487441 w 551045"/>
              <a:gd name="connsiteY86" fmla="*/ 44033 h 608697"/>
              <a:gd name="connsiteX87" fmla="*/ 114993 w 551045"/>
              <a:gd name="connsiteY87" fmla="*/ 748 h 608697"/>
              <a:gd name="connsiteX88" fmla="*/ 115281 w 551045"/>
              <a:gd name="connsiteY88" fmla="*/ 748 h 608697"/>
              <a:gd name="connsiteX89" fmla="*/ 115569 w 551045"/>
              <a:gd name="connsiteY89" fmla="*/ 748 h 608697"/>
              <a:gd name="connsiteX90" fmla="*/ 179403 w 551045"/>
              <a:gd name="connsiteY90" fmla="*/ 50176 h 608697"/>
              <a:gd name="connsiteX91" fmla="*/ 181534 w 551045"/>
              <a:gd name="connsiteY91" fmla="*/ 66863 h 608697"/>
              <a:gd name="connsiteX92" fmla="*/ 115685 w 551045"/>
              <a:gd name="connsiteY92" fmla="*/ 132634 h 608697"/>
              <a:gd name="connsiteX93" fmla="*/ 115397 w 551045"/>
              <a:gd name="connsiteY93" fmla="*/ 132634 h 608697"/>
              <a:gd name="connsiteX94" fmla="*/ 115109 w 551045"/>
              <a:gd name="connsiteY94" fmla="*/ 132634 h 608697"/>
              <a:gd name="connsiteX95" fmla="*/ 51275 w 551045"/>
              <a:gd name="connsiteY95" fmla="*/ 83262 h 608697"/>
              <a:gd name="connsiteX96" fmla="*/ 49144 w 551045"/>
              <a:gd name="connsiteY96" fmla="*/ 66575 h 608697"/>
              <a:gd name="connsiteX97" fmla="*/ 114993 w 551045"/>
              <a:gd name="connsiteY97" fmla="*/ 748 h 608697"/>
              <a:gd name="connsiteX98" fmla="*/ 114958 w 551045"/>
              <a:gd name="connsiteY98" fmla="*/ 423 h 608697"/>
              <a:gd name="connsiteX99" fmla="*/ 48690 w 551045"/>
              <a:gd name="connsiteY99" fmla="*/ 66575 h 608697"/>
              <a:gd name="connsiteX100" fmla="*/ 50822 w 551045"/>
              <a:gd name="connsiteY100" fmla="*/ 83372 h 608697"/>
              <a:gd name="connsiteX101" fmla="*/ 115073 w 551045"/>
              <a:gd name="connsiteY101" fmla="*/ 133015 h 608697"/>
              <a:gd name="connsiteX102" fmla="*/ 115361 w 551045"/>
              <a:gd name="connsiteY102" fmla="*/ 133015 h 608697"/>
              <a:gd name="connsiteX103" fmla="*/ 115649 w 551045"/>
              <a:gd name="connsiteY103" fmla="*/ 133015 h 608697"/>
              <a:gd name="connsiteX104" fmla="*/ 181917 w 551045"/>
              <a:gd name="connsiteY104" fmla="*/ 66863 h 608697"/>
              <a:gd name="connsiteX105" fmla="*/ 179785 w 551045"/>
              <a:gd name="connsiteY105" fmla="*/ 50066 h 608697"/>
              <a:gd name="connsiteX106" fmla="*/ 115534 w 551045"/>
              <a:gd name="connsiteY106" fmla="*/ 423 h 608697"/>
              <a:gd name="connsiteX107" fmla="*/ 115246 w 551045"/>
              <a:gd name="connsiteY107" fmla="*/ 423 h 608697"/>
              <a:gd name="connsiteX108" fmla="*/ 114958 w 551045"/>
              <a:gd name="connsiteY108" fmla="*/ 423 h 608697"/>
              <a:gd name="connsiteX109" fmla="*/ 114993 w 551045"/>
              <a:gd name="connsiteY109" fmla="*/ 0 h 608697"/>
              <a:gd name="connsiteX110" fmla="*/ 115281 w 551045"/>
              <a:gd name="connsiteY110" fmla="*/ 0 h 608697"/>
              <a:gd name="connsiteX111" fmla="*/ 115569 w 551045"/>
              <a:gd name="connsiteY111" fmla="*/ 0 h 608697"/>
              <a:gd name="connsiteX112" fmla="*/ 180152 w 551045"/>
              <a:gd name="connsiteY112" fmla="*/ 49946 h 608697"/>
              <a:gd name="connsiteX113" fmla="*/ 182341 w 551045"/>
              <a:gd name="connsiteY113" fmla="*/ 66863 h 608697"/>
              <a:gd name="connsiteX114" fmla="*/ 115685 w 551045"/>
              <a:gd name="connsiteY114" fmla="*/ 133439 h 608697"/>
              <a:gd name="connsiteX115" fmla="*/ 115397 w 551045"/>
              <a:gd name="connsiteY115" fmla="*/ 133439 h 608697"/>
              <a:gd name="connsiteX116" fmla="*/ 115109 w 551045"/>
              <a:gd name="connsiteY116" fmla="*/ 133439 h 608697"/>
              <a:gd name="connsiteX117" fmla="*/ 50526 w 551045"/>
              <a:gd name="connsiteY117" fmla="*/ 83493 h 608697"/>
              <a:gd name="connsiteX118" fmla="*/ 48337 w 551045"/>
              <a:gd name="connsiteY118" fmla="*/ 66575 h 608697"/>
              <a:gd name="connsiteX119" fmla="*/ 114993 w 551045"/>
              <a:gd name="connsiteY119" fmla="*/ 0 h 608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551045" h="608697">
                <a:moveTo>
                  <a:pt x="485820" y="430096"/>
                </a:moveTo>
                <a:cubicBezTo>
                  <a:pt x="520910" y="430096"/>
                  <a:pt x="549489" y="457699"/>
                  <a:pt x="550987" y="492317"/>
                </a:cubicBezTo>
                <a:cubicBezTo>
                  <a:pt x="550987" y="492375"/>
                  <a:pt x="551045" y="492432"/>
                  <a:pt x="551045" y="492490"/>
                </a:cubicBezTo>
                <a:cubicBezTo>
                  <a:pt x="551045" y="492950"/>
                  <a:pt x="551045" y="493353"/>
                  <a:pt x="550987" y="493813"/>
                </a:cubicBezTo>
                <a:cubicBezTo>
                  <a:pt x="551045" y="494273"/>
                  <a:pt x="551045" y="494733"/>
                  <a:pt x="551045" y="495193"/>
                </a:cubicBezTo>
                <a:cubicBezTo>
                  <a:pt x="551045" y="531134"/>
                  <a:pt x="521832" y="560289"/>
                  <a:pt x="485820" y="560289"/>
                </a:cubicBezTo>
                <a:cubicBezTo>
                  <a:pt x="454129" y="560289"/>
                  <a:pt x="427739" y="537747"/>
                  <a:pt x="421862" y="507902"/>
                </a:cubicBezTo>
                <a:cubicBezTo>
                  <a:pt x="420710" y="503474"/>
                  <a:pt x="420076" y="499046"/>
                  <a:pt x="420134" y="494560"/>
                </a:cubicBezTo>
                <a:cubicBezTo>
                  <a:pt x="420134" y="489385"/>
                  <a:pt x="421056" y="484152"/>
                  <a:pt x="422611" y="479034"/>
                </a:cubicBezTo>
                <a:cubicBezTo>
                  <a:pt x="429814" y="450913"/>
                  <a:pt x="455397" y="430096"/>
                  <a:pt x="485820" y="430096"/>
                </a:cubicBezTo>
                <a:close/>
                <a:moveTo>
                  <a:pt x="485137" y="236253"/>
                </a:moveTo>
                <a:cubicBezTo>
                  <a:pt x="521537" y="236253"/>
                  <a:pt x="551045" y="265714"/>
                  <a:pt x="551045" y="302055"/>
                </a:cubicBezTo>
                <a:cubicBezTo>
                  <a:pt x="551045" y="338396"/>
                  <a:pt x="521537" y="367857"/>
                  <a:pt x="485137" y="367857"/>
                </a:cubicBezTo>
                <a:cubicBezTo>
                  <a:pt x="448737" y="367857"/>
                  <a:pt x="419229" y="338396"/>
                  <a:pt x="419229" y="302055"/>
                </a:cubicBezTo>
                <a:cubicBezTo>
                  <a:pt x="419229" y="265714"/>
                  <a:pt x="448737" y="236253"/>
                  <a:pt x="485137" y="236253"/>
                </a:cubicBezTo>
                <a:close/>
                <a:moveTo>
                  <a:pt x="45513" y="160819"/>
                </a:moveTo>
                <a:lnTo>
                  <a:pt x="62048" y="160819"/>
                </a:lnTo>
                <a:lnTo>
                  <a:pt x="78583" y="243365"/>
                </a:lnTo>
                <a:lnTo>
                  <a:pt x="98228" y="243365"/>
                </a:lnTo>
                <a:lnTo>
                  <a:pt x="103356" y="187625"/>
                </a:lnTo>
                <a:cubicBezTo>
                  <a:pt x="103183" y="186647"/>
                  <a:pt x="102952" y="185612"/>
                  <a:pt x="102722" y="184634"/>
                </a:cubicBezTo>
                <a:cubicBezTo>
                  <a:pt x="100936" y="177386"/>
                  <a:pt x="97767" y="170483"/>
                  <a:pt x="94368" y="163293"/>
                </a:cubicBezTo>
                <a:cubicBezTo>
                  <a:pt x="94368" y="163293"/>
                  <a:pt x="93677" y="161855"/>
                  <a:pt x="93331" y="161107"/>
                </a:cubicBezTo>
                <a:lnTo>
                  <a:pt x="93389" y="161107"/>
                </a:lnTo>
                <a:cubicBezTo>
                  <a:pt x="93331" y="160992"/>
                  <a:pt x="93274" y="160877"/>
                  <a:pt x="93274" y="160819"/>
                </a:cubicBezTo>
                <a:lnTo>
                  <a:pt x="137347" y="160819"/>
                </a:lnTo>
                <a:cubicBezTo>
                  <a:pt x="137289" y="160877"/>
                  <a:pt x="137232" y="160992"/>
                  <a:pt x="137232" y="161107"/>
                </a:cubicBezTo>
                <a:lnTo>
                  <a:pt x="137404" y="161107"/>
                </a:lnTo>
                <a:cubicBezTo>
                  <a:pt x="137059" y="161855"/>
                  <a:pt x="136367" y="163293"/>
                  <a:pt x="136367" y="163293"/>
                </a:cubicBezTo>
                <a:cubicBezTo>
                  <a:pt x="132507" y="171576"/>
                  <a:pt x="128820" y="179514"/>
                  <a:pt x="127322" y="187913"/>
                </a:cubicBezTo>
                <a:lnTo>
                  <a:pt x="132450" y="243365"/>
                </a:lnTo>
                <a:lnTo>
                  <a:pt x="152038" y="243365"/>
                </a:lnTo>
                <a:lnTo>
                  <a:pt x="168630" y="160819"/>
                </a:lnTo>
                <a:lnTo>
                  <a:pt x="185165" y="160819"/>
                </a:lnTo>
                <a:cubicBezTo>
                  <a:pt x="210283" y="160819"/>
                  <a:pt x="230678" y="181125"/>
                  <a:pt x="230678" y="206263"/>
                </a:cubicBezTo>
                <a:lnTo>
                  <a:pt x="230678" y="338682"/>
                </a:lnTo>
                <a:cubicBezTo>
                  <a:pt x="230678" y="363820"/>
                  <a:pt x="210283" y="384125"/>
                  <a:pt x="185165" y="384125"/>
                </a:cubicBezTo>
                <a:lnTo>
                  <a:pt x="179346" y="384125"/>
                </a:lnTo>
                <a:lnTo>
                  <a:pt x="179346" y="576599"/>
                </a:lnTo>
                <a:cubicBezTo>
                  <a:pt x="179346" y="594316"/>
                  <a:pt x="165000" y="608697"/>
                  <a:pt x="147256" y="608697"/>
                </a:cubicBezTo>
                <a:cubicBezTo>
                  <a:pt x="130721" y="608697"/>
                  <a:pt x="117125" y="596215"/>
                  <a:pt x="115339" y="580223"/>
                </a:cubicBezTo>
                <a:cubicBezTo>
                  <a:pt x="113553" y="596215"/>
                  <a:pt x="99957" y="608697"/>
                  <a:pt x="83422" y="608697"/>
                </a:cubicBezTo>
                <a:cubicBezTo>
                  <a:pt x="65678" y="608697"/>
                  <a:pt x="51332" y="594316"/>
                  <a:pt x="51332" y="576599"/>
                </a:cubicBezTo>
                <a:lnTo>
                  <a:pt x="51332" y="384125"/>
                </a:lnTo>
                <a:lnTo>
                  <a:pt x="45513" y="384125"/>
                </a:lnTo>
                <a:cubicBezTo>
                  <a:pt x="20395" y="384125"/>
                  <a:pt x="0" y="363820"/>
                  <a:pt x="0" y="338682"/>
                </a:cubicBezTo>
                <a:lnTo>
                  <a:pt x="0" y="206263"/>
                </a:lnTo>
                <a:cubicBezTo>
                  <a:pt x="0" y="181125"/>
                  <a:pt x="20395" y="160819"/>
                  <a:pt x="45513" y="160819"/>
                </a:cubicBezTo>
                <a:close/>
                <a:moveTo>
                  <a:pt x="400710" y="89618"/>
                </a:moveTo>
                <a:lnTo>
                  <a:pt x="400710" y="134086"/>
                </a:lnTo>
                <a:cubicBezTo>
                  <a:pt x="375702" y="134086"/>
                  <a:pt x="355362" y="154393"/>
                  <a:pt x="355362" y="179359"/>
                </a:cubicBezTo>
                <a:lnTo>
                  <a:pt x="355362" y="279857"/>
                </a:lnTo>
                <a:lnTo>
                  <a:pt x="401517" y="279857"/>
                </a:lnTo>
                <a:lnTo>
                  <a:pt x="401517" y="324325"/>
                </a:lnTo>
                <a:lnTo>
                  <a:pt x="355362" y="324325"/>
                </a:lnTo>
                <a:lnTo>
                  <a:pt x="355362" y="424823"/>
                </a:lnTo>
                <a:cubicBezTo>
                  <a:pt x="355362" y="449731"/>
                  <a:pt x="375702" y="470038"/>
                  <a:pt x="400710" y="470038"/>
                </a:cubicBezTo>
                <a:lnTo>
                  <a:pt x="400710" y="514563"/>
                </a:lnTo>
                <a:cubicBezTo>
                  <a:pt x="351155" y="514563"/>
                  <a:pt x="310820" y="474295"/>
                  <a:pt x="310820" y="424823"/>
                </a:cubicBezTo>
                <a:lnTo>
                  <a:pt x="310820" y="324325"/>
                </a:lnTo>
                <a:lnTo>
                  <a:pt x="270830" y="324325"/>
                </a:lnTo>
                <a:lnTo>
                  <a:pt x="270830" y="279857"/>
                </a:lnTo>
                <a:lnTo>
                  <a:pt x="310820" y="279857"/>
                </a:lnTo>
                <a:lnTo>
                  <a:pt x="310820" y="179359"/>
                </a:lnTo>
                <a:cubicBezTo>
                  <a:pt x="310820" y="129886"/>
                  <a:pt x="351155" y="89618"/>
                  <a:pt x="400710" y="89618"/>
                </a:cubicBezTo>
                <a:close/>
                <a:moveTo>
                  <a:pt x="487441" y="44033"/>
                </a:moveTo>
                <a:cubicBezTo>
                  <a:pt x="487557" y="44090"/>
                  <a:pt x="487614" y="44090"/>
                  <a:pt x="487729" y="44148"/>
                </a:cubicBezTo>
                <a:cubicBezTo>
                  <a:pt x="521828" y="45471"/>
                  <a:pt x="549246" y="73030"/>
                  <a:pt x="550282" y="107206"/>
                </a:cubicBezTo>
                <a:cubicBezTo>
                  <a:pt x="550282" y="107436"/>
                  <a:pt x="550282" y="107667"/>
                  <a:pt x="550340" y="107897"/>
                </a:cubicBezTo>
                <a:cubicBezTo>
                  <a:pt x="550340" y="108184"/>
                  <a:pt x="550340" y="108472"/>
                  <a:pt x="550340" y="108760"/>
                </a:cubicBezTo>
                <a:cubicBezTo>
                  <a:pt x="550340" y="108875"/>
                  <a:pt x="550340" y="109047"/>
                  <a:pt x="550340" y="109220"/>
                </a:cubicBezTo>
                <a:cubicBezTo>
                  <a:pt x="550340" y="109393"/>
                  <a:pt x="550340" y="109508"/>
                  <a:pt x="550340" y="109680"/>
                </a:cubicBezTo>
                <a:cubicBezTo>
                  <a:pt x="550340" y="110371"/>
                  <a:pt x="550282" y="111119"/>
                  <a:pt x="550282" y="111867"/>
                </a:cubicBezTo>
                <a:cubicBezTo>
                  <a:pt x="550225" y="112384"/>
                  <a:pt x="550225" y="112902"/>
                  <a:pt x="550167" y="113420"/>
                </a:cubicBezTo>
                <a:cubicBezTo>
                  <a:pt x="550167" y="113593"/>
                  <a:pt x="550167" y="113765"/>
                  <a:pt x="550167" y="113938"/>
                </a:cubicBezTo>
                <a:cubicBezTo>
                  <a:pt x="547748" y="147653"/>
                  <a:pt x="519582" y="174349"/>
                  <a:pt x="485137" y="174349"/>
                </a:cubicBezTo>
                <a:cubicBezTo>
                  <a:pt x="484792" y="174349"/>
                  <a:pt x="484446" y="174292"/>
                  <a:pt x="484158" y="174292"/>
                </a:cubicBezTo>
                <a:cubicBezTo>
                  <a:pt x="478629" y="174579"/>
                  <a:pt x="473099" y="173716"/>
                  <a:pt x="467685" y="171933"/>
                </a:cubicBezTo>
                <a:cubicBezTo>
                  <a:pt x="440556" y="164396"/>
                  <a:pt x="420511" y="139828"/>
                  <a:pt x="419993" y="110428"/>
                </a:cubicBezTo>
                <a:cubicBezTo>
                  <a:pt x="419993" y="110313"/>
                  <a:pt x="419935" y="110198"/>
                  <a:pt x="419935" y="110083"/>
                </a:cubicBezTo>
                <a:cubicBezTo>
                  <a:pt x="419935" y="109910"/>
                  <a:pt x="419935" y="109795"/>
                  <a:pt x="419993" y="109680"/>
                </a:cubicBezTo>
                <a:cubicBezTo>
                  <a:pt x="419993" y="109508"/>
                  <a:pt x="419935" y="109335"/>
                  <a:pt x="419935" y="109220"/>
                </a:cubicBezTo>
                <a:cubicBezTo>
                  <a:pt x="419935" y="108990"/>
                  <a:pt x="419935" y="108760"/>
                  <a:pt x="419993" y="108530"/>
                </a:cubicBezTo>
                <a:cubicBezTo>
                  <a:pt x="419993" y="107839"/>
                  <a:pt x="419993" y="107206"/>
                  <a:pt x="419993" y="106516"/>
                </a:cubicBezTo>
                <a:cubicBezTo>
                  <a:pt x="421433" y="71822"/>
                  <a:pt x="450059" y="44090"/>
                  <a:pt x="485137" y="44090"/>
                </a:cubicBezTo>
                <a:cubicBezTo>
                  <a:pt x="485425" y="44090"/>
                  <a:pt x="485713" y="44090"/>
                  <a:pt x="486001" y="44090"/>
                </a:cubicBezTo>
                <a:cubicBezTo>
                  <a:pt x="486462" y="44090"/>
                  <a:pt x="486981" y="44033"/>
                  <a:pt x="487441" y="44033"/>
                </a:cubicBezTo>
                <a:close/>
                <a:moveTo>
                  <a:pt x="114993" y="748"/>
                </a:moveTo>
                <a:lnTo>
                  <a:pt x="115281" y="748"/>
                </a:lnTo>
                <a:lnTo>
                  <a:pt x="115569" y="748"/>
                </a:lnTo>
                <a:cubicBezTo>
                  <a:pt x="145700" y="748"/>
                  <a:pt x="171913" y="21060"/>
                  <a:pt x="179403" y="50176"/>
                </a:cubicBezTo>
                <a:cubicBezTo>
                  <a:pt x="180843" y="55585"/>
                  <a:pt x="181534" y="61224"/>
                  <a:pt x="181534" y="66863"/>
                </a:cubicBezTo>
                <a:cubicBezTo>
                  <a:pt x="181534" y="103115"/>
                  <a:pt x="151980" y="132634"/>
                  <a:pt x="115685" y="132634"/>
                </a:cubicBezTo>
                <a:lnTo>
                  <a:pt x="115397" y="132634"/>
                </a:lnTo>
                <a:lnTo>
                  <a:pt x="115109" y="132634"/>
                </a:lnTo>
                <a:cubicBezTo>
                  <a:pt x="84978" y="132634"/>
                  <a:pt x="58765" y="112321"/>
                  <a:pt x="51275" y="83262"/>
                </a:cubicBezTo>
                <a:cubicBezTo>
                  <a:pt x="49835" y="77854"/>
                  <a:pt x="49144" y="72214"/>
                  <a:pt x="49144" y="66575"/>
                </a:cubicBezTo>
                <a:cubicBezTo>
                  <a:pt x="49144" y="30267"/>
                  <a:pt x="78698" y="748"/>
                  <a:pt x="114993" y="748"/>
                </a:cubicBezTo>
                <a:close/>
                <a:moveTo>
                  <a:pt x="114958" y="423"/>
                </a:moveTo>
                <a:cubicBezTo>
                  <a:pt x="78366" y="423"/>
                  <a:pt x="48690" y="30047"/>
                  <a:pt x="48690" y="66575"/>
                </a:cubicBezTo>
                <a:cubicBezTo>
                  <a:pt x="48690" y="72385"/>
                  <a:pt x="49439" y="78022"/>
                  <a:pt x="50822" y="83372"/>
                </a:cubicBezTo>
                <a:cubicBezTo>
                  <a:pt x="58198" y="111904"/>
                  <a:pt x="84129" y="133015"/>
                  <a:pt x="115073" y="133015"/>
                </a:cubicBezTo>
                <a:cubicBezTo>
                  <a:pt x="115131" y="133015"/>
                  <a:pt x="115246" y="133015"/>
                  <a:pt x="115361" y="133015"/>
                </a:cubicBezTo>
                <a:cubicBezTo>
                  <a:pt x="115419" y="133015"/>
                  <a:pt x="115534" y="133015"/>
                  <a:pt x="115649" y="133015"/>
                </a:cubicBezTo>
                <a:cubicBezTo>
                  <a:pt x="152241" y="133015"/>
                  <a:pt x="181917" y="103391"/>
                  <a:pt x="181917" y="66863"/>
                </a:cubicBezTo>
                <a:cubicBezTo>
                  <a:pt x="181917" y="61053"/>
                  <a:pt x="181168" y="55415"/>
                  <a:pt x="179785" y="50066"/>
                </a:cubicBezTo>
                <a:cubicBezTo>
                  <a:pt x="172409" y="21534"/>
                  <a:pt x="146478" y="423"/>
                  <a:pt x="115534" y="423"/>
                </a:cubicBezTo>
                <a:cubicBezTo>
                  <a:pt x="115476" y="423"/>
                  <a:pt x="115361" y="423"/>
                  <a:pt x="115246" y="423"/>
                </a:cubicBezTo>
                <a:cubicBezTo>
                  <a:pt x="115188" y="423"/>
                  <a:pt x="115073" y="423"/>
                  <a:pt x="114958" y="423"/>
                </a:cubicBezTo>
                <a:close/>
                <a:moveTo>
                  <a:pt x="114993" y="0"/>
                </a:moveTo>
                <a:lnTo>
                  <a:pt x="115281" y="0"/>
                </a:lnTo>
                <a:lnTo>
                  <a:pt x="115569" y="0"/>
                </a:lnTo>
                <a:cubicBezTo>
                  <a:pt x="146046" y="0"/>
                  <a:pt x="172605" y="20542"/>
                  <a:pt x="180152" y="49946"/>
                </a:cubicBezTo>
                <a:cubicBezTo>
                  <a:pt x="181592" y="55470"/>
                  <a:pt x="182341" y="61109"/>
                  <a:pt x="182341" y="66863"/>
                </a:cubicBezTo>
                <a:cubicBezTo>
                  <a:pt x="182341" y="103575"/>
                  <a:pt x="152441" y="133439"/>
                  <a:pt x="115685" y="133439"/>
                </a:cubicBezTo>
                <a:lnTo>
                  <a:pt x="115397" y="133439"/>
                </a:lnTo>
                <a:lnTo>
                  <a:pt x="115109" y="133439"/>
                </a:lnTo>
                <a:cubicBezTo>
                  <a:pt x="84632" y="133439"/>
                  <a:pt x="58073" y="112897"/>
                  <a:pt x="50526" y="83493"/>
                </a:cubicBezTo>
                <a:cubicBezTo>
                  <a:pt x="49086" y="77969"/>
                  <a:pt x="48337" y="72272"/>
                  <a:pt x="48337" y="66575"/>
                </a:cubicBezTo>
                <a:cubicBezTo>
                  <a:pt x="48337" y="29864"/>
                  <a:pt x="78237" y="0"/>
                  <a:pt x="11499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181353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DD53DDC-ACD3-4FD9-8CD5-4AE2DFBA6C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936A178-135B-4592-9AF7-E5E3EB927A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0B4E4F6-F3BD-4EFC-812F-54944F75D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endParaRPr lang="zh-CN" altLang="en-US" dirty="0"/>
          </a:p>
        </p:txBody>
      </p:sp>
      <p:sp>
        <p:nvSpPr>
          <p:cNvPr id="93" name="任意多边形: 形状 92">
            <a:extLst>
              <a:ext uri="{FF2B5EF4-FFF2-40B4-BE49-F238E27FC236}">
                <a16:creationId xmlns:a16="http://schemas.microsoft.com/office/drawing/2014/main" id="{3057B306-A399-45C3-880F-ACC1C1116C62}"/>
              </a:ext>
            </a:extLst>
          </p:cNvPr>
          <p:cNvSpPr/>
          <p:nvPr/>
        </p:nvSpPr>
        <p:spPr>
          <a:xfrm>
            <a:off x="5918619" y="4029287"/>
            <a:ext cx="354762" cy="354226"/>
          </a:xfrm>
          <a:custGeom>
            <a:avLst/>
            <a:gdLst>
              <a:gd name="connsiteX0" fmla="*/ 186482 w 607356"/>
              <a:gd name="connsiteY0" fmla="*/ 210567 h 606439"/>
              <a:gd name="connsiteX1" fmla="*/ 202880 w 607356"/>
              <a:gd name="connsiteY1" fmla="*/ 210567 h 606439"/>
              <a:gd name="connsiteX2" fmla="*/ 202880 w 607356"/>
              <a:gd name="connsiteY2" fmla="*/ 232708 h 606439"/>
              <a:gd name="connsiteX3" fmla="*/ 194529 w 607356"/>
              <a:gd name="connsiteY3" fmla="*/ 250754 h 606439"/>
              <a:gd name="connsiteX4" fmla="*/ 218671 w 607356"/>
              <a:gd name="connsiteY4" fmla="*/ 274715 h 606439"/>
              <a:gd name="connsiteX5" fmla="*/ 242661 w 607356"/>
              <a:gd name="connsiteY5" fmla="*/ 250754 h 606439"/>
              <a:gd name="connsiteX6" fmla="*/ 234462 w 607356"/>
              <a:gd name="connsiteY6" fmla="*/ 232708 h 606439"/>
              <a:gd name="connsiteX7" fmla="*/ 234462 w 607356"/>
              <a:gd name="connsiteY7" fmla="*/ 210567 h 606439"/>
              <a:gd name="connsiteX8" fmla="*/ 370353 w 607356"/>
              <a:gd name="connsiteY8" fmla="*/ 210567 h 606439"/>
              <a:gd name="connsiteX9" fmla="*/ 370353 w 607356"/>
              <a:gd name="connsiteY9" fmla="*/ 232708 h 606439"/>
              <a:gd name="connsiteX10" fmla="*/ 362003 w 607356"/>
              <a:gd name="connsiteY10" fmla="*/ 250754 h 606439"/>
              <a:gd name="connsiteX11" fmla="*/ 386144 w 607356"/>
              <a:gd name="connsiteY11" fmla="*/ 274715 h 606439"/>
              <a:gd name="connsiteX12" fmla="*/ 410134 w 607356"/>
              <a:gd name="connsiteY12" fmla="*/ 250754 h 606439"/>
              <a:gd name="connsiteX13" fmla="*/ 401935 w 607356"/>
              <a:gd name="connsiteY13" fmla="*/ 232708 h 606439"/>
              <a:gd name="connsiteX14" fmla="*/ 401935 w 607356"/>
              <a:gd name="connsiteY14" fmla="*/ 210567 h 606439"/>
              <a:gd name="connsiteX15" fmla="*/ 418181 w 607356"/>
              <a:gd name="connsiteY15" fmla="*/ 210567 h 606439"/>
              <a:gd name="connsiteX16" fmla="*/ 435035 w 607356"/>
              <a:gd name="connsiteY16" fmla="*/ 227400 h 606439"/>
              <a:gd name="connsiteX17" fmla="*/ 435035 w 607356"/>
              <a:gd name="connsiteY17" fmla="*/ 452144 h 606439"/>
              <a:gd name="connsiteX18" fmla="*/ 418181 w 607356"/>
              <a:gd name="connsiteY18" fmla="*/ 468977 h 606439"/>
              <a:gd name="connsiteX19" fmla="*/ 186482 w 607356"/>
              <a:gd name="connsiteY19" fmla="*/ 468977 h 606439"/>
              <a:gd name="connsiteX20" fmla="*/ 169780 w 607356"/>
              <a:gd name="connsiteY20" fmla="*/ 452144 h 606439"/>
              <a:gd name="connsiteX21" fmla="*/ 169780 w 607356"/>
              <a:gd name="connsiteY21" fmla="*/ 227400 h 606439"/>
              <a:gd name="connsiteX22" fmla="*/ 186482 w 607356"/>
              <a:gd name="connsiteY22" fmla="*/ 210567 h 606439"/>
              <a:gd name="connsiteX23" fmla="*/ 302297 w 607356"/>
              <a:gd name="connsiteY23" fmla="*/ 87642 h 606439"/>
              <a:gd name="connsiteX24" fmla="*/ 370327 w 607356"/>
              <a:gd name="connsiteY24" fmla="*/ 155579 h 606439"/>
              <a:gd name="connsiteX25" fmla="*/ 370327 w 607356"/>
              <a:gd name="connsiteY25" fmla="*/ 179236 h 606439"/>
              <a:gd name="connsiteX26" fmla="*/ 234418 w 607356"/>
              <a:gd name="connsiteY26" fmla="*/ 179236 h 606439"/>
              <a:gd name="connsiteX27" fmla="*/ 234418 w 607356"/>
              <a:gd name="connsiteY27" fmla="*/ 155579 h 606439"/>
              <a:gd name="connsiteX28" fmla="*/ 302297 w 607356"/>
              <a:gd name="connsiteY28" fmla="*/ 87642 h 606439"/>
              <a:gd name="connsiteX29" fmla="*/ 302311 w 607356"/>
              <a:gd name="connsiteY29" fmla="*/ 56247 h 606439"/>
              <a:gd name="connsiteX30" fmla="*/ 202857 w 607356"/>
              <a:gd name="connsiteY30" fmla="*/ 155552 h 606439"/>
              <a:gd name="connsiteX31" fmla="*/ 202857 w 607356"/>
              <a:gd name="connsiteY31" fmla="*/ 179203 h 606439"/>
              <a:gd name="connsiteX32" fmla="*/ 186458 w 607356"/>
              <a:gd name="connsiteY32" fmla="*/ 179203 h 606439"/>
              <a:gd name="connsiteX33" fmla="*/ 138173 w 607356"/>
              <a:gd name="connsiteY33" fmla="*/ 227415 h 606439"/>
              <a:gd name="connsiteX34" fmla="*/ 138173 w 607356"/>
              <a:gd name="connsiteY34" fmla="*/ 452100 h 606439"/>
              <a:gd name="connsiteX35" fmla="*/ 186458 w 607356"/>
              <a:gd name="connsiteY35" fmla="*/ 500312 h 606439"/>
              <a:gd name="connsiteX36" fmla="*/ 418165 w 607356"/>
              <a:gd name="connsiteY36" fmla="*/ 500312 h 606439"/>
              <a:gd name="connsiteX37" fmla="*/ 466601 w 607356"/>
              <a:gd name="connsiteY37" fmla="*/ 452100 h 606439"/>
              <a:gd name="connsiteX38" fmla="*/ 466601 w 607356"/>
              <a:gd name="connsiteY38" fmla="*/ 227415 h 606439"/>
              <a:gd name="connsiteX39" fmla="*/ 418165 w 607356"/>
              <a:gd name="connsiteY39" fmla="*/ 179203 h 606439"/>
              <a:gd name="connsiteX40" fmla="*/ 401918 w 607356"/>
              <a:gd name="connsiteY40" fmla="*/ 179203 h 606439"/>
              <a:gd name="connsiteX41" fmla="*/ 401918 w 607356"/>
              <a:gd name="connsiteY41" fmla="*/ 155552 h 606439"/>
              <a:gd name="connsiteX42" fmla="*/ 302311 w 607356"/>
              <a:gd name="connsiteY42" fmla="*/ 56247 h 606439"/>
              <a:gd name="connsiteX43" fmla="*/ 303678 w 607356"/>
              <a:gd name="connsiteY43" fmla="*/ 0 h 606439"/>
              <a:gd name="connsiteX44" fmla="*/ 607356 w 607356"/>
              <a:gd name="connsiteY44" fmla="*/ 303220 h 606439"/>
              <a:gd name="connsiteX45" fmla="*/ 303678 w 607356"/>
              <a:gd name="connsiteY45" fmla="*/ 606439 h 606439"/>
              <a:gd name="connsiteX46" fmla="*/ 0 w 607356"/>
              <a:gd name="connsiteY46" fmla="*/ 303220 h 606439"/>
              <a:gd name="connsiteX47" fmla="*/ 303678 w 607356"/>
              <a:gd name="connsiteY47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356" h="606439">
                <a:moveTo>
                  <a:pt x="186482" y="210567"/>
                </a:moveTo>
                <a:lnTo>
                  <a:pt x="202880" y="210567"/>
                </a:lnTo>
                <a:lnTo>
                  <a:pt x="202880" y="232708"/>
                </a:lnTo>
                <a:cubicBezTo>
                  <a:pt x="197869" y="237106"/>
                  <a:pt x="194529" y="243475"/>
                  <a:pt x="194529" y="250754"/>
                </a:cubicBezTo>
                <a:cubicBezTo>
                  <a:pt x="194529" y="263947"/>
                  <a:pt x="205309" y="274715"/>
                  <a:pt x="218671" y="274715"/>
                </a:cubicBezTo>
                <a:cubicBezTo>
                  <a:pt x="231880" y="274715"/>
                  <a:pt x="242661" y="263947"/>
                  <a:pt x="242661" y="250754"/>
                </a:cubicBezTo>
                <a:cubicBezTo>
                  <a:pt x="242661" y="243475"/>
                  <a:pt x="239472" y="237106"/>
                  <a:pt x="234462" y="232708"/>
                </a:cubicBezTo>
                <a:lnTo>
                  <a:pt x="234462" y="210567"/>
                </a:lnTo>
                <a:lnTo>
                  <a:pt x="370353" y="210567"/>
                </a:lnTo>
                <a:lnTo>
                  <a:pt x="370353" y="232708"/>
                </a:lnTo>
                <a:cubicBezTo>
                  <a:pt x="365343" y="237106"/>
                  <a:pt x="362003" y="243475"/>
                  <a:pt x="362003" y="250754"/>
                </a:cubicBezTo>
                <a:cubicBezTo>
                  <a:pt x="362003" y="263947"/>
                  <a:pt x="372783" y="274715"/>
                  <a:pt x="386144" y="274715"/>
                </a:cubicBezTo>
                <a:cubicBezTo>
                  <a:pt x="399354" y="274715"/>
                  <a:pt x="410134" y="263947"/>
                  <a:pt x="410134" y="250754"/>
                </a:cubicBezTo>
                <a:cubicBezTo>
                  <a:pt x="410134" y="243475"/>
                  <a:pt x="406946" y="237106"/>
                  <a:pt x="401935" y="232708"/>
                </a:cubicBezTo>
                <a:lnTo>
                  <a:pt x="401935" y="210567"/>
                </a:lnTo>
                <a:lnTo>
                  <a:pt x="418181" y="210567"/>
                </a:lnTo>
                <a:cubicBezTo>
                  <a:pt x="427443" y="210567"/>
                  <a:pt x="435035" y="218149"/>
                  <a:pt x="435035" y="227400"/>
                </a:cubicBezTo>
                <a:lnTo>
                  <a:pt x="435035" y="452144"/>
                </a:lnTo>
                <a:cubicBezTo>
                  <a:pt x="435035" y="461395"/>
                  <a:pt x="427443" y="468977"/>
                  <a:pt x="418181" y="468977"/>
                </a:cubicBezTo>
                <a:lnTo>
                  <a:pt x="186482" y="468977"/>
                </a:lnTo>
                <a:cubicBezTo>
                  <a:pt x="177220" y="468977"/>
                  <a:pt x="169780" y="461395"/>
                  <a:pt x="169780" y="452144"/>
                </a:cubicBezTo>
                <a:lnTo>
                  <a:pt x="169780" y="227400"/>
                </a:lnTo>
                <a:cubicBezTo>
                  <a:pt x="169780" y="218149"/>
                  <a:pt x="177220" y="210567"/>
                  <a:pt x="186482" y="210567"/>
                </a:cubicBezTo>
                <a:close/>
                <a:moveTo>
                  <a:pt x="302297" y="87642"/>
                </a:moveTo>
                <a:cubicBezTo>
                  <a:pt x="339804" y="87642"/>
                  <a:pt x="370327" y="118123"/>
                  <a:pt x="370327" y="155579"/>
                </a:cubicBezTo>
                <a:lnTo>
                  <a:pt x="370327" y="179236"/>
                </a:lnTo>
                <a:lnTo>
                  <a:pt x="234418" y="179236"/>
                </a:lnTo>
                <a:lnTo>
                  <a:pt x="234418" y="155579"/>
                </a:lnTo>
                <a:cubicBezTo>
                  <a:pt x="234418" y="118123"/>
                  <a:pt x="264941" y="87642"/>
                  <a:pt x="302297" y="87642"/>
                </a:cubicBezTo>
                <a:close/>
                <a:moveTo>
                  <a:pt x="302311" y="56247"/>
                </a:moveTo>
                <a:cubicBezTo>
                  <a:pt x="247498" y="56247"/>
                  <a:pt x="202857" y="100820"/>
                  <a:pt x="202857" y="155552"/>
                </a:cubicBezTo>
                <a:lnTo>
                  <a:pt x="202857" y="179203"/>
                </a:lnTo>
                <a:lnTo>
                  <a:pt x="186458" y="179203"/>
                </a:lnTo>
                <a:cubicBezTo>
                  <a:pt x="159886" y="179203"/>
                  <a:pt x="138173" y="200883"/>
                  <a:pt x="138173" y="227415"/>
                </a:cubicBezTo>
                <a:lnTo>
                  <a:pt x="138173" y="452100"/>
                </a:lnTo>
                <a:cubicBezTo>
                  <a:pt x="138173" y="478632"/>
                  <a:pt x="159886" y="500312"/>
                  <a:pt x="186458" y="500312"/>
                </a:cubicBezTo>
                <a:lnTo>
                  <a:pt x="418165" y="500312"/>
                </a:lnTo>
                <a:cubicBezTo>
                  <a:pt x="444888" y="500312"/>
                  <a:pt x="466601" y="478632"/>
                  <a:pt x="466601" y="452100"/>
                </a:cubicBezTo>
                <a:lnTo>
                  <a:pt x="466601" y="227415"/>
                </a:lnTo>
                <a:cubicBezTo>
                  <a:pt x="466601" y="200883"/>
                  <a:pt x="444888" y="179203"/>
                  <a:pt x="418165" y="179203"/>
                </a:cubicBezTo>
                <a:lnTo>
                  <a:pt x="401918" y="179203"/>
                </a:lnTo>
                <a:lnTo>
                  <a:pt x="401918" y="155552"/>
                </a:lnTo>
                <a:cubicBezTo>
                  <a:pt x="401918" y="100820"/>
                  <a:pt x="357277" y="56247"/>
                  <a:pt x="302311" y="56247"/>
                </a:cubicBezTo>
                <a:close/>
                <a:moveTo>
                  <a:pt x="303678" y="0"/>
                </a:moveTo>
                <a:cubicBezTo>
                  <a:pt x="471460" y="0"/>
                  <a:pt x="607356" y="135691"/>
                  <a:pt x="607356" y="303220"/>
                </a:cubicBezTo>
                <a:cubicBezTo>
                  <a:pt x="607356" y="470748"/>
                  <a:pt x="471460" y="606439"/>
                  <a:pt x="303678" y="606439"/>
                </a:cubicBezTo>
                <a:cubicBezTo>
                  <a:pt x="135896" y="606439"/>
                  <a:pt x="0" y="470748"/>
                  <a:pt x="0" y="303220"/>
                </a:cubicBezTo>
                <a:cubicBezTo>
                  <a:pt x="0" y="135691"/>
                  <a:pt x="135896" y="0"/>
                  <a:pt x="30367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/>
          </a:p>
        </p:txBody>
      </p:sp>
      <p:sp>
        <p:nvSpPr>
          <p:cNvPr id="94" name="直接连接符 93">
            <a:extLst>
              <a:ext uri="{FF2B5EF4-FFF2-40B4-BE49-F238E27FC236}">
                <a16:creationId xmlns:a16="http://schemas.microsoft.com/office/drawing/2014/main" id="{E9AE8EE1-427F-4B5B-9F3D-E7F91C38E084}"/>
              </a:ext>
            </a:extLst>
          </p:cNvPr>
          <p:cNvSpPr/>
          <p:nvPr/>
        </p:nvSpPr>
        <p:spPr>
          <a:xfrm flipH="1" flipV="1">
            <a:off x="6089733" y="2886816"/>
            <a:ext cx="0" cy="1029929"/>
          </a:xfrm>
          <a:prstGeom prst="line">
            <a:avLst/>
          </a:pr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400000"/>
            <a:headEnd type="triangle" w="med" len="med"/>
          </a:ln>
          <a:effectLst/>
        </p:spPr>
        <p:txBody>
          <a:bodyPr wrap="square" lIns="91440" tIns="45720" rIns="91440" bIns="45720" numCol="1" anchor="ctr">
            <a:normAutofit fontScale="25000" lnSpcReduction="20000"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defRPr sz="1200">
                <a:solidFill>
                  <a:srgbClr val="000000"/>
                </a:solidFill>
              </a:defRPr>
            </a:pPr>
            <a:endParaRPr/>
          </a:p>
        </p:txBody>
      </p:sp>
      <p:sp>
        <p:nvSpPr>
          <p:cNvPr id="95" name="任意多边形: 形状 94">
            <a:extLst>
              <a:ext uri="{FF2B5EF4-FFF2-40B4-BE49-F238E27FC236}">
                <a16:creationId xmlns:a16="http://schemas.microsoft.com/office/drawing/2014/main" id="{A6E3AC9B-06EA-4A20-8F6B-79D26EFE3DA9}"/>
              </a:ext>
            </a:extLst>
          </p:cNvPr>
          <p:cNvSpPr/>
          <p:nvPr/>
        </p:nvSpPr>
        <p:spPr>
          <a:xfrm>
            <a:off x="10205234" y="4029287"/>
            <a:ext cx="354762" cy="354226"/>
          </a:xfrm>
          <a:custGeom>
            <a:avLst/>
            <a:gdLst>
              <a:gd name="connsiteX0" fmla="*/ 186482 w 607356"/>
              <a:gd name="connsiteY0" fmla="*/ 210567 h 606439"/>
              <a:gd name="connsiteX1" fmla="*/ 202880 w 607356"/>
              <a:gd name="connsiteY1" fmla="*/ 210567 h 606439"/>
              <a:gd name="connsiteX2" fmla="*/ 202880 w 607356"/>
              <a:gd name="connsiteY2" fmla="*/ 232708 h 606439"/>
              <a:gd name="connsiteX3" fmla="*/ 194529 w 607356"/>
              <a:gd name="connsiteY3" fmla="*/ 250754 h 606439"/>
              <a:gd name="connsiteX4" fmla="*/ 218671 w 607356"/>
              <a:gd name="connsiteY4" fmla="*/ 274715 h 606439"/>
              <a:gd name="connsiteX5" fmla="*/ 242661 w 607356"/>
              <a:gd name="connsiteY5" fmla="*/ 250754 h 606439"/>
              <a:gd name="connsiteX6" fmla="*/ 234462 w 607356"/>
              <a:gd name="connsiteY6" fmla="*/ 232708 h 606439"/>
              <a:gd name="connsiteX7" fmla="*/ 234462 w 607356"/>
              <a:gd name="connsiteY7" fmla="*/ 210567 h 606439"/>
              <a:gd name="connsiteX8" fmla="*/ 370353 w 607356"/>
              <a:gd name="connsiteY8" fmla="*/ 210567 h 606439"/>
              <a:gd name="connsiteX9" fmla="*/ 370353 w 607356"/>
              <a:gd name="connsiteY9" fmla="*/ 232708 h 606439"/>
              <a:gd name="connsiteX10" fmla="*/ 362003 w 607356"/>
              <a:gd name="connsiteY10" fmla="*/ 250754 h 606439"/>
              <a:gd name="connsiteX11" fmla="*/ 386144 w 607356"/>
              <a:gd name="connsiteY11" fmla="*/ 274715 h 606439"/>
              <a:gd name="connsiteX12" fmla="*/ 410134 w 607356"/>
              <a:gd name="connsiteY12" fmla="*/ 250754 h 606439"/>
              <a:gd name="connsiteX13" fmla="*/ 401935 w 607356"/>
              <a:gd name="connsiteY13" fmla="*/ 232708 h 606439"/>
              <a:gd name="connsiteX14" fmla="*/ 401935 w 607356"/>
              <a:gd name="connsiteY14" fmla="*/ 210567 h 606439"/>
              <a:gd name="connsiteX15" fmla="*/ 418181 w 607356"/>
              <a:gd name="connsiteY15" fmla="*/ 210567 h 606439"/>
              <a:gd name="connsiteX16" fmla="*/ 435035 w 607356"/>
              <a:gd name="connsiteY16" fmla="*/ 227400 h 606439"/>
              <a:gd name="connsiteX17" fmla="*/ 435035 w 607356"/>
              <a:gd name="connsiteY17" fmla="*/ 452144 h 606439"/>
              <a:gd name="connsiteX18" fmla="*/ 418181 w 607356"/>
              <a:gd name="connsiteY18" fmla="*/ 468977 h 606439"/>
              <a:gd name="connsiteX19" fmla="*/ 186482 w 607356"/>
              <a:gd name="connsiteY19" fmla="*/ 468977 h 606439"/>
              <a:gd name="connsiteX20" fmla="*/ 169780 w 607356"/>
              <a:gd name="connsiteY20" fmla="*/ 452144 h 606439"/>
              <a:gd name="connsiteX21" fmla="*/ 169780 w 607356"/>
              <a:gd name="connsiteY21" fmla="*/ 227400 h 606439"/>
              <a:gd name="connsiteX22" fmla="*/ 186482 w 607356"/>
              <a:gd name="connsiteY22" fmla="*/ 210567 h 606439"/>
              <a:gd name="connsiteX23" fmla="*/ 302297 w 607356"/>
              <a:gd name="connsiteY23" fmla="*/ 87642 h 606439"/>
              <a:gd name="connsiteX24" fmla="*/ 370327 w 607356"/>
              <a:gd name="connsiteY24" fmla="*/ 155579 h 606439"/>
              <a:gd name="connsiteX25" fmla="*/ 370327 w 607356"/>
              <a:gd name="connsiteY25" fmla="*/ 179236 h 606439"/>
              <a:gd name="connsiteX26" fmla="*/ 234418 w 607356"/>
              <a:gd name="connsiteY26" fmla="*/ 179236 h 606439"/>
              <a:gd name="connsiteX27" fmla="*/ 234418 w 607356"/>
              <a:gd name="connsiteY27" fmla="*/ 155579 h 606439"/>
              <a:gd name="connsiteX28" fmla="*/ 302297 w 607356"/>
              <a:gd name="connsiteY28" fmla="*/ 87642 h 606439"/>
              <a:gd name="connsiteX29" fmla="*/ 302311 w 607356"/>
              <a:gd name="connsiteY29" fmla="*/ 56247 h 606439"/>
              <a:gd name="connsiteX30" fmla="*/ 202857 w 607356"/>
              <a:gd name="connsiteY30" fmla="*/ 155552 h 606439"/>
              <a:gd name="connsiteX31" fmla="*/ 202857 w 607356"/>
              <a:gd name="connsiteY31" fmla="*/ 179203 h 606439"/>
              <a:gd name="connsiteX32" fmla="*/ 186458 w 607356"/>
              <a:gd name="connsiteY32" fmla="*/ 179203 h 606439"/>
              <a:gd name="connsiteX33" fmla="*/ 138173 w 607356"/>
              <a:gd name="connsiteY33" fmla="*/ 227415 h 606439"/>
              <a:gd name="connsiteX34" fmla="*/ 138173 w 607356"/>
              <a:gd name="connsiteY34" fmla="*/ 452100 h 606439"/>
              <a:gd name="connsiteX35" fmla="*/ 186458 w 607356"/>
              <a:gd name="connsiteY35" fmla="*/ 500312 h 606439"/>
              <a:gd name="connsiteX36" fmla="*/ 418165 w 607356"/>
              <a:gd name="connsiteY36" fmla="*/ 500312 h 606439"/>
              <a:gd name="connsiteX37" fmla="*/ 466601 w 607356"/>
              <a:gd name="connsiteY37" fmla="*/ 452100 h 606439"/>
              <a:gd name="connsiteX38" fmla="*/ 466601 w 607356"/>
              <a:gd name="connsiteY38" fmla="*/ 227415 h 606439"/>
              <a:gd name="connsiteX39" fmla="*/ 418165 w 607356"/>
              <a:gd name="connsiteY39" fmla="*/ 179203 h 606439"/>
              <a:gd name="connsiteX40" fmla="*/ 401918 w 607356"/>
              <a:gd name="connsiteY40" fmla="*/ 179203 h 606439"/>
              <a:gd name="connsiteX41" fmla="*/ 401918 w 607356"/>
              <a:gd name="connsiteY41" fmla="*/ 155552 h 606439"/>
              <a:gd name="connsiteX42" fmla="*/ 302311 w 607356"/>
              <a:gd name="connsiteY42" fmla="*/ 56247 h 606439"/>
              <a:gd name="connsiteX43" fmla="*/ 303678 w 607356"/>
              <a:gd name="connsiteY43" fmla="*/ 0 h 606439"/>
              <a:gd name="connsiteX44" fmla="*/ 607356 w 607356"/>
              <a:gd name="connsiteY44" fmla="*/ 303220 h 606439"/>
              <a:gd name="connsiteX45" fmla="*/ 303678 w 607356"/>
              <a:gd name="connsiteY45" fmla="*/ 606439 h 606439"/>
              <a:gd name="connsiteX46" fmla="*/ 0 w 607356"/>
              <a:gd name="connsiteY46" fmla="*/ 303220 h 606439"/>
              <a:gd name="connsiteX47" fmla="*/ 303678 w 607356"/>
              <a:gd name="connsiteY47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356" h="606439">
                <a:moveTo>
                  <a:pt x="186482" y="210567"/>
                </a:moveTo>
                <a:lnTo>
                  <a:pt x="202880" y="210567"/>
                </a:lnTo>
                <a:lnTo>
                  <a:pt x="202880" y="232708"/>
                </a:lnTo>
                <a:cubicBezTo>
                  <a:pt x="197869" y="237106"/>
                  <a:pt x="194529" y="243475"/>
                  <a:pt x="194529" y="250754"/>
                </a:cubicBezTo>
                <a:cubicBezTo>
                  <a:pt x="194529" y="263947"/>
                  <a:pt x="205309" y="274715"/>
                  <a:pt x="218671" y="274715"/>
                </a:cubicBezTo>
                <a:cubicBezTo>
                  <a:pt x="231880" y="274715"/>
                  <a:pt x="242661" y="263947"/>
                  <a:pt x="242661" y="250754"/>
                </a:cubicBezTo>
                <a:cubicBezTo>
                  <a:pt x="242661" y="243475"/>
                  <a:pt x="239472" y="237106"/>
                  <a:pt x="234462" y="232708"/>
                </a:cubicBezTo>
                <a:lnTo>
                  <a:pt x="234462" y="210567"/>
                </a:lnTo>
                <a:lnTo>
                  <a:pt x="370353" y="210567"/>
                </a:lnTo>
                <a:lnTo>
                  <a:pt x="370353" y="232708"/>
                </a:lnTo>
                <a:cubicBezTo>
                  <a:pt x="365343" y="237106"/>
                  <a:pt x="362003" y="243475"/>
                  <a:pt x="362003" y="250754"/>
                </a:cubicBezTo>
                <a:cubicBezTo>
                  <a:pt x="362003" y="263947"/>
                  <a:pt x="372783" y="274715"/>
                  <a:pt x="386144" y="274715"/>
                </a:cubicBezTo>
                <a:cubicBezTo>
                  <a:pt x="399354" y="274715"/>
                  <a:pt x="410134" y="263947"/>
                  <a:pt x="410134" y="250754"/>
                </a:cubicBezTo>
                <a:cubicBezTo>
                  <a:pt x="410134" y="243475"/>
                  <a:pt x="406946" y="237106"/>
                  <a:pt x="401935" y="232708"/>
                </a:cubicBezTo>
                <a:lnTo>
                  <a:pt x="401935" y="210567"/>
                </a:lnTo>
                <a:lnTo>
                  <a:pt x="418181" y="210567"/>
                </a:lnTo>
                <a:cubicBezTo>
                  <a:pt x="427443" y="210567"/>
                  <a:pt x="435035" y="218149"/>
                  <a:pt x="435035" y="227400"/>
                </a:cubicBezTo>
                <a:lnTo>
                  <a:pt x="435035" y="452144"/>
                </a:lnTo>
                <a:cubicBezTo>
                  <a:pt x="435035" y="461395"/>
                  <a:pt x="427443" y="468977"/>
                  <a:pt x="418181" y="468977"/>
                </a:cubicBezTo>
                <a:lnTo>
                  <a:pt x="186482" y="468977"/>
                </a:lnTo>
                <a:cubicBezTo>
                  <a:pt x="177220" y="468977"/>
                  <a:pt x="169780" y="461395"/>
                  <a:pt x="169780" y="452144"/>
                </a:cubicBezTo>
                <a:lnTo>
                  <a:pt x="169780" y="227400"/>
                </a:lnTo>
                <a:cubicBezTo>
                  <a:pt x="169780" y="218149"/>
                  <a:pt x="177220" y="210567"/>
                  <a:pt x="186482" y="210567"/>
                </a:cubicBezTo>
                <a:close/>
                <a:moveTo>
                  <a:pt x="302297" y="87642"/>
                </a:moveTo>
                <a:cubicBezTo>
                  <a:pt x="339804" y="87642"/>
                  <a:pt x="370327" y="118123"/>
                  <a:pt x="370327" y="155579"/>
                </a:cubicBezTo>
                <a:lnTo>
                  <a:pt x="370327" y="179236"/>
                </a:lnTo>
                <a:lnTo>
                  <a:pt x="234418" y="179236"/>
                </a:lnTo>
                <a:lnTo>
                  <a:pt x="234418" y="155579"/>
                </a:lnTo>
                <a:cubicBezTo>
                  <a:pt x="234418" y="118123"/>
                  <a:pt x="264941" y="87642"/>
                  <a:pt x="302297" y="87642"/>
                </a:cubicBezTo>
                <a:close/>
                <a:moveTo>
                  <a:pt x="302311" y="56247"/>
                </a:moveTo>
                <a:cubicBezTo>
                  <a:pt x="247498" y="56247"/>
                  <a:pt x="202857" y="100820"/>
                  <a:pt x="202857" y="155552"/>
                </a:cubicBezTo>
                <a:lnTo>
                  <a:pt x="202857" y="179203"/>
                </a:lnTo>
                <a:lnTo>
                  <a:pt x="186458" y="179203"/>
                </a:lnTo>
                <a:cubicBezTo>
                  <a:pt x="159886" y="179203"/>
                  <a:pt x="138173" y="200883"/>
                  <a:pt x="138173" y="227415"/>
                </a:cubicBezTo>
                <a:lnTo>
                  <a:pt x="138173" y="452100"/>
                </a:lnTo>
                <a:cubicBezTo>
                  <a:pt x="138173" y="478632"/>
                  <a:pt x="159886" y="500312"/>
                  <a:pt x="186458" y="500312"/>
                </a:cubicBezTo>
                <a:lnTo>
                  <a:pt x="418165" y="500312"/>
                </a:lnTo>
                <a:cubicBezTo>
                  <a:pt x="444888" y="500312"/>
                  <a:pt x="466601" y="478632"/>
                  <a:pt x="466601" y="452100"/>
                </a:cubicBezTo>
                <a:lnTo>
                  <a:pt x="466601" y="227415"/>
                </a:lnTo>
                <a:cubicBezTo>
                  <a:pt x="466601" y="200883"/>
                  <a:pt x="444888" y="179203"/>
                  <a:pt x="418165" y="179203"/>
                </a:cubicBezTo>
                <a:lnTo>
                  <a:pt x="401918" y="179203"/>
                </a:lnTo>
                <a:lnTo>
                  <a:pt x="401918" y="155552"/>
                </a:lnTo>
                <a:cubicBezTo>
                  <a:pt x="401918" y="100820"/>
                  <a:pt x="357277" y="56247"/>
                  <a:pt x="302311" y="56247"/>
                </a:cubicBezTo>
                <a:close/>
                <a:moveTo>
                  <a:pt x="303678" y="0"/>
                </a:moveTo>
                <a:cubicBezTo>
                  <a:pt x="471460" y="0"/>
                  <a:pt x="607356" y="135691"/>
                  <a:pt x="607356" y="303220"/>
                </a:cubicBezTo>
                <a:cubicBezTo>
                  <a:pt x="607356" y="470748"/>
                  <a:pt x="471460" y="606439"/>
                  <a:pt x="303678" y="606439"/>
                </a:cubicBezTo>
                <a:cubicBezTo>
                  <a:pt x="135896" y="606439"/>
                  <a:pt x="0" y="470748"/>
                  <a:pt x="0" y="303220"/>
                </a:cubicBezTo>
                <a:cubicBezTo>
                  <a:pt x="0" y="135691"/>
                  <a:pt x="135896" y="0"/>
                  <a:pt x="30367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/>
          </a:p>
        </p:txBody>
      </p:sp>
      <p:sp>
        <p:nvSpPr>
          <p:cNvPr id="96" name="任意多边形: 形状 95">
            <a:extLst>
              <a:ext uri="{FF2B5EF4-FFF2-40B4-BE49-F238E27FC236}">
                <a16:creationId xmlns:a16="http://schemas.microsoft.com/office/drawing/2014/main" id="{AFB67B63-BB33-4D4D-9EDF-DD5A4F10D9D1}"/>
              </a:ext>
            </a:extLst>
          </p:cNvPr>
          <p:cNvSpPr/>
          <p:nvPr/>
        </p:nvSpPr>
        <p:spPr>
          <a:xfrm rot="1440000" flipH="1">
            <a:off x="6479966" y="2310999"/>
            <a:ext cx="4258940" cy="7730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0215" extrusionOk="0">
                <a:moveTo>
                  <a:pt x="0" y="10215"/>
                </a:moveTo>
                <a:cubicBezTo>
                  <a:pt x="10656" y="-11385"/>
                  <a:pt x="21600" y="7982"/>
                  <a:pt x="21600" y="7982"/>
                </a:cubicBez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400000"/>
            <a:headEnd type="triangle" w="med" len="med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pPr algn="l" defTabSz="584200">
              <a:lnSpc>
                <a:spcPct val="110000"/>
              </a:lnSpc>
              <a:spcBef>
                <a:spcPts val="3000"/>
              </a:spcBef>
              <a:defRPr sz="2000">
                <a:solidFill>
                  <a:srgbClr val="4C4C4C"/>
                </a:solidFill>
              </a:defRPr>
            </a:pPr>
            <a:endParaRPr/>
          </a:p>
        </p:txBody>
      </p:sp>
      <p:sp>
        <p:nvSpPr>
          <p:cNvPr id="97" name="任意多边形: 形状 96">
            <a:extLst>
              <a:ext uri="{FF2B5EF4-FFF2-40B4-BE49-F238E27FC236}">
                <a16:creationId xmlns:a16="http://schemas.microsoft.com/office/drawing/2014/main" id="{AA967529-E090-44C4-84CF-C64ED10ACF26}"/>
              </a:ext>
            </a:extLst>
          </p:cNvPr>
          <p:cNvSpPr/>
          <p:nvPr/>
        </p:nvSpPr>
        <p:spPr>
          <a:xfrm>
            <a:off x="8776361" y="4029287"/>
            <a:ext cx="354762" cy="354226"/>
          </a:xfrm>
          <a:custGeom>
            <a:avLst/>
            <a:gdLst>
              <a:gd name="connsiteX0" fmla="*/ 186482 w 607356"/>
              <a:gd name="connsiteY0" fmla="*/ 210567 h 606439"/>
              <a:gd name="connsiteX1" fmla="*/ 202880 w 607356"/>
              <a:gd name="connsiteY1" fmla="*/ 210567 h 606439"/>
              <a:gd name="connsiteX2" fmla="*/ 202880 w 607356"/>
              <a:gd name="connsiteY2" fmla="*/ 232708 h 606439"/>
              <a:gd name="connsiteX3" fmla="*/ 194529 w 607356"/>
              <a:gd name="connsiteY3" fmla="*/ 250754 h 606439"/>
              <a:gd name="connsiteX4" fmla="*/ 218671 w 607356"/>
              <a:gd name="connsiteY4" fmla="*/ 274715 h 606439"/>
              <a:gd name="connsiteX5" fmla="*/ 242661 w 607356"/>
              <a:gd name="connsiteY5" fmla="*/ 250754 h 606439"/>
              <a:gd name="connsiteX6" fmla="*/ 234462 w 607356"/>
              <a:gd name="connsiteY6" fmla="*/ 232708 h 606439"/>
              <a:gd name="connsiteX7" fmla="*/ 234462 w 607356"/>
              <a:gd name="connsiteY7" fmla="*/ 210567 h 606439"/>
              <a:gd name="connsiteX8" fmla="*/ 370353 w 607356"/>
              <a:gd name="connsiteY8" fmla="*/ 210567 h 606439"/>
              <a:gd name="connsiteX9" fmla="*/ 370353 w 607356"/>
              <a:gd name="connsiteY9" fmla="*/ 232708 h 606439"/>
              <a:gd name="connsiteX10" fmla="*/ 362003 w 607356"/>
              <a:gd name="connsiteY10" fmla="*/ 250754 h 606439"/>
              <a:gd name="connsiteX11" fmla="*/ 386144 w 607356"/>
              <a:gd name="connsiteY11" fmla="*/ 274715 h 606439"/>
              <a:gd name="connsiteX12" fmla="*/ 410134 w 607356"/>
              <a:gd name="connsiteY12" fmla="*/ 250754 h 606439"/>
              <a:gd name="connsiteX13" fmla="*/ 401935 w 607356"/>
              <a:gd name="connsiteY13" fmla="*/ 232708 h 606439"/>
              <a:gd name="connsiteX14" fmla="*/ 401935 w 607356"/>
              <a:gd name="connsiteY14" fmla="*/ 210567 h 606439"/>
              <a:gd name="connsiteX15" fmla="*/ 418181 w 607356"/>
              <a:gd name="connsiteY15" fmla="*/ 210567 h 606439"/>
              <a:gd name="connsiteX16" fmla="*/ 435035 w 607356"/>
              <a:gd name="connsiteY16" fmla="*/ 227400 h 606439"/>
              <a:gd name="connsiteX17" fmla="*/ 435035 w 607356"/>
              <a:gd name="connsiteY17" fmla="*/ 452144 h 606439"/>
              <a:gd name="connsiteX18" fmla="*/ 418181 w 607356"/>
              <a:gd name="connsiteY18" fmla="*/ 468977 h 606439"/>
              <a:gd name="connsiteX19" fmla="*/ 186482 w 607356"/>
              <a:gd name="connsiteY19" fmla="*/ 468977 h 606439"/>
              <a:gd name="connsiteX20" fmla="*/ 169780 w 607356"/>
              <a:gd name="connsiteY20" fmla="*/ 452144 h 606439"/>
              <a:gd name="connsiteX21" fmla="*/ 169780 w 607356"/>
              <a:gd name="connsiteY21" fmla="*/ 227400 h 606439"/>
              <a:gd name="connsiteX22" fmla="*/ 186482 w 607356"/>
              <a:gd name="connsiteY22" fmla="*/ 210567 h 606439"/>
              <a:gd name="connsiteX23" fmla="*/ 302297 w 607356"/>
              <a:gd name="connsiteY23" fmla="*/ 87642 h 606439"/>
              <a:gd name="connsiteX24" fmla="*/ 370327 w 607356"/>
              <a:gd name="connsiteY24" fmla="*/ 155579 h 606439"/>
              <a:gd name="connsiteX25" fmla="*/ 370327 w 607356"/>
              <a:gd name="connsiteY25" fmla="*/ 179236 h 606439"/>
              <a:gd name="connsiteX26" fmla="*/ 234418 w 607356"/>
              <a:gd name="connsiteY26" fmla="*/ 179236 h 606439"/>
              <a:gd name="connsiteX27" fmla="*/ 234418 w 607356"/>
              <a:gd name="connsiteY27" fmla="*/ 155579 h 606439"/>
              <a:gd name="connsiteX28" fmla="*/ 302297 w 607356"/>
              <a:gd name="connsiteY28" fmla="*/ 87642 h 606439"/>
              <a:gd name="connsiteX29" fmla="*/ 302311 w 607356"/>
              <a:gd name="connsiteY29" fmla="*/ 56247 h 606439"/>
              <a:gd name="connsiteX30" fmla="*/ 202857 w 607356"/>
              <a:gd name="connsiteY30" fmla="*/ 155552 h 606439"/>
              <a:gd name="connsiteX31" fmla="*/ 202857 w 607356"/>
              <a:gd name="connsiteY31" fmla="*/ 179203 h 606439"/>
              <a:gd name="connsiteX32" fmla="*/ 186458 w 607356"/>
              <a:gd name="connsiteY32" fmla="*/ 179203 h 606439"/>
              <a:gd name="connsiteX33" fmla="*/ 138173 w 607356"/>
              <a:gd name="connsiteY33" fmla="*/ 227415 h 606439"/>
              <a:gd name="connsiteX34" fmla="*/ 138173 w 607356"/>
              <a:gd name="connsiteY34" fmla="*/ 452100 h 606439"/>
              <a:gd name="connsiteX35" fmla="*/ 186458 w 607356"/>
              <a:gd name="connsiteY35" fmla="*/ 500312 h 606439"/>
              <a:gd name="connsiteX36" fmla="*/ 418165 w 607356"/>
              <a:gd name="connsiteY36" fmla="*/ 500312 h 606439"/>
              <a:gd name="connsiteX37" fmla="*/ 466601 w 607356"/>
              <a:gd name="connsiteY37" fmla="*/ 452100 h 606439"/>
              <a:gd name="connsiteX38" fmla="*/ 466601 w 607356"/>
              <a:gd name="connsiteY38" fmla="*/ 227415 h 606439"/>
              <a:gd name="connsiteX39" fmla="*/ 418165 w 607356"/>
              <a:gd name="connsiteY39" fmla="*/ 179203 h 606439"/>
              <a:gd name="connsiteX40" fmla="*/ 401918 w 607356"/>
              <a:gd name="connsiteY40" fmla="*/ 179203 h 606439"/>
              <a:gd name="connsiteX41" fmla="*/ 401918 w 607356"/>
              <a:gd name="connsiteY41" fmla="*/ 155552 h 606439"/>
              <a:gd name="connsiteX42" fmla="*/ 302311 w 607356"/>
              <a:gd name="connsiteY42" fmla="*/ 56247 h 606439"/>
              <a:gd name="connsiteX43" fmla="*/ 303678 w 607356"/>
              <a:gd name="connsiteY43" fmla="*/ 0 h 606439"/>
              <a:gd name="connsiteX44" fmla="*/ 607356 w 607356"/>
              <a:gd name="connsiteY44" fmla="*/ 303220 h 606439"/>
              <a:gd name="connsiteX45" fmla="*/ 303678 w 607356"/>
              <a:gd name="connsiteY45" fmla="*/ 606439 h 606439"/>
              <a:gd name="connsiteX46" fmla="*/ 0 w 607356"/>
              <a:gd name="connsiteY46" fmla="*/ 303220 h 606439"/>
              <a:gd name="connsiteX47" fmla="*/ 303678 w 607356"/>
              <a:gd name="connsiteY47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356" h="606439">
                <a:moveTo>
                  <a:pt x="186482" y="210567"/>
                </a:moveTo>
                <a:lnTo>
                  <a:pt x="202880" y="210567"/>
                </a:lnTo>
                <a:lnTo>
                  <a:pt x="202880" y="232708"/>
                </a:lnTo>
                <a:cubicBezTo>
                  <a:pt x="197869" y="237106"/>
                  <a:pt x="194529" y="243475"/>
                  <a:pt x="194529" y="250754"/>
                </a:cubicBezTo>
                <a:cubicBezTo>
                  <a:pt x="194529" y="263947"/>
                  <a:pt x="205309" y="274715"/>
                  <a:pt x="218671" y="274715"/>
                </a:cubicBezTo>
                <a:cubicBezTo>
                  <a:pt x="231880" y="274715"/>
                  <a:pt x="242661" y="263947"/>
                  <a:pt x="242661" y="250754"/>
                </a:cubicBezTo>
                <a:cubicBezTo>
                  <a:pt x="242661" y="243475"/>
                  <a:pt x="239472" y="237106"/>
                  <a:pt x="234462" y="232708"/>
                </a:cubicBezTo>
                <a:lnTo>
                  <a:pt x="234462" y="210567"/>
                </a:lnTo>
                <a:lnTo>
                  <a:pt x="370353" y="210567"/>
                </a:lnTo>
                <a:lnTo>
                  <a:pt x="370353" y="232708"/>
                </a:lnTo>
                <a:cubicBezTo>
                  <a:pt x="365343" y="237106"/>
                  <a:pt x="362003" y="243475"/>
                  <a:pt x="362003" y="250754"/>
                </a:cubicBezTo>
                <a:cubicBezTo>
                  <a:pt x="362003" y="263947"/>
                  <a:pt x="372783" y="274715"/>
                  <a:pt x="386144" y="274715"/>
                </a:cubicBezTo>
                <a:cubicBezTo>
                  <a:pt x="399354" y="274715"/>
                  <a:pt x="410134" y="263947"/>
                  <a:pt x="410134" y="250754"/>
                </a:cubicBezTo>
                <a:cubicBezTo>
                  <a:pt x="410134" y="243475"/>
                  <a:pt x="406946" y="237106"/>
                  <a:pt x="401935" y="232708"/>
                </a:cubicBezTo>
                <a:lnTo>
                  <a:pt x="401935" y="210567"/>
                </a:lnTo>
                <a:lnTo>
                  <a:pt x="418181" y="210567"/>
                </a:lnTo>
                <a:cubicBezTo>
                  <a:pt x="427443" y="210567"/>
                  <a:pt x="435035" y="218149"/>
                  <a:pt x="435035" y="227400"/>
                </a:cubicBezTo>
                <a:lnTo>
                  <a:pt x="435035" y="452144"/>
                </a:lnTo>
                <a:cubicBezTo>
                  <a:pt x="435035" y="461395"/>
                  <a:pt x="427443" y="468977"/>
                  <a:pt x="418181" y="468977"/>
                </a:cubicBezTo>
                <a:lnTo>
                  <a:pt x="186482" y="468977"/>
                </a:lnTo>
                <a:cubicBezTo>
                  <a:pt x="177220" y="468977"/>
                  <a:pt x="169780" y="461395"/>
                  <a:pt x="169780" y="452144"/>
                </a:cubicBezTo>
                <a:lnTo>
                  <a:pt x="169780" y="227400"/>
                </a:lnTo>
                <a:cubicBezTo>
                  <a:pt x="169780" y="218149"/>
                  <a:pt x="177220" y="210567"/>
                  <a:pt x="186482" y="210567"/>
                </a:cubicBezTo>
                <a:close/>
                <a:moveTo>
                  <a:pt x="302297" y="87642"/>
                </a:moveTo>
                <a:cubicBezTo>
                  <a:pt x="339804" y="87642"/>
                  <a:pt x="370327" y="118123"/>
                  <a:pt x="370327" y="155579"/>
                </a:cubicBezTo>
                <a:lnTo>
                  <a:pt x="370327" y="179236"/>
                </a:lnTo>
                <a:lnTo>
                  <a:pt x="234418" y="179236"/>
                </a:lnTo>
                <a:lnTo>
                  <a:pt x="234418" y="155579"/>
                </a:lnTo>
                <a:cubicBezTo>
                  <a:pt x="234418" y="118123"/>
                  <a:pt x="264941" y="87642"/>
                  <a:pt x="302297" y="87642"/>
                </a:cubicBezTo>
                <a:close/>
                <a:moveTo>
                  <a:pt x="302311" y="56247"/>
                </a:moveTo>
                <a:cubicBezTo>
                  <a:pt x="247498" y="56247"/>
                  <a:pt x="202857" y="100820"/>
                  <a:pt x="202857" y="155552"/>
                </a:cubicBezTo>
                <a:lnTo>
                  <a:pt x="202857" y="179203"/>
                </a:lnTo>
                <a:lnTo>
                  <a:pt x="186458" y="179203"/>
                </a:lnTo>
                <a:cubicBezTo>
                  <a:pt x="159886" y="179203"/>
                  <a:pt x="138173" y="200883"/>
                  <a:pt x="138173" y="227415"/>
                </a:cubicBezTo>
                <a:lnTo>
                  <a:pt x="138173" y="452100"/>
                </a:lnTo>
                <a:cubicBezTo>
                  <a:pt x="138173" y="478632"/>
                  <a:pt x="159886" y="500312"/>
                  <a:pt x="186458" y="500312"/>
                </a:cubicBezTo>
                <a:lnTo>
                  <a:pt x="418165" y="500312"/>
                </a:lnTo>
                <a:cubicBezTo>
                  <a:pt x="444888" y="500312"/>
                  <a:pt x="466601" y="478632"/>
                  <a:pt x="466601" y="452100"/>
                </a:cubicBezTo>
                <a:lnTo>
                  <a:pt x="466601" y="227415"/>
                </a:lnTo>
                <a:cubicBezTo>
                  <a:pt x="466601" y="200883"/>
                  <a:pt x="444888" y="179203"/>
                  <a:pt x="418165" y="179203"/>
                </a:cubicBezTo>
                <a:lnTo>
                  <a:pt x="401918" y="179203"/>
                </a:lnTo>
                <a:lnTo>
                  <a:pt x="401918" y="155552"/>
                </a:lnTo>
                <a:cubicBezTo>
                  <a:pt x="401918" y="100820"/>
                  <a:pt x="357277" y="56247"/>
                  <a:pt x="302311" y="56247"/>
                </a:cubicBezTo>
                <a:close/>
                <a:moveTo>
                  <a:pt x="303678" y="0"/>
                </a:moveTo>
                <a:cubicBezTo>
                  <a:pt x="471460" y="0"/>
                  <a:pt x="607356" y="135691"/>
                  <a:pt x="607356" y="303220"/>
                </a:cubicBezTo>
                <a:cubicBezTo>
                  <a:pt x="607356" y="470748"/>
                  <a:pt x="471460" y="606439"/>
                  <a:pt x="303678" y="606439"/>
                </a:cubicBezTo>
                <a:cubicBezTo>
                  <a:pt x="135896" y="606439"/>
                  <a:pt x="0" y="470748"/>
                  <a:pt x="0" y="303220"/>
                </a:cubicBezTo>
                <a:cubicBezTo>
                  <a:pt x="0" y="135691"/>
                  <a:pt x="135896" y="0"/>
                  <a:pt x="30367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/>
          </a:p>
        </p:txBody>
      </p:sp>
      <p:sp>
        <p:nvSpPr>
          <p:cNvPr id="98" name="任意多边形: 形状 97">
            <a:extLst>
              <a:ext uri="{FF2B5EF4-FFF2-40B4-BE49-F238E27FC236}">
                <a16:creationId xmlns:a16="http://schemas.microsoft.com/office/drawing/2014/main" id="{8D7D2AF9-262A-4058-96A5-6A9109FBC8BA}"/>
              </a:ext>
            </a:extLst>
          </p:cNvPr>
          <p:cNvSpPr/>
          <p:nvPr/>
        </p:nvSpPr>
        <p:spPr>
          <a:xfrm rot="2222001" flipH="1">
            <a:off x="6433176" y="2525399"/>
            <a:ext cx="2996390" cy="5438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0215" extrusionOk="0">
                <a:moveTo>
                  <a:pt x="0" y="10215"/>
                </a:moveTo>
                <a:cubicBezTo>
                  <a:pt x="10656" y="-11385"/>
                  <a:pt x="21600" y="7982"/>
                  <a:pt x="21600" y="7982"/>
                </a:cubicBez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400000"/>
            <a:headEnd type="triangle" w="med" len="med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pPr algn="l" defTabSz="584200">
              <a:lnSpc>
                <a:spcPct val="110000"/>
              </a:lnSpc>
              <a:spcBef>
                <a:spcPts val="3000"/>
              </a:spcBef>
              <a:defRPr sz="2000">
                <a:solidFill>
                  <a:srgbClr val="4C4C4C"/>
                </a:solidFill>
              </a:defRPr>
            </a:pPr>
            <a:endParaRPr/>
          </a:p>
        </p:txBody>
      </p:sp>
      <p:sp>
        <p:nvSpPr>
          <p:cNvPr id="99" name="任意多边形: 形状 98">
            <a:extLst>
              <a:ext uri="{FF2B5EF4-FFF2-40B4-BE49-F238E27FC236}">
                <a16:creationId xmlns:a16="http://schemas.microsoft.com/office/drawing/2014/main" id="{4FA547AB-0D40-4E4B-A766-32773CBD367A}"/>
              </a:ext>
            </a:extLst>
          </p:cNvPr>
          <p:cNvSpPr/>
          <p:nvPr/>
        </p:nvSpPr>
        <p:spPr>
          <a:xfrm>
            <a:off x="7347490" y="4029287"/>
            <a:ext cx="354762" cy="354226"/>
          </a:xfrm>
          <a:custGeom>
            <a:avLst/>
            <a:gdLst>
              <a:gd name="connsiteX0" fmla="*/ 186482 w 607356"/>
              <a:gd name="connsiteY0" fmla="*/ 210567 h 606439"/>
              <a:gd name="connsiteX1" fmla="*/ 202880 w 607356"/>
              <a:gd name="connsiteY1" fmla="*/ 210567 h 606439"/>
              <a:gd name="connsiteX2" fmla="*/ 202880 w 607356"/>
              <a:gd name="connsiteY2" fmla="*/ 232708 h 606439"/>
              <a:gd name="connsiteX3" fmla="*/ 194529 w 607356"/>
              <a:gd name="connsiteY3" fmla="*/ 250754 h 606439"/>
              <a:gd name="connsiteX4" fmla="*/ 218671 w 607356"/>
              <a:gd name="connsiteY4" fmla="*/ 274715 h 606439"/>
              <a:gd name="connsiteX5" fmla="*/ 242661 w 607356"/>
              <a:gd name="connsiteY5" fmla="*/ 250754 h 606439"/>
              <a:gd name="connsiteX6" fmla="*/ 234462 w 607356"/>
              <a:gd name="connsiteY6" fmla="*/ 232708 h 606439"/>
              <a:gd name="connsiteX7" fmla="*/ 234462 w 607356"/>
              <a:gd name="connsiteY7" fmla="*/ 210567 h 606439"/>
              <a:gd name="connsiteX8" fmla="*/ 370353 w 607356"/>
              <a:gd name="connsiteY8" fmla="*/ 210567 h 606439"/>
              <a:gd name="connsiteX9" fmla="*/ 370353 w 607356"/>
              <a:gd name="connsiteY9" fmla="*/ 232708 h 606439"/>
              <a:gd name="connsiteX10" fmla="*/ 362003 w 607356"/>
              <a:gd name="connsiteY10" fmla="*/ 250754 h 606439"/>
              <a:gd name="connsiteX11" fmla="*/ 386144 w 607356"/>
              <a:gd name="connsiteY11" fmla="*/ 274715 h 606439"/>
              <a:gd name="connsiteX12" fmla="*/ 410134 w 607356"/>
              <a:gd name="connsiteY12" fmla="*/ 250754 h 606439"/>
              <a:gd name="connsiteX13" fmla="*/ 401935 w 607356"/>
              <a:gd name="connsiteY13" fmla="*/ 232708 h 606439"/>
              <a:gd name="connsiteX14" fmla="*/ 401935 w 607356"/>
              <a:gd name="connsiteY14" fmla="*/ 210567 h 606439"/>
              <a:gd name="connsiteX15" fmla="*/ 418181 w 607356"/>
              <a:gd name="connsiteY15" fmla="*/ 210567 h 606439"/>
              <a:gd name="connsiteX16" fmla="*/ 435035 w 607356"/>
              <a:gd name="connsiteY16" fmla="*/ 227400 h 606439"/>
              <a:gd name="connsiteX17" fmla="*/ 435035 w 607356"/>
              <a:gd name="connsiteY17" fmla="*/ 452144 h 606439"/>
              <a:gd name="connsiteX18" fmla="*/ 418181 w 607356"/>
              <a:gd name="connsiteY18" fmla="*/ 468977 h 606439"/>
              <a:gd name="connsiteX19" fmla="*/ 186482 w 607356"/>
              <a:gd name="connsiteY19" fmla="*/ 468977 h 606439"/>
              <a:gd name="connsiteX20" fmla="*/ 169780 w 607356"/>
              <a:gd name="connsiteY20" fmla="*/ 452144 h 606439"/>
              <a:gd name="connsiteX21" fmla="*/ 169780 w 607356"/>
              <a:gd name="connsiteY21" fmla="*/ 227400 h 606439"/>
              <a:gd name="connsiteX22" fmla="*/ 186482 w 607356"/>
              <a:gd name="connsiteY22" fmla="*/ 210567 h 606439"/>
              <a:gd name="connsiteX23" fmla="*/ 302297 w 607356"/>
              <a:gd name="connsiteY23" fmla="*/ 87642 h 606439"/>
              <a:gd name="connsiteX24" fmla="*/ 370327 w 607356"/>
              <a:gd name="connsiteY24" fmla="*/ 155579 h 606439"/>
              <a:gd name="connsiteX25" fmla="*/ 370327 w 607356"/>
              <a:gd name="connsiteY25" fmla="*/ 179236 h 606439"/>
              <a:gd name="connsiteX26" fmla="*/ 234418 w 607356"/>
              <a:gd name="connsiteY26" fmla="*/ 179236 h 606439"/>
              <a:gd name="connsiteX27" fmla="*/ 234418 w 607356"/>
              <a:gd name="connsiteY27" fmla="*/ 155579 h 606439"/>
              <a:gd name="connsiteX28" fmla="*/ 302297 w 607356"/>
              <a:gd name="connsiteY28" fmla="*/ 87642 h 606439"/>
              <a:gd name="connsiteX29" fmla="*/ 302311 w 607356"/>
              <a:gd name="connsiteY29" fmla="*/ 56247 h 606439"/>
              <a:gd name="connsiteX30" fmla="*/ 202857 w 607356"/>
              <a:gd name="connsiteY30" fmla="*/ 155552 h 606439"/>
              <a:gd name="connsiteX31" fmla="*/ 202857 w 607356"/>
              <a:gd name="connsiteY31" fmla="*/ 179203 h 606439"/>
              <a:gd name="connsiteX32" fmla="*/ 186458 w 607356"/>
              <a:gd name="connsiteY32" fmla="*/ 179203 h 606439"/>
              <a:gd name="connsiteX33" fmla="*/ 138173 w 607356"/>
              <a:gd name="connsiteY33" fmla="*/ 227415 h 606439"/>
              <a:gd name="connsiteX34" fmla="*/ 138173 w 607356"/>
              <a:gd name="connsiteY34" fmla="*/ 452100 h 606439"/>
              <a:gd name="connsiteX35" fmla="*/ 186458 w 607356"/>
              <a:gd name="connsiteY35" fmla="*/ 500312 h 606439"/>
              <a:gd name="connsiteX36" fmla="*/ 418165 w 607356"/>
              <a:gd name="connsiteY36" fmla="*/ 500312 h 606439"/>
              <a:gd name="connsiteX37" fmla="*/ 466601 w 607356"/>
              <a:gd name="connsiteY37" fmla="*/ 452100 h 606439"/>
              <a:gd name="connsiteX38" fmla="*/ 466601 w 607356"/>
              <a:gd name="connsiteY38" fmla="*/ 227415 h 606439"/>
              <a:gd name="connsiteX39" fmla="*/ 418165 w 607356"/>
              <a:gd name="connsiteY39" fmla="*/ 179203 h 606439"/>
              <a:gd name="connsiteX40" fmla="*/ 401918 w 607356"/>
              <a:gd name="connsiteY40" fmla="*/ 179203 h 606439"/>
              <a:gd name="connsiteX41" fmla="*/ 401918 w 607356"/>
              <a:gd name="connsiteY41" fmla="*/ 155552 h 606439"/>
              <a:gd name="connsiteX42" fmla="*/ 302311 w 607356"/>
              <a:gd name="connsiteY42" fmla="*/ 56247 h 606439"/>
              <a:gd name="connsiteX43" fmla="*/ 303678 w 607356"/>
              <a:gd name="connsiteY43" fmla="*/ 0 h 606439"/>
              <a:gd name="connsiteX44" fmla="*/ 607356 w 607356"/>
              <a:gd name="connsiteY44" fmla="*/ 303220 h 606439"/>
              <a:gd name="connsiteX45" fmla="*/ 303678 w 607356"/>
              <a:gd name="connsiteY45" fmla="*/ 606439 h 606439"/>
              <a:gd name="connsiteX46" fmla="*/ 0 w 607356"/>
              <a:gd name="connsiteY46" fmla="*/ 303220 h 606439"/>
              <a:gd name="connsiteX47" fmla="*/ 303678 w 607356"/>
              <a:gd name="connsiteY47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356" h="606439">
                <a:moveTo>
                  <a:pt x="186482" y="210567"/>
                </a:moveTo>
                <a:lnTo>
                  <a:pt x="202880" y="210567"/>
                </a:lnTo>
                <a:lnTo>
                  <a:pt x="202880" y="232708"/>
                </a:lnTo>
                <a:cubicBezTo>
                  <a:pt x="197869" y="237106"/>
                  <a:pt x="194529" y="243475"/>
                  <a:pt x="194529" y="250754"/>
                </a:cubicBezTo>
                <a:cubicBezTo>
                  <a:pt x="194529" y="263947"/>
                  <a:pt x="205309" y="274715"/>
                  <a:pt x="218671" y="274715"/>
                </a:cubicBezTo>
                <a:cubicBezTo>
                  <a:pt x="231880" y="274715"/>
                  <a:pt x="242661" y="263947"/>
                  <a:pt x="242661" y="250754"/>
                </a:cubicBezTo>
                <a:cubicBezTo>
                  <a:pt x="242661" y="243475"/>
                  <a:pt x="239472" y="237106"/>
                  <a:pt x="234462" y="232708"/>
                </a:cubicBezTo>
                <a:lnTo>
                  <a:pt x="234462" y="210567"/>
                </a:lnTo>
                <a:lnTo>
                  <a:pt x="370353" y="210567"/>
                </a:lnTo>
                <a:lnTo>
                  <a:pt x="370353" y="232708"/>
                </a:lnTo>
                <a:cubicBezTo>
                  <a:pt x="365343" y="237106"/>
                  <a:pt x="362003" y="243475"/>
                  <a:pt x="362003" y="250754"/>
                </a:cubicBezTo>
                <a:cubicBezTo>
                  <a:pt x="362003" y="263947"/>
                  <a:pt x="372783" y="274715"/>
                  <a:pt x="386144" y="274715"/>
                </a:cubicBezTo>
                <a:cubicBezTo>
                  <a:pt x="399354" y="274715"/>
                  <a:pt x="410134" y="263947"/>
                  <a:pt x="410134" y="250754"/>
                </a:cubicBezTo>
                <a:cubicBezTo>
                  <a:pt x="410134" y="243475"/>
                  <a:pt x="406946" y="237106"/>
                  <a:pt x="401935" y="232708"/>
                </a:cubicBezTo>
                <a:lnTo>
                  <a:pt x="401935" y="210567"/>
                </a:lnTo>
                <a:lnTo>
                  <a:pt x="418181" y="210567"/>
                </a:lnTo>
                <a:cubicBezTo>
                  <a:pt x="427443" y="210567"/>
                  <a:pt x="435035" y="218149"/>
                  <a:pt x="435035" y="227400"/>
                </a:cubicBezTo>
                <a:lnTo>
                  <a:pt x="435035" y="452144"/>
                </a:lnTo>
                <a:cubicBezTo>
                  <a:pt x="435035" y="461395"/>
                  <a:pt x="427443" y="468977"/>
                  <a:pt x="418181" y="468977"/>
                </a:cubicBezTo>
                <a:lnTo>
                  <a:pt x="186482" y="468977"/>
                </a:lnTo>
                <a:cubicBezTo>
                  <a:pt x="177220" y="468977"/>
                  <a:pt x="169780" y="461395"/>
                  <a:pt x="169780" y="452144"/>
                </a:cubicBezTo>
                <a:lnTo>
                  <a:pt x="169780" y="227400"/>
                </a:lnTo>
                <a:cubicBezTo>
                  <a:pt x="169780" y="218149"/>
                  <a:pt x="177220" y="210567"/>
                  <a:pt x="186482" y="210567"/>
                </a:cubicBezTo>
                <a:close/>
                <a:moveTo>
                  <a:pt x="302297" y="87642"/>
                </a:moveTo>
                <a:cubicBezTo>
                  <a:pt x="339804" y="87642"/>
                  <a:pt x="370327" y="118123"/>
                  <a:pt x="370327" y="155579"/>
                </a:cubicBezTo>
                <a:lnTo>
                  <a:pt x="370327" y="179236"/>
                </a:lnTo>
                <a:lnTo>
                  <a:pt x="234418" y="179236"/>
                </a:lnTo>
                <a:lnTo>
                  <a:pt x="234418" y="155579"/>
                </a:lnTo>
                <a:cubicBezTo>
                  <a:pt x="234418" y="118123"/>
                  <a:pt x="264941" y="87642"/>
                  <a:pt x="302297" y="87642"/>
                </a:cubicBezTo>
                <a:close/>
                <a:moveTo>
                  <a:pt x="302311" y="56247"/>
                </a:moveTo>
                <a:cubicBezTo>
                  <a:pt x="247498" y="56247"/>
                  <a:pt x="202857" y="100820"/>
                  <a:pt x="202857" y="155552"/>
                </a:cubicBezTo>
                <a:lnTo>
                  <a:pt x="202857" y="179203"/>
                </a:lnTo>
                <a:lnTo>
                  <a:pt x="186458" y="179203"/>
                </a:lnTo>
                <a:cubicBezTo>
                  <a:pt x="159886" y="179203"/>
                  <a:pt x="138173" y="200883"/>
                  <a:pt x="138173" y="227415"/>
                </a:cubicBezTo>
                <a:lnTo>
                  <a:pt x="138173" y="452100"/>
                </a:lnTo>
                <a:cubicBezTo>
                  <a:pt x="138173" y="478632"/>
                  <a:pt x="159886" y="500312"/>
                  <a:pt x="186458" y="500312"/>
                </a:cubicBezTo>
                <a:lnTo>
                  <a:pt x="418165" y="500312"/>
                </a:lnTo>
                <a:cubicBezTo>
                  <a:pt x="444888" y="500312"/>
                  <a:pt x="466601" y="478632"/>
                  <a:pt x="466601" y="452100"/>
                </a:cubicBezTo>
                <a:lnTo>
                  <a:pt x="466601" y="227415"/>
                </a:lnTo>
                <a:cubicBezTo>
                  <a:pt x="466601" y="200883"/>
                  <a:pt x="444888" y="179203"/>
                  <a:pt x="418165" y="179203"/>
                </a:cubicBezTo>
                <a:lnTo>
                  <a:pt x="401918" y="179203"/>
                </a:lnTo>
                <a:lnTo>
                  <a:pt x="401918" y="155552"/>
                </a:lnTo>
                <a:cubicBezTo>
                  <a:pt x="401918" y="100820"/>
                  <a:pt x="357277" y="56247"/>
                  <a:pt x="302311" y="56247"/>
                </a:cubicBezTo>
                <a:close/>
                <a:moveTo>
                  <a:pt x="303678" y="0"/>
                </a:moveTo>
                <a:cubicBezTo>
                  <a:pt x="471460" y="0"/>
                  <a:pt x="607356" y="135691"/>
                  <a:pt x="607356" y="303220"/>
                </a:cubicBezTo>
                <a:cubicBezTo>
                  <a:pt x="607356" y="470748"/>
                  <a:pt x="471460" y="606439"/>
                  <a:pt x="303678" y="606439"/>
                </a:cubicBezTo>
                <a:cubicBezTo>
                  <a:pt x="135896" y="606439"/>
                  <a:pt x="0" y="470748"/>
                  <a:pt x="0" y="303220"/>
                </a:cubicBezTo>
                <a:cubicBezTo>
                  <a:pt x="0" y="135691"/>
                  <a:pt x="135896" y="0"/>
                  <a:pt x="30367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/>
          </a:p>
        </p:txBody>
      </p:sp>
      <p:sp>
        <p:nvSpPr>
          <p:cNvPr id="100" name="任意多边形: 形状 99">
            <a:extLst>
              <a:ext uri="{FF2B5EF4-FFF2-40B4-BE49-F238E27FC236}">
                <a16:creationId xmlns:a16="http://schemas.microsoft.com/office/drawing/2014/main" id="{4F27611D-A459-4F55-B8B7-1818CF5B3936}"/>
              </a:ext>
            </a:extLst>
          </p:cNvPr>
          <p:cNvSpPr/>
          <p:nvPr/>
        </p:nvSpPr>
        <p:spPr>
          <a:xfrm rot="3320891" flipH="1">
            <a:off x="6095904" y="2704393"/>
            <a:ext cx="2078486" cy="455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2462" extrusionOk="0">
                <a:moveTo>
                  <a:pt x="0" y="12462"/>
                </a:moveTo>
                <a:cubicBezTo>
                  <a:pt x="10552" y="-9138"/>
                  <a:pt x="21600" y="3901"/>
                  <a:pt x="21600" y="3901"/>
                </a:cubicBez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400000"/>
            <a:headEnd type="triangle" w="med" len="med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pPr algn="l" defTabSz="584200">
              <a:lnSpc>
                <a:spcPct val="110000"/>
              </a:lnSpc>
              <a:spcBef>
                <a:spcPts val="3000"/>
              </a:spcBef>
              <a:defRPr sz="2000">
                <a:solidFill>
                  <a:srgbClr val="4C4C4C"/>
                </a:solidFill>
              </a:defRPr>
            </a:pPr>
            <a:endParaRPr/>
          </a:p>
        </p:txBody>
      </p:sp>
      <p:sp>
        <p:nvSpPr>
          <p:cNvPr id="101" name="任意多边形: 形状 100">
            <a:extLst>
              <a:ext uri="{FF2B5EF4-FFF2-40B4-BE49-F238E27FC236}">
                <a16:creationId xmlns:a16="http://schemas.microsoft.com/office/drawing/2014/main" id="{18686A21-91CD-4906-9F58-2BC3D00E9D7A}"/>
              </a:ext>
            </a:extLst>
          </p:cNvPr>
          <p:cNvSpPr/>
          <p:nvPr/>
        </p:nvSpPr>
        <p:spPr>
          <a:xfrm>
            <a:off x="1632006" y="4029287"/>
            <a:ext cx="354762" cy="354226"/>
          </a:xfrm>
          <a:custGeom>
            <a:avLst/>
            <a:gdLst>
              <a:gd name="connsiteX0" fmla="*/ 186482 w 607356"/>
              <a:gd name="connsiteY0" fmla="*/ 210567 h 606439"/>
              <a:gd name="connsiteX1" fmla="*/ 202880 w 607356"/>
              <a:gd name="connsiteY1" fmla="*/ 210567 h 606439"/>
              <a:gd name="connsiteX2" fmla="*/ 202880 w 607356"/>
              <a:gd name="connsiteY2" fmla="*/ 232708 h 606439"/>
              <a:gd name="connsiteX3" fmla="*/ 194529 w 607356"/>
              <a:gd name="connsiteY3" fmla="*/ 250754 h 606439"/>
              <a:gd name="connsiteX4" fmla="*/ 218671 w 607356"/>
              <a:gd name="connsiteY4" fmla="*/ 274715 h 606439"/>
              <a:gd name="connsiteX5" fmla="*/ 242661 w 607356"/>
              <a:gd name="connsiteY5" fmla="*/ 250754 h 606439"/>
              <a:gd name="connsiteX6" fmla="*/ 234462 w 607356"/>
              <a:gd name="connsiteY6" fmla="*/ 232708 h 606439"/>
              <a:gd name="connsiteX7" fmla="*/ 234462 w 607356"/>
              <a:gd name="connsiteY7" fmla="*/ 210567 h 606439"/>
              <a:gd name="connsiteX8" fmla="*/ 370353 w 607356"/>
              <a:gd name="connsiteY8" fmla="*/ 210567 h 606439"/>
              <a:gd name="connsiteX9" fmla="*/ 370353 w 607356"/>
              <a:gd name="connsiteY9" fmla="*/ 232708 h 606439"/>
              <a:gd name="connsiteX10" fmla="*/ 362003 w 607356"/>
              <a:gd name="connsiteY10" fmla="*/ 250754 h 606439"/>
              <a:gd name="connsiteX11" fmla="*/ 386144 w 607356"/>
              <a:gd name="connsiteY11" fmla="*/ 274715 h 606439"/>
              <a:gd name="connsiteX12" fmla="*/ 410134 w 607356"/>
              <a:gd name="connsiteY12" fmla="*/ 250754 h 606439"/>
              <a:gd name="connsiteX13" fmla="*/ 401935 w 607356"/>
              <a:gd name="connsiteY13" fmla="*/ 232708 h 606439"/>
              <a:gd name="connsiteX14" fmla="*/ 401935 w 607356"/>
              <a:gd name="connsiteY14" fmla="*/ 210567 h 606439"/>
              <a:gd name="connsiteX15" fmla="*/ 418181 w 607356"/>
              <a:gd name="connsiteY15" fmla="*/ 210567 h 606439"/>
              <a:gd name="connsiteX16" fmla="*/ 435035 w 607356"/>
              <a:gd name="connsiteY16" fmla="*/ 227400 h 606439"/>
              <a:gd name="connsiteX17" fmla="*/ 435035 w 607356"/>
              <a:gd name="connsiteY17" fmla="*/ 452144 h 606439"/>
              <a:gd name="connsiteX18" fmla="*/ 418181 w 607356"/>
              <a:gd name="connsiteY18" fmla="*/ 468977 h 606439"/>
              <a:gd name="connsiteX19" fmla="*/ 186482 w 607356"/>
              <a:gd name="connsiteY19" fmla="*/ 468977 h 606439"/>
              <a:gd name="connsiteX20" fmla="*/ 169780 w 607356"/>
              <a:gd name="connsiteY20" fmla="*/ 452144 h 606439"/>
              <a:gd name="connsiteX21" fmla="*/ 169780 w 607356"/>
              <a:gd name="connsiteY21" fmla="*/ 227400 h 606439"/>
              <a:gd name="connsiteX22" fmla="*/ 186482 w 607356"/>
              <a:gd name="connsiteY22" fmla="*/ 210567 h 606439"/>
              <a:gd name="connsiteX23" fmla="*/ 302297 w 607356"/>
              <a:gd name="connsiteY23" fmla="*/ 87642 h 606439"/>
              <a:gd name="connsiteX24" fmla="*/ 370327 w 607356"/>
              <a:gd name="connsiteY24" fmla="*/ 155579 h 606439"/>
              <a:gd name="connsiteX25" fmla="*/ 370327 w 607356"/>
              <a:gd name="connsiteY25" fmla="*/ 179236 h 606439"/>
              <a:gd name="connsiteX26" fmla="*/ 234418 w 607356"/>
              <a:gd name="connsiteY26" fmla="*/ 179236 h 606439"/>
              <a:gd name="connsiteX27" fmla="*/ 234418 w 607356"/>
              <a:gd name="connsiteY27" fmla="*/ 155579 h 606439"/>
              <a:gd name="connsiteX28" fmla="*/ 302297 w 607356"/>
              <a:gd name="connsiteY28" fmla="*/ 87642 h 606439"/>
              <a:gd name="connsiteX29" fmla="*/ 302311 w 607356"/>
              <a:gd name="connsiteY29" fmla="*/ 56247 h 606439"/>
              <a:gd name="connsiteX30" fmla="*/ 202857 w 607356"/>
              <a:gd name="connsiteY30" fmla="*/ 155552 h 606439"/>
              <a:gd name="connsiteX31" fmla="*/ 202857 w 607356"/>
              <a:gd name="connsiteY31" fmla="*/ 179203 h 606439"/>
              <a:gd name="connsiteX32" fmla="*/ 186458 w 607356"/>
              <a:gd name="connsiteY32" fmla="*/ 179203 h 606439"/>
              <a:gd name="connsiteX33" fmla="*/ 138173 w 607356"/>
              <a:gd name="connsiteY33" fmla="*/ 227415 h 606439"/>
              <a:gd name="connsiteX34" fmla="*/ 138173 w 607356"/>
              <a:gd name="connsiteY34" fmla="*/ 452100 h 606439"/>
              <a:gd name="connsiteX35" fmla="*/ 186458 w 607356"/>
              <a:gd name="connsiteY35" fmla="*/ 500312 h 606439"/>
              <a:gd name="connsiteX36" fmla="*/ 418165 w 607356"/>
              <a:gd name="connsiteY36" fmla="*/ 500312 h 606439"/>
              <a:gd name="connsiteX37" fmla="*/ 466601 w 607356"/>
              <a:gd name="connsiteY37" fmla="*/ 452100 h 606439"/>
              <a:gd name="connsiteX38" fmla="*/ 466601 w 607356"/>
              <a:gd name="connsiteY38" fmla="*/ 227415 h 606439"/>
              <a:gd name="connsiteX39" fmla="*/ 418165 w 607356"/>
              <a:gd name="connsiteY39" fmla="*/ 179203 h 606439"/>
              <a:gd name="connsiteX40" fmla="*/ 401918 w 607356"/>
              <a:gd name="connsiteY40" fmla="*/ 179203 h 606439"/>
              <a:gd name="connsiteX41" fmla="*/ 401918 w 607356"/>
              <a:gd name="connsiteY41" fmla="*/ 155552 h 606439"/>
              <a:gd name="connsiteX42" fmla="*/ 302311 w 607356"/>
              <a:gd name="connsiteY42" fmla="*/ 56247 h 606439"/>
              <a:gd name="connsiteX43" fmla="*/ 303678 w 607356"/>
              <a:gd name="connsiteY43" fmla="*/ 0 h 606439"/>
              <a:gd name="connsiteX44" fmla="*/ 607356 w 607356"/>
              <a:gd name="connsiteY44" fmla="*/ 303220 h 606439"/>
              <a:gd name="connsiteX45" fmla="*/ 303678 w 607356"/>
              <a:gd name="connsiteY45" fmla="*/ 606439 h 606439"/>
              <a:gd name="connsiteX46" fmla="*/ 0 w 607356"/>
              <a:gd name="connsiteY46" fmla="*/ 303220 h 606439"/>
              <a:gd name="connsiteX47" fmla="*/ 303678 w 607356"/>
              <a:gd name="connsiteY47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356" h="606439">
                <a:moveTo>
                  <a:pt x="186482" y="210567"/>
                </a:moveTo>
                <a:lnTo>
                  <a:pt x="202880" y="210567"/>
                </a:lnTo>
                <a:lnTo>
                  <a:pt x="202880" y="232708"/>
                </a:lnTo>
                <a:cubicBezTo>
                  <a:pt x="197869" y="237106"/>
                  <a:pt x="194529" y="243475"/>
                  <a:pt x="194529" y="250754"/>
                </a:cubicBezTo>
                <a:cubicBezTo>
                  <a:pt x="194529" y="263947"/>
                  <a:pt x="205309" y="274715"/>
                  <a:pt x="218671" y="274715"/>
                </a:cubicBezTo>
                <a:cubicBezTo>
                  <a:pt x="231880" y="274715"/>
                  <a:pt x="242661" y="263947"/>
                  <a:pt x="242661" y="250754"/>
                </a:cubicBezTo>
                <a:cubicBezTo>
                  <a:pt x="242661" y="243475"/>
                  <a:pt x="239472" y="237106"/>
                  <a:pt x="234462" y="232708"/>
                </a:cubicBezTo>
                <a:lnTo>
                  <a:pt x="234462" y="210567"/>
                </a:lnTo>
                <a:lnTo>
                  <a:pt x="370353" y="210567"/>
                </a:lnTo>
                <a:lnTo>
                  <a:pt x="370353" y="232708"/>
                </a:lnTo>
                <a:cubicBezTo>
                  <a:pt x="365343" y="237106"/>
                  <a:pt x="362003" y="243475"/>
                  <a:pt x="362003" y="250754"/>
                </a:cubicBezTo>
                <a:cubicBezTo>
                  <a:pt x="362003" y="263947"/>
                  <a:pt x="372783" y="274715"/>
                  <a:pt x="386144" y="274715"/>
                </a:cubicBezTo>
                <a:cubicBezTo>
                  <a:pt x="399354" y="274715"/>
                  <a:pt x="410134" y="263947"/>
                  <a:pt x="410134" y="250754"/>
                </a:cubicBezTo>
                <a:cubicBezTo>
                  <a:pt x="410134" y="243475"/>
                  <a:pt x="406946" y="237106"/>
                  <a:pt x="401935" y="232708"/>
                </a:cubicBezTo>
                <a:lnTo>
                  <a:pt x="401935" y="210567"/>
                </a:lnTo>
                <a:lnTo>
                  <a:pt x="418181" y="210567"/>
                </a:lnTo>
                <a:cubicBezTo>
                  <a:pt x="427443" y="210567"/>
                  <a:pt x="435035" y="218149"/>
                  <a:pt x="435035" y="227400"/>
                </a:cubicBezTo>
                <a:lnTo>
                  <a:pt x="435035" y="452144"/>
                </a:lnTo>
                <a:cubicBezTo>
                  <a:pt x="435035" y="461395"/>
                  <a:pt x="427443" y="468977"/>
                  <a:pt x="418181" y="468977"/>
                </a:cubicBezTo>
                <a:lnTo>
                  <a:pt x="186482" y="468977"/>
                </a:lnTo>
                <a:cubicBezTo>
                  <a:pt x="177220" y="468977"/>
                  <a:pt x="169780" y="461395"/>
                  <a:pt x="169780" y="452144"/>
                </a:cubicBezTo>
                <a:lnTo>
                  <a:pt x="169780" y="227400"/>
                </a:lnTo>
                <a:cubicBezTo>
                  <a:pt x="169780" y="218149"/>
                  <a:pt x="177220" y="210567"/>
                  <a:pt x="186482" y="210567"/>
                </a:cubicBezTo>
                <a:close/>
                <a:moveTo>
                  <a:pt x="302297" y="87642"/>
                </a:moveTo>
                <a:cubicBezTo>
                  <a:pt x="339804" y="87642"/>
                  <a:pt x="370327" y="118123"/>
                  <a:pt x="370327" y="155579"/>
                </a:cubicBezTo>
                <a:lnTo>
                  <a:pt x="370327" y="179236"/>
                </a:lnTo>
                <a:lnTo>
                  <a:pt x="234418" y="179236"/>
                </a:lnTo>
                <a:lnTo>
                  <a:pt x="234418" y="155579"/>
                </a:lnTo>
                <a:cubicBezTo>
                  <a:pt x="234418" y="118123"/>
                  <a:pt x="264941" y="87642"/>
                  <a:pt x="302297" y="87642"/>
                </a:cubicBezTo>
                <a:close/>
                <a:moveTo>
                  <a:pt x="302311" y="56247"/>
                </a:moveTo>
                <a:cubicBezTo>
                  <a:pt x="247498" y="56247"/>
                  <a:pt x="202857" y="100820"/>
                  <a:pt x="202857" y="155552"/>
                </a:cubicBezTo>
                <a:lnTo>
                  <a:pt x="202857" y="179203"/>
                </a:lnTo>
                <a:lnTo>
                  <a:pt x="186458" y="179203"/>
                </a:lnTo>
                <a:cubicBezTo>
                  <a:pt x="159886" y="179203"/>
                  <a:pt x="138173" y="200883"/>
                  <a:pt x="138173" y="227415"/>
                </a:cubicBezTo>
                <a:lnTo>
                  <a:pt x="138173" y="452100"/>
                </a:lnTo>
                <a:cubicBezTo>
                  <a:pt x="138173" y="478632"/>
                  <a:pt x="159886" y="500312"/>
                  <a:pt x="186458" y="500312"/>
                </a:cubicBezTo>
                <a:lnTo>
                  <a:pt x="418165" y="500312"/>
                </a:lnTo>
                <a:cubicBezTo>
                  <a:pt x="444888" y="500312"/>
                  <a:pt x="466601" y="478632"/>
                  <a:pt x="466601" y="452100"/>
                </a:cubicBezTo>
                <a:lnTo>
                  <a:pt x="466601" y="227415"/>
                </a:lnTo>
                <a:cubicBezTo>
                  <a:pt x="466601" y="200883"/>
                  <a:pt x="444888" y="179203"/>
                  <a:pt x="418165" y="179203"/>
                </a:cubicBezTo>
                <a:lnTo>
                  <a:pt x="401918" y="179203"/>
                </a:lnTo>
                <a:lnTo>
                  <a:pt x="401918" y="155552"/>
                </a:lnTo>
                <a:cubicBezTo>
                  <a:pt x="401918" y="100820"/>
                  <a:pt x="357277" y="56247"/>
                  <a:pt x="302311" y="56247"/>
                </a:cubicBezTo>
                <a:close/>
                <a:moveTo>
                  <a:pt x="303678" y="0"/>
                </a:moveTo>
                <a:cubicBezTo>
                  <a:pt x="471460" y="0"/>
                  <a:pt x="607356" y="135691"/>
                  <a:pt x="607356" y="303220"/>
                </a:cubicBezTo>
                <a:cubicBezTo>
                  <a:pt x="607356" y="470748"/>
                  <a:pt x="471460" y="606439"/>
                  <a:pt x="303678" y="606439"/>
                </a:cubicBezTo>
                <a:cubicBezTo>
                  <a:pt x="135896" y="606439"/>
                  <a:pt x="0" y="470748"/>
                  <a:pt x="0" y="303220"/>
                </a:cubicBezTo>
                <a:cubicBezTo>
                  <a:pt x="0" y="135691"/>
                  <a:pt x="135896" y="0"/>
                  <a:pt x="30367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/>
          </a:p>
        </p:txBody>
      </p:sp>
      <p:sp>
        <p:nvSpPr>
          <p:cNvPr id="102" name="任意多边形: 形状 101">
            <a:extLst>
              <a:ext uri="{FF2B5EF4-FFF2-40B4-BE49-F238E27FC236}">
                <a16:creationId xmlns:a16="http://schemas.microsoft.com/office/drawing/2014/main" id="{78093A15-94D4-4F90-A4CA-02F0FA81EC97}"/>
              </a:ext>
            </a:extLst>
          </p:cNvPr>
          <p:cNvSpPr/>
          <p:nvPr/>
        </p:nvSpPr>
        <p:spPr>
          <a:xfrm rot="20160000">
            <a:off x="1453094" y="2310999"/>
            <a:ext cx="4258941" cy="77302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0215" extrusionOk="0">
                <a:moveTo>
                  <a:pt x="0" y="10215"/>
                </a:moveTo>
                <a:cubicBezTo>
                  <a:pt x="10656" y="-11385"/>
                  <a:pt x="21600" y="7982"/>
                  <a:pt x="21600" y="7982"/>
                </a:cubicBez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400000"/>
            <a:headEnd type="triangle" w="med" len="med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pPr algn="l" defTabSz="584200">
              <a:lnSpc>
                <a:spcPct val="110000"/>
              </a:lnSpc>
              <a:spcBef>
                <a:spcPts val="3000"/>
              </a:spcBef>
              <a:defRPr sz="2000">
                <a:solidFill>
                  <a:srgbClr val="4C4C4C"/>
                </a:solidFill>
              </a:defRPr>
            </a:pPr>
            <a:endParaRPr/>
          </a:p>
        </p:txBody>
      </p:sp>
      <p:sp>
        <p:nvSpPr>
          <p:cNvPr id="103" name="任意多边形: 形状 102">
            <a:extLst>
              <a:ext uri="{FF2B5EF4-FFF2-40B4-BE49-F238E27FC236}">
                <a16:creationId xmlns:a16="http://schemas.microsoft.com/office/drawing/2014/main" id="{9D98DA9E-46F4-4002-8CA4-87EFBAF1A02B}"/>
              </a:ext>
            </a:extLst>
          </p:cNvPr>
          <p:cNvSpPr/>
          <p:nvPr/>
        </p:nvSpPr>
        <p:spPr>
          <a:xfrm>
            <a:off x="3060876" y="4029287"/>
            <a:ext cx="354762" cy="354226"/>
          </a:xfrm>
          <a:custGeom>
            <a:avLst/>
            <a:gdLst>
              <a:gd name="connsiteX0" fmla="*/ 186482 w 607356"/>
              <a:gd name="connsiteY0" fmla="*/ 210567 h 606439"/>
              <a:gd name="connsiteX1" fmla="*/ 202880 w 607356"/>
              <a:gd name="connsiteY1" fmla="*/ 210567 h 606439"/>
              <a:gd name="connsiteX2" fmla="*/ 202880 w 607356"/>
              <a:gd name="connsiteY2" fmla="*/ 232708 h 606439"/>
              <a:gd name="connsiteX3" fmla="*/ 194529 w 607356"/>
              <a:gd name="connsiteY3" fmla="*/ 250754 h 606439"/>
              <a:gd name="connsiteX4" fmla="*/ 218671 w 607356"/>
              <a:gd name="connsiteY4" fmla="*/ 274715 h 606439"/>
              <a:gd name="connsiteX5" fmla="*/ 242661 w 607356"/>
              <a:gd name="connsiteY5" fmla="*/ 250754 h 606439"/>
              <a:gd name="connsiteX6" fmla="*/ 234462 w 607356"/>
              <a:gd name="connsiteY6" fmla="*/ 232708 h 606439"/>
              <a:gd name="connsiteX7" fmla="*/ 234462 w 607356"/>
              <a:gd name="connsiteY7" fmla="*/ 210567 h 606439"/>
              <a:gd name="connsiteX8" fmla="*/ 370353 w 607356"/>
              <a:gd name="connsiteY8" fmla="*/ 210567 h 606439"/>
              <a:gd name="connsiteX9" fmla="*/ 370353 w 607356"/>
              <a:gd name="connsiteY9" fmla="*/ 232708 h 606439"/>
              <a:gd name="connsiteX10" fmla="*/ 362003 w 607356"/>
              <a:gd name="connsiteY10" fmla="*/ 250754 h 606439"/>
              <a:gd name="connsiteX11" fmla="*/ 386144 w 607356"/>
              <a:gd name="connsiteY11" fmla="*/ 274715 h 606439"/>
              <a:gd name="connsiteX12" fmla="*/ 410134 w 607356"/>
              <a:gd name="connsiteY12" fmla="*/ 250754 h 606439"/>
              <a:gd name="connsiteX13" fmla="*/ 401935 w 607356"/>
              <a:gd name="connsiteY13" fmla="*/ 232708 h 606439"/>
              <a:gd name="connsiteX14" fmla="*/ 401935 w 607356"/>
              <a:gd name="connsiteY14" fmla="*/ 210567 h 606439"/>
              <a:gd name="connsiteX15" fmla="*/ 418181 w 607356"/>
              <a:gd name="connsiteY15" fmla="*/ 210567 h 606439"/>
              <a:gd name="connsiteX16" fmla="*/ 435035 w 607356"/>
              <a:gd name="connsiteY16" fmla="*/ 227400 h 606439"/>
              <a:gd name="connsiteX17" fmla="*/ 435035 w 607356"/>
              <a:gd name="connsiteY17" fmla="*/ 452144 h 606439"/>
              <a:gd name="connsiteX18" fmla="*/ 418181 w 607356"/>
              <a:gd name="connsiteY18" fmla="*/ 468977 h 606439"/>
              <a:gd name="connsiteX19" fmla="*/ 186482 w 607356"/>
              <a:gd name="connsiteY19" fmla="*/ 468977 h 606439"/>
              <a:gd name="connsiteX20" fmla="*/ 169780 w 607356"/>
              <a:gd name="connsiteY20" fmla="*/ 452144 h 606439"/>
              <a:gd name="connsiteX21" fmla="*/ 169780 w 607356"/>
              <a:gd name="connsiteY21" fmla="*/ 227400 h 606439"/>
              <a:gd name="connsiteX22" fmla="*/ 186482 w 607356"/>
              <a:gd name="connsiteY22" fmla="*/ 210567 h 606439"/>
              <a:gd name="connsiteX23" fmla="*/ 302297 w 607356"/>
              <a:gd name="connsiteY23" fmla="*/ 87642 h 606439"/>
              <a:gd name="connsiteX24" fmla="*/ 370327 w 607356"/>
              <a:gd name="connsiteY24" fmla="*/ 155579 h 606439"/>
              <a:gd name="connsiteX25" fmla="*/ 370327 w 607356"/>
              <a:gd name="connsiteY25" fmla="*/ 179236 h 606439"/>
              <a:gd name="connsiteX26" fmla="*/ 234418 w 607356"/>
              <a:gd name="connsiteY26" fmla="*/ 179236 h 606439"/>
              <a:gd name="connsiteX27" fmla="*/ 234418 w 607356"/>
              <a:gd name="connsiteY27" fmla="*/ 155579 h 606439"/>
              <a:gd name="connsiteX28" fmla="*/ 302297 w 607356"/>
              <a:gd name="connsiteY28" fmla="*/ 87642 h 606439"/>
              <a:gd name="connsiteX29" fmla="*/ 302311 w 607356"/>
              <a:gd name="connsiteY29" fmla="*/ 56247 h 606439"/>
              <a:gd name="connsiteX30" fmla="*/ 202857 w 607356"/>
              <a:gd name="connsiteY30" fmla="*/ 155552 h 606439"/>
              <a:gd name="connsiteX31" fmla="*/ 202857 w 607356"/>
              <a:gd name="connsiteY31" fmla="*/ 179203 h 606439"/>
              <a:gd name="connsiteX32" fmla="*/ 186458 w 607356"/>
              <a:gd name="connsiteY32" fmla="*/ 179203 h 606439"/>
              <a:gd name="connsiteX33" fmla="*/ 138173 w 607356"/>
              <a:gd name="connsiteY33" fmla="*/ 227415 h 606439"/>
              <a:gd name="connsiteX34" fmla="*/ 138173 w 607356"/>
              <a:gd name="connsiteY34" fmla="*/ 452100 h 606439"/>
              <a:gd name="connsiteX35" fmla="*/ 186458 w 607356"/>
              <a:gd name="connsiteY35" fmla="*/ 500312 h 606439"/>
              <a:gd name="connsiteX36" fmla="*/ 418165 w 607356"/>
              <a:gd name="connsiteY36" fmla="*/ 500312 h 606439"/>
              <a:gd name="connsiteX37" fmla="*/ 466601 w 607356"/>
              <a:gd name="connsiteY37" fmla="*/ 452100 h 606439"/>
              <a:gd name="connsiteX38" fmla="*/ 466601 w 607356"/>
              <a:gd name="connsiteY38" fmla="*/ 227415 h 606439"/>
              <a:gd name="connsiteX39" fmla="*/ 418165 w 607356"/>
              <a:gd name="connsiteY39" fmla="*/ 179203 h 606439"/>
              <a:gd name="connsiteX40" fmla="*/ 401918 w 607356"/>
              <a:gd name="connsiteY40" fmla="*/ 179203 h 606439"/>
              <a:gd name="connsiteX41" fmla="*/ 401918 w 607356"/>
              <a:gd name="connsiteY41" fmla="*/ 155552 h 606439"/>
              <a:gd name="connsiteX42" fmla="*/ 302311 w 607356"/>
              <a:gd name="connsiteY42" fmla="*/ 56247 h 606439"/>
              <a:gd name="connsiteX43" fmla="*/ 303678 w 607356"/>
              <a:gd name="connsiteY43" fmla="*/ 0 h 606439"/>
              <a:gd name="connsiteX44" fmla="*/ 607356 w 607356"/>
              <a:gd name="connsiteY44" fmla="*/ 303220 h 606439"/>
              <a:gd name="connsiteX45" fmla="*/ 303678 w 607356"/>
              <a:gd name="connsiteY45" fmla="*/ 606439 h 606439"/>
              <a:gd name="connsiteX46" fmla="*/ 0 w 607356"/>
              <a:gd name="connsiteY46" fmla="*/ 303220 h 606439"/>
              <a:gd name="connsiteX47" fmla="*/ 303678 w 607356"/>
              <a:gd name="connsiteY47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356" h="606439">
                <a:moveTo>
                  <a:pt x="186482" y="210567"/>
                </a:moveTo>
                <a:lnTo>
                  <a:pt x="202880" y="210567"/>
                </a:lnTo>
                <a:lnTo>
                  <a:pt x="202880" y="232708"/>
                </a:lnTo>
                <a:cubicBezTo>
                  <a:pt x="197869" y="237106"/>
                  <a:pt x="194529" y="243475"/>
                  <a:pt x="194529" y="250754"/>
                </a:cubicBezTo>
                <a:cubicBezTo>
                  <a:pt x="194529" y="263947"/>
                  <a:pt x="205309" y="274715"/>
                  <a:pt x="218671" y="274715"/>
                </a:cubicBezTo>
                <a:cubicBezTo>
                  <a:pt x="231880" y="274715"/>
                  <a:pt x="242661" y="263947"/>
                  <a:pt x="242661" y="250754"/>
                </a:cubicBezTo>
                <a:cubicBezTo>
                  <a:pt x="242661" y="243475"/>
                  <a:pt x="239472" y="237106"/>
                  <a:pt x="234462" y="232708"/>
                </a:cubicBezTo>
                <a:lnTo>
                  <a:pt x="234462" y="210567"/>
                </a:lnTo>
                <a:lnTo>
                  <a:pt x="370353" y="210567"/>
                </a:lnTo>
                <a:lnTo>
                  <a:pt x="370353" y="232708"/>
                </a:lnTo>
                <a:cubicBezTo>
                  <a:pt x="365343" y="237106"/>
                  <a:pt x="362003" y="243475"/>
                  <a:pt x="362003" y="250754"/>
                </a:cubicBezTo>
                <a:cubicBezTo>
                  <a:pt x="362003" y="263947"/>
                  <a:pt x="372783" y="274715"/>
                  <a:pt x="386144" y="274715"/>
                </a:cubicBezTo>
                <a:cubicBezTo>
                  <a:pt x="399354" y="274715"/>
                  <a:pt x="410134" y="263947"/>
                  <a:pt x="410134" y="250754"/>
                </a:cubicBezTo>
                <a:cubicBezTo>
                  <a:pt x="410134" y="243475"/>
                  <a:pt x="406946" y="237106"/>
                  <a:pt x="401935" y="232708"/>
                </a:cubicBezTo>
                <a:lnTo>
                  <a:pt x="401935" y="210567"/>
                </a:lnTo>
                <a:lnTo>
                  <a:pt x="418181" y="210567"/>
                </a:lnTo>
                <a:cubicBezTo>
                  <a:pt x="427443" y="210567"/>
                  <a:pt x="435035" y="218149"/>
                  <a:pt x="435035" y="227400"/>
                </a:cubicBezTo>
                <a:lnTo>
                  <a:pt x="435035" y="452144"/>
                </a:lnTo>
                <a:cubicBezTo>
                  <a:pt x="435035" y="461395"/>
                  <a:pt x="427443" y="468977"/>
                  <a:pt x="418181" y="468977"/>
                </a:cubicBezTo>
                <a:lnTo>
                  <a:pt x="186482" y="468977"/>
                </a:lnTo>
                <a:cubicBezTo>
                  <a:pt x="177220" y="468977"/>
                  <a:pt x="169780" y="461395"/>
                  <a:pt x="169780" y="452144"/>
                </a:cubicBezTo>
                <a:lnTo>
                  <a:pt x="169780" y="227400"/>
                </a:lnTo>
                <a:cubicBezTo>
                  <a:pt x="169780" y="218149"/>
                  <a:pt x="177220" y="210567"/>
                  <a:pt x="186482" y="210567"/>
                </a:cubicBezTo>
                <a:close/>
                <a:moveTo>
                  <a:pt x="302297" y="87642"/>
                </a:moveTo>
                <a:cubicBezTo>
                  <a:pt x="339804" y="87642"/>
                  <a:pt x="370327" y="118123"/>
                  <a:pt x="370327" y="155579"/>
                </a:cubicBezTo>
                <a:lnTo>
                  <a:pt x="370327" y="179236"/>
                </a:lnTo>
                <a:lnTo>
                  <a:pt x="234418" y="179236"/>
                </a:lnTo>
                <a:lnTo>
                  <a:pt x="234418" y="155579"/>
                </a:lnTo>
                <a:cubicBezTo>
                  <a:pt x="234418" y="118123"/>
                  <a:pt x="264941" y="87642"/>
                  <a:pt x="302297" y="87642"/>
                </a:cubicBezTo>
                <a:close/>
                <a:moveTo>
                  <a:pt x="302311" y="56247"/>
                </a:moveTo>
                <a:cubicBezTo>
                  <a:pt x="247498" y="56247"/>
                  <a:pt x="202857" y="100820"/>
                  <a:pt x="202857" y="155552"/>
                </a:cubicBezTo>
                <a:lnTo>
                  <a:pt x="202857" y="179203"/>
                </a:lnTo>
                <a:lnTo>
                  <a:pt x="186458" y="179203"/>
                </a:lnTo>
                <a:cubicBezTo>
                  <a:pt x="159886" y="179203"/>
                  <a:pt x="138173" y="200883"/>
                  <a:pt x="138173" y="227415"/>
                </a:cubicBezTo>
                <a:lnTo>
                  <a:pt x="138173" y="452100"/>
                </a:lnTo>
                <a:cubicBezTo>
                  <a:pt x="138173" y="478632"/>
                  <a:pt x="159886" y="500312"/>
                  <a:pt x="186458" y="500312"/>
                </a:cubicBezTo>
                <a:lnTo>
                  <a:pt x="418165" y="500312"/>
                </a:lnTo>
                <a:cubicBezTo>
                  <a:pt x="444888" y="500312"/>
                  <a:pt x="466601" y="478632"/>
                  <a:pt x="466601" y="452100"/>
                </a:cubicBezTo>
                <a:lnTo>
                  <a:pt x="466601" y="227415"/>
                </a:lnTo>
                <a:cubicBezTo>
                  <a:pt x="466601" y="200883"/>
                  <a:pt x="444888" y="179203"/>
                  <a:pt x="418165" y="179203"/>
                </a:cubicBezTo>
                <a:lnTo>
                  <a:pt x="401918" y="179203"/>
                </a:lnTo>
                <a:lnTo>
                  <a:pt x="401918" y="155552"/>
                </a:lnTo>
                <a:cubicBezTo>
                  <a:pt x="401918" y="100820"/>
                  <a:pt x="357277" y="56247"/>
                  <a:pt x="302311" y="56247"/>
                </a:cubicBezTo>
                <a:close/>
                <a:moveTo>
                  <a:pt x="303678" y="0"/>
                </a:moveTo>
                <a:cubicBezTo>
                  <a:pt x="471460" y="0"/>
                  <a:pt x="607356" y="135691"/>
                  <a:pt x="607356" y="303220"/>
                </a:cubicBezTo>
                <a:cubicBezTo>
                  <a:pt x="607356" y="470748"/>
                  <a:pt x="471460" y="606439"/>
                  <a:pt x="303678" y="606439"/>
                </a:cubicBezTo>
                <a:cubicBezTo>
                  <a:pt x="135896" y="606439"/>
                  <a:pt x="0" y="470748"/>
                  <a:pt x="0" y="303220"/>
                </a:cubicBezTo>
                <a:cubicBezTo>
                  <a:pt x="0" y="135691"/>
                  <a:pt x="135896" y="0"/>
                  <a:pt x="30367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/>
          </a:p>
        </p:txBody>
      </p:sp>
      <p:sp>
        <p:nvSpPr>
          <p:cNvPr id="104" name="任意多边形: 形状 103">
            <a:extLst>
              <a:ext uri="{FF2B5EF4-FFF2-40B4-BE49-F238E27FC236}">
                <a16:creationId xmlns:a16="http://schemas.microsoft.com/office/drawing/2014/main" id="{D5C16B62-9817-4D84-BD05-ADDCC2D9A8AF}"/>
              </a:ext>
            </a:extLst>
          </p:cNvPr>
          <p:cNvSpPr/>
          <p:nvPr/>
        </p:nvSpPr>
        <p:spPr>
          <a:xfrm rot="19377999">
            <a:off x="2762434" y="2525399"/>
            <a:ext cx="2996390" cy="54386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0215" extrusionOk="0">
                <a:moveTo>
                  <a:pt x="0" y="10215"/>
                </a:moveTo>
                <a:cubicBezTo>
                  <a:pt x="10656" y="-11385"/>
                  <a:pt x="21600" y="7982"/>
                  <a:pt x="21600" y="7982"/>
                </a:cubicBez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400000"/>
            <a:headEnd type="triangle" w="med" len="med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pPr algn="l" defTabSz="584200">
              <a:lnSpc>
                <a:spcPct val="110000"/>
              </a:lnSpc>
              <a:spcBef>
                <a:spcPts val="3000"/>
              </a:spcBef>
              <a:defRPr sz="2000">
                <a:solidFill>
                  <a:srgbClr val="4C4C4C"/>
                </a:solidFill>
              </a:defRPr>
            </a:pPr>
            <a:endParaRPr/>
          </a:p>
        </p:txBody>
      </p:sp>
      <p:sp>
        <p:nvSpPr>
          <p:cNvPr id="105" name="任意多边形: 形状 104">
            <a:extLst>
              <a:ext uri="{FF2B5EF4-FFF2-40B4-BE49-F238E27FC236}">
                <a16:creationId xmlns:a16="http://schemas.microsoft.com/office/drawing/2014/main" id="{A04D36D4-9302-4094-BAB1-C14E0FD68C9B}"/>
              </a:ext>
            </a:extLst>
          </p:cNvPr>
          <p:cNvSpPr/>
          <p:nvPr/>
        </p:nvSpPr>
        <p:spPr>
          <a:xfrm>
            <a:off x="4489747" y="4029287"/>
            <a:ext cx="354762" cy="354226"/>
          </a:xfrm>
          <a:custGeom>
            <a:avLst/>
            <a:gdLst>
              <a:gd name="connsiteX0" fmla="*/ 186482 w 607356"/>
              <a:gd name="connsiteY0" fmla="*/ 210567 h 606439"/>
              <a:gd name="connsiteX1" fmla="*/ 202880 w 607356"/>
              <a:gd name="connsiteY1" fmla="*/ 210567 h 606439"/>
              <a:gd name="connsiteX2" fmla="*/ 202880 w 607356"/>
              <a:gd name="connsiteY2" fmla="*/ 232708 h 606439"/>
              <a:gd name="connsiteX3" fmla="*/ 194529 w 607356"/>
              <a:gd name="connsiteY3" fmla="*/ 250754 h 606439"/>
              <a:gd name="connsiteX4" fmla="*/ 218671 w 607356"/>
              <a:gd name="connsiteY4" fmla="*/ 274715 h 606439"/>
              <a:gd name="connsiteX5" fmla="*/ 242661 w 607356"/>
              <a:gd name="connsiteY5" fmla="*/ 250754 h 606439"/>
              <a:gd name="connsiteX6" fmla="*/ 234462 w 607356"/>
              <a:gd name="connsiteY6" fmla="*/ 232708 h 606439"/>
              <a:gd name="connsiteX7" fmla="*/ 234462 w 607356"/>
              <a:gd name="connsiteY7" fmla="*/ 210567 h 606439"/>
              <a:gd name="connsiteX8" fmla="*/ 370353 w 607356"/>
              <a:gd name="connsiteY8" fmla="*/ 210567 h 606439"/>
              <a:gd name="connsiteX9" fmla="*/ 370353 w 607356"/>
              <a:gd name="connsiteY9" fmla="*/ 232708 h 606439"/>
              <a:gd name="connsiteX10" fmla="*/ 362003 w 607356"/>
              <a:gd name="connsiteY10" fmla="*/ 250754 h 606439"/>
              <a:gd name="connsiteX11" fmla="*/ 386144 w 607356"/>
              <a:gd name="connsiteY11" fmla="*/ 274715 h 606439"/>
              <a:gd name="connsiteX12" fmla="*/ 410134 w 607356"/>
              <a:gd name="connsiteY12" fmla="*/ 250754 h 606439"/>
              <a:gd name="connsiteX13" fmla="*/ 401935 w 607356"/>
              <a:gd name="connsiteY13" fmla="*/ 232708 h 606439"/>
              <a:gd name="connsiteX14" fmla="*/ 401935 w 607356"/>
              <a:gd name="connsiteY14" fmla="*/ 210567 h 606439"/>
              <a:gd name="connsiteX15" fmla="*/ 418181 w 607356"/>
              <a:gd name="connsiteY15" fmla="*/ 210567 h 606439"/>
              <a:gd name="connsiteX16" fmla="*/ 435035 w 607356"/>
              <a:gd name="connsiteY16" fmla="*/ 227400 h 606439"/>
              <a:gd name="connsiteX17" fmla="*/ 435035 w 607356"/>
              <a:gd name="connsiteY17" fmla="*/ 452144 h 606439"/>
              <a:gd name="connsiteX18" fmla="*/ 418181 w 607356"/>
              <a:gd name="connsiteY18" fmla="*/ 468977 h 606439"/>
              <a:gd name="connsiteX19" fmla="*/ 186482 w 607356"/>
              <a:gd name="connsiteY19" fmla="*/ 468977 h 606439"/>
              <a:gd name="connsiteX20" fmla="*/ 169780 w 607356"/>
              <a:gd name="connsiteY20" fmla="*/ 452144 h 606439"/>
              <a:gd name="connsiteX21" fmla="*/ 169780 w 607356"/>
              <a:gd name="connsiteY21" fmla="*/ 227400 h 606439"/>
              <a:gd name="connsiteX22" fmla="*/ 186482 w 607356"/>
              <a:gd name="connsiteY22" fmla="*/ 210567 h 606439"/>
              <a:gd name="connsiteX23" fmla="*/ 302297 w 607356"/>
              <a:gd name="connsiteY23" fmla="*/ 87642 h 606439"/>
              <a:gd name="connsiteX24" fmla="*/ 370327 w 607356"/>
              <a:gd name="connsiteY24" fmla="*/ 155579 h 606439"/>
              <a:gd name="connsiteX25" fmla="*/ 370327 w 607356"/>
              <a:gd name="connsiteY25" fmla="*/ 179236 h 606439"/>
              <a:gd name="connsiteX26" fmla="*/ 234418 w 607356"/>
              <a:gd name="connsiteY26" fmla="*/ 179236 h 606439"/>
              <a:gd name="connsiteX27" fmla="*/ 234418 w 607356"/>
              <a:gd name="connsiteY27" fmla="*/ 155579 h 606439"/>
              <a:gd name="connsiteX28" fmla="*/ 302297 w 607356"/>
              <a:gd name="connsiteY28" fmla="*/ 87642 h 606439"/>
              <a:gd name="connsiteX29" fmla="*/ 302311 w 607356"/>
              <a:gd name="connsiteY29" fmla="*/ 56247 h 606439"/>
              <a:gd name="connsiteX30" fmla="*/ 202857 w 607356"/>
              <a:gd name="connsiteY30" fmla="*/ 155552 h 606439"/>
              <a:gd name="connsiteX31" fmla="*/ 202857 w 607356"/>
              <a:gd name="connsiteY31" fmla="*/ 179203 h 606439"/>
              <a:gd name="connsiteX32" fmla="*/ 186458 w 607356"/>
              <a:gd name="connsiteY32" fmla="*/ 179203 h 606439"/>
              <a:gd name="connsiteX33" fmla="*/ 138173 w 607356"/>
              <a:gd name="connsiteY33" fmla="*/ 227415 h 606439"/>
              <a:gd name="connsiteX34" fmla="*/ 138173 w 607356"/>
              <a:gd name="connsiteY34" fmla="*/ 452100 h 606439"/>
              <a:gd name="connsiteX35" fmla="*/ 186458 w 607356"/>
              <a:gd name="connsiteY35" fmla="*/ 500312 h 606439"/>
              <a:gd name="connsiteX36" fmla="*/ 418165 w 607356"/>
              <a:gd name="connsiteY36" fmla="*/ 500312 h 606439"/>
              <a:gd name="connsiteX37" fmla="*/ 466601 w 607356"/>
              <a:gd name="connsiteY37" fmla="*/ 452100 h 606439"/>
              <a:gd name="connsiteX38" fmla="*/ 466601 w 607356"/>
              <a:gd name="connsiteY38" fmla="*/ 227415 h 606439"/>
              <a:gd name="connsiteX39" fmla="*/ 418165 w 607356"/>
              <a:gd name="connsiteY39" fmla="*/ 179203 h 606439"/>
              <a:gd name="connsiteX40" fmla="*/ 401918 w 607356"/>
              <a:gd name="connsiteY40" fmla="*/ 179203 h 606439"/>
              <a:gd name="connsiteX41" fmla="*/ 401918 w 607356"/>
              <a:gd name="connsiteY41" fmla="*/ 155552 h 606439"/>
              <a:gd name="connsiteX42" fmla="*/ 302311 w 607356"/>
              <a:gd name="connsiteY42" fmla="*/ 56247 h 606439"/>
              <a:gd name="connsiteX43" fmla="*/ 303678 w 607356"/>
              <a:gd name="connsiteY43" fmla="*/ 0 h 606439"/>
              <a:gd name="connsiteX44" fmla="*/ 607356 w 607356"/>
              <a:gd name="connsiteY44" fmla="*/ 303220 h 606439"/>
              <a:gd name="connsiteX45" fmla="*/ 303678 w 607356"/>
              <a:gd name="connsiteY45" fmla="*/ 606439 h 606439"/>
              <a:gd name="connsiteX46" fmla="*/ 0 w 607356"/>
              <a:gd name="connsiteY46" fmla="*/ 303220 h 606439"/>
              <a:gd name="connsiteX47" fmla="*/ 303678 w 607356"/>
              <a:gd name="connsiteY47" fmla="*/ 0 h 606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7356" h="606439">
                <a:moveTo>
                  <a:pt x="186482" y="210567"/>
                </a:moveTo>
                <a:lnTo>
                  <a:pt x="202880" y="210567"/>
                </a:lnTo>
                <a:lnTo>
                  <a:pt x="202880" y="232708"/>
                </a:lnTo>
                <a:cubicBezTo>
                  <a:pt x="197869" y="237106"/>
                  <a:pt x="194529" y="243475"/>
                  <a:pt x="194529" y="250754"/>
                </a:cubicBezTo>
                <a:cubicBezTo>
                  <a:pt x="194529" y="263947"/>
                  <a:pt x="205309" y="274715"/>
                  <a:pt x="218671" y="274715"/>
                </a:cubicBezTo>
                <a:cubicBezTo>
                  <a:pt x="231880" y="274715"/>
                  <a:pt x="242661" y="263947"/>
                  <a:pt x="242661" y="250754"/>
                </a:cubicBezTo>
                <a:cubicBezTo>
                  <a:pt x="242661" y="243475"/>
                  <a:pt x="239472" y="237106"/>
                  <a:pt x="234462" y="232708"/>
                </a:cubicBezTo>
                <a:lnTo>
                  <a:pt x="234462" y="210567"/>
                </a:lnTo>
                <a:lnTo>
                  <a:pt x="370353" y="210567"/>
                </a:lnTo>
                <a:lnTo>
                  <a:pt x="370353" y="232708"/>
                </a:lnTo>
                <a:cubicBezTo>
                  <a:pt x="365343" y="237106"/>
                  <a:pt x="362003" y="243475"/>
                  <a:pt x="362003" y="250754"/>
                </a:cubicBezTo>
                <a:cubicBezTo>
                  <a:pt x="362003" y="263947"/>
                  <a:pt x="372783" y="274715"/>
                  <a:pt x="386144" y="274715"/>
                </a:cubicBezTo>
                <a:cubicBezTo>
                  <a:pt x="399354" y="274715"/>
                  <a:pt x="410134" y="263947"/>
                  <a:pt x="410134" y="250754"/>
                </a:cubicBezTo>
                <a:cubicBezTo>
                  <a:pt x="410134" y="243475"/>
                  <a:pt x="406946" y="237106"/>
                  <a:pt x="401935" y="232708"/>
                </a:cubicBezTo>
                <a:lnTo>
                  <a:pt x="401935" y="210567"/>
                </a:lnTo>
                <a:lnTo>
                  <a:pt x="418181" y="210567"/>
                </a:lnTo>
                <a:cubicBezTo>
                  <a:pt x="427443" y="210567"/>
                  <a:pt x="435035" y="218149"/>
                  <a:pt x="435035" y="227400"/>
                </a:cubicBezTo>
                <a:lnTo>
                  <a:pt x="435035" y="452144"/>
                </a:lnTo>
                <a:cubicBezTo>
                  <a:pt x="435035" y="461395"/>
                  <a:pt x="427443" y="468977"/>
                  <a:pt x="418181" y="468977"/>
                </a:cubicBezTo>
                <a:lnTo>
                  <a:pt x="186482" y="468977"/>
                </a:lnTo>
                <a:cubicBezTo>
                  <a:pt x="177220" y="468977"/>
                  <a:pt x="169780" y="461395"/>
                  <a:pt x="169780" y="452144"/>
                </a:cubicBezTo>
                <a:lnTo>
                  <a:pt x="169780" y="227400"/>
                </a:lnTo>
                <a:cubicBezTo>
                  <a:pt x="169780" y="218149"/>
                  <a:pt x="177220" y="210567"/>
                  <a:pt x="186482" y="210567"/>
                </a:cubicBezTo>
                <a:close/>
                <a:moveTo>
                  <a:pt x="302297" y="87642"/>
                </a:moveTo>
                <a:cubicBezTo>
                  <a:pt x="339804" y="87642"/>
                  <a:pt x="370327" y="118123"/>
                  <a:pt x="370327" y="155579"/>
                </a:cubicBezTo>
                <a:lnTo>
                  <a:pt x="370327" y="179236"/>
                </a:lnTo>
                <a:lnTo>
                  <a:pt x="234418" y="179236"/>
                </a:lnTo>
                <a:lnTo>
                  <a:pt x="234418" y="155579"/>
                </a:lnTo>
                <a:cubicBezTo>
                  <a:pt x="234418" y="118123"/>
                  <a:pt x="264941" y="87642"/>
                  <a:pt x="302297" y="87642"/>
                </a:cubicBezTo>
                <a:close/>
                <a:moveTo>
                  <a:pt x="302311" y="56247"/>
                </a:moveTo>
                <a:cubicBezTo>
                  <a:pt x="247498" y="56247"/>
                  <a:pt x="202857" y="100820"/>
                  <a:pt x="202857" y="155552"/>
                </a:cubicBezTo>
                <a:lnTo>
                  <a:pt x="202857" y="179203"/>
                </a:lnTo>
                <a:lnTo>
                  <a:pt x="186458" y="179203"/>
                </a:lnTo>
                <a:cubicBezTo>
                  <a:pt x="159886" y="179203"/>
                  <a:pt x="138173" y="200883"/>
                  <a:pt x="138173" y="227415"/>
                </a:cubicBezTo>
                <a:lnTo>
                  <a:pt x="138173" y="452100"/>
                </a:lnTo>
                <a:cubicBezTo>
                  <a:pt x="138173" y="478632"/>
                  <a:pt x="159886" y="500312"/>
                  <a:pt x="186458" y="500312"/>
                </a:cubicBezTo>
                <a:lnTo>
                  <a:pt x="418165" y="500312"/>
                </a:lnTo>
                <a:cubicBezTo>
                  <a:pt x="444888" y="500312"/>
                  <a:pt x="466601" y="478632"/>
                  <a:pt x="466601" y="452100"/>
                </a:cubicBezTo>
                <a:lnTo>
                  <a:pt x="466601" y="227415"/>
                </a:lnTo>
                <a:cubicBezTo>
                  <a:pt x="466601" y="200883"/>
                  <a:pt x="444888" y="179203"/>
                  <a:pt x="418165" y="179203"/>
                </a:cubicBezTo>
                <a:lnTo>
                  <a:pt x="401918" y="179203"/>
                </a:lnTo>
                <a:lnTo>
                  <a:pt x="401918" y="155552"/>
                </a:lnTo>
                <a:cubicBezTo>
                  <a:pt x="401918" y="100820"/>
                  <a:pt x="357277" y="56247"/>
                  <a:pt x="302311" y="56247"/>
                </a:cubicBezTo>
                <a:close/>
                <a:moveTo>
                  <a:pt x="303678" y="0"/>
                </a:moveTo>
                <a:cubicBezTo>
                  <a:pt x="471460" y="0"/>
                  <a:pt x="607356" y="135691"/>
                  <a:pt x="607356" y="303220"/>
                </a:cubicBezTo>
                <a:cubicBezTo>
                  <a:pt x="607356" y="470748"/>
                  <a:pt x="471460" y="606439"/>
                  <a:pt x="303678" y="606439"/>
                </a:cubicBezTo>
                <a:cubicBezTo>
                  <a:pt x="135896" y="606439"/>
                  <a:pt x="0" y="470748"/>
                  <a:pt x="0" y="303220"/>
                </a:cubicBezTo>
                <a:cubicBezTo>
                  <a:pt x="0" y="135691"/>
                  <a:pt x="135896" y="0"/>
                  <a:pt x="303678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/>
          </a:p>
        </p:txBody>
      </p:sp>
      <p:sp>
        <p:nvSpPr>
          <p:cNvPr id="106" name="任意多边形: 形状 105">
            <a:extLst>
              <a:ext uri="{FF2B5EF4-FFF2-40B4-BE49-F238E27FC236}">
                <a16:creationId xmlns:a16="http://schemas.microsoft.com/office/drawing/2014/main" id="{8ADC4BB1-8B34-482D-AC70-A17025FA182E}"/>
              </a:ext>
            </a:extLst>
          </p:cNvPr>
          <p:cNvSpPr/>
          <p:nvPr/>
        </p:nvSpPr>
        <p:spPr>
          <a:xfrm rot="18279109">
            <a:off x="4017611" y="2704393"/>
            <a:ext cx="2078486" cy="4557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2462" extrusionOk="0">
                <a:moveTo>
                  <a:pt x="0" y="12462"/>
                </a:moveTo>
                <a:cubicBezTo>
                  <a:pt x="10552" y="-9138"/>
                  <a:pt x="21600" y="3901"/>
                  <a:pt x="21600" y="3901"/>
                </a:cubicBez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400000"/>
            <a:headEnd type="triangle" w="med" len="med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pPr algn="l" defTabSz="584200">
              <a:lnSpc>
                <a:spcPct val="110000"/>
              </a:lnSpc>
              <a:spcBef>
                <a:spcPts val="3000"/>
              </a:spcBef>
              <a:defRPr sz="2000">
                <a:solidFill>
                  <a:srgbClr val="4C4C4C"/>
                </a:solidFill>
              </a:defRPr>
            </a:pPr>
            <a:endParaRPr/>
          </a:p>
        </p:txBody>
      </p:sp>
      <p:sp>
        <p:nvSpPr>
          <p:cNvPr id="107" name="任意多边形: 形状 106">
            <a:extLst>
              <a:ext uri="{FF2B5EF4-FFF2-40B4-BE49-F238E27FC236}">
                <a16:creationId xmlns:a16="http://schemas.microsoft.com/office/drawing/2014/main" id="{F83DA185-CAC0-4DAD-899A-610C5A1E3A4D}"/>
              </a:ext>
            </a:extLst>
          </p:cNvPr>
          <p:cNvSpPr/>
          <p:nvPr/>
        </p:nvSpPr>
        <p:spPr>
          <a:xfrm>
            <a:off x="5528923" y="1130300"/>
            <a:ext cx="1134154" cy="1270800"/>
          </a:xfrm>
          <a:custGeom>
            <a:avLst/>
            <a:gdLst>
              <a:gd name="T0" fmla="*/ 2003 w 2597"/>
              <a:gd name="T1" fmla="*/ 1085 h 2914"/>
              <a:gd name="T2" fmla="*/ 1796 w 2597"/>
              <a:gd name="T3" fmla="*/ 1305 h 2914"/>
              <a:gd name="T4" fmla="*/ 1608 w 2597"/>
              <a:gd name="T5" fmla="*/ 1588 h 2914"/>
              <a:gd name="T6" fmla="*/ 1490 w 2597"/>
              <a:gd name="T7" fmla="*/ 1660 h 2914"/>
              <a:gd name="T8" fmla="*/ 1298 w 2597"/>
              <a:gd name="T9" fmla="*/ 1696 h 2914"/>
              <a:gd name="T10" fmla="*/ 1107 w 2597"/>
              <a:gd name="T11" fmla="*/ 1660 h 2914"/>
              <a:gd name="T12" fmla="*/ 989 w 2597"/>
              <a:gd name="T13" fmla="*/ 1588 h 2914"/>
              <a:gd name="T14" fmla="*/ 801 w 2597"/>
              <a:gd name="T15" fmla="*/ 1305 h 2914"/>
              <a:gd name="T16" fmla="*/ 593 w 2597"/>
              <a:gd name="T17" fmla="*/ 1085 h 2914"/>
              <a:gd name="T18" fmla="*/ 611 w 2597"/>
              <a:gd name="T19" fmla="*/ 861 h 2914"/>
              <a:gd name="T20" fmla="*/ 665 w 2597"/>
              <a:gd name="T21" fmla="*/ 807 h 2914"/>
              <a:gd name="T22" fmla="*/ 668 w 2597"/>
              <a:gd name="T23" fmla="*/ 739 h 2914"/>
              <a:gd name="T24" fmla="*/ 646 w 2597"/>
              <a:gd name="T25" fmla="*/ 436 h 2914"/>
              <a:gd name="T26" fmla="*/ 900 w 2597"/>
              <a:gd name="T27" fmla="*/ 239 h 2914"/>
              <a:gd name="T28" fmla="*/ 1037 w 2597"/>
              <a:gd name="T29" fmla="*/ 90 h 2914"/>
              <a:gd name="T30" fmla="*/ 1338 w 2597"/>
              <a:gd name="T31" fmla="*/ 0 h 2914"/>
              <a:gd name="T32" fmla="*/ 1741 w 2597"/>
              <a:gd name="T33" fmla="*/ 141 h 2914"/>
              <a:gd name="T34" fmla="*/ 1922 w 2597"/>
              <a:gd name="T35" fmla="*/ 682 h 2914"/>
              <a:gd name="T36" fmla="*/ 1931 w 2597"/>
              <a:gd name="T37" fmla="*/ 807 h 2914"/>
              <a:gd name="T38" fmla="*/ 1985 w 2597"/>
              <a:gd name="T39" fmla="*/ 861 h 2914"/>
              <a:gd name="T40" fmla="*/ 2003 w 2597"/>
              <a:gd name="T41" fmla="*/ 1085 h 2914"/>
              <a:gd name="T42" fmla="*/ 2597 w 2597"/>
              <a:gd name="T43" fmla="*/ 2377 h 2914"/>
              <a:gd name="T44" fmla="*/ 2597 w 2597"/>
              <a:gd name="T45" fmla="*/ 2848 h 2914"/>
              <a:gd name="T46" fmla="*/ 2530 w 2597"/>
              <a:gd name="T47" fmla="*/ 2914 h 2914"/>
              <a:gd name="T48" fmla="*/ 66 w 2597"/>
              <a:gd name="T49" fmla="*/ 2914 h 2914"/>
              <a:gd name="T50" fmla="*/ 0 w 2597"/>
              <a:gd name="T51" fmla="*/ 2848 h 2914"/>
              <a:gd name="T52" fmla="*/ 0 w 2597"/>
              <a:gd name="T53" fmla="*/ 2377 h 2914"/>
              <a:gd name="T54" fmla="*/ 294 w 2597"/>
              <a:gd name="T55" fmla="*/ 1942 h 2914"/>
              <a:gd name="T56" fmla="*/ 877 w 2597"/>
              <a:gd name="T57" fmla="*/ 1709 h 2914"/>
              <a:gd name="T58" fmla="*/ 929 w 2597"/>
              <a:gd name="T59" fmla="*/ 1710 h 2914"/>
              <a:gd name="T60" fmla="*/ 965 w 2597"/>
              <a:gd name="T61" fmla="*/ 1748 h 2914"/>
              <a:gd name="T62" fmla="*/ 1111 w 2597"/>
              <a:gd name="T63" fmla="*/ 2153 h 2914"/>
              <a:gd name="T64" fmla="*/ 1140 w 2597"/>
              <a:gd name="T65" fmla="*/ 2070 h 2914"/>
              <a:gd name="T66" fmla="*/ 1094 w 2597"/>
              <a:gd name="T67" fmla="*/ 1957 h 2914"/>
              <a:gd name="T68" fmla="*/ 1101 w 2597"/>
              <a:gd name="T69" fmla="*/ 1895 h 2914"/>
              <a:gd name="T70" fmla="*/ 1156 w 2597"/>
              <a:gd name="T71" fmla="*/ 1865 h 2914"/>
              <a:gd name="T72" fmla="*/ 1441 w 2597"/>
              <a:gd name="T73" fmla="*/ 1865 h 2914"/>
              <a:gd name="T74" fmla="*/ 1496 w 2597"/>
              <a:gd name="T75" fmla="*/ 1895 h 2914"/>
              <a:gd name="T76" fmla="*/ 1502 w 2597"/>
              <a:gd name="T77" fmla="*/ 1957 h 2914"/>
              <a:gd name="T78" fmla="*/ 1456 w 2597"/>
              <a:gd name="T79" fmla="*/ 2070 h 2914"/>
              <a:gd name="T80" fmla="*/ 1485 w 2597"/>
              <a:gd name="T81" fmla="*/ 2153 h 2914"/>
              <a:gd name="T82" fmla="*/ 1632 w 2597"/>
              <a:gd name="T83" fmla="*/ 1748 h 2914"/>
              <a:gd name="T84" fmla="*/ 1667 w 2597"/>
              <a:gd name="T85" fmla="*/ 1710 h 2914"/>
              <a:gd name="T86" fmla="*/ 1719 w 2597"/>
              <a:gd name="T87" fmla="*/ 1709 h 2914"/>
              <a:gd name="T88" fmla="*/ 2302 w 2597"/>
              <a:gd name="T89" fmla="*/ 1942 h 2914"/>
              <a:gd name="T90" fmla="*/ 2597 w 2597"/>
              <a:gd name="T91" fmla="*/ 2377 h 2914"/>
              <a:gd name="T92" fmla="*/ 2242 w 2597"/>
              <a:gd name="T93" fmla="*/ 2428 h 2914"/>
              <a:gd name="T94" fmla="*/ 2175 w 2597"/>
              <a:gd name="T95" fmla="*/ 2362 h 2914"/>
              <a:gd name="T96" fmla="*/ 1727 w 2597"/>
              <a:gd name="T97" fmla="*/ 2362 h 2914"/>
              <a:gd name="T98" fmla="*/ 1661 w 2597"/>
              <a:gd name="T99" fmla="*/ 2428 h 2914"/>
              <a:gd name="T100" fmla="*/ 1661 w 2597"/>
              <a:gd name="T101" fmla="*/ 2636 h 2914"/>
              <a:gd name="T102" fmla="*/ 1727 w 2597"/>
              <a:gd name="T103" fmla="*/ 2703 h 2914"/>
              <a:gd name="T104" fmla="*/ 2175 w 2597"/>
              <a:gd name="T105" fmla="*/ 2703 h 2914"/>
              <a:gd name="T106" fmla="*/ 2242 w 2597"/>
              <a:gd name="T107" fmla="*/ 2636 h 2914"/>
              <a:gd name="T108" fmla="*/ 2242 w 2597"/>
              <a:gd name="T109" fmla="*/ 2428 h 29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597" h="2914">
                <a:moveTo>
                  <a:pt x="2003" y="1085"/>
                </a:moveTo>
                <a:cubicBezTo>
                  <a:pt x="1958" y="1259"/>
                  <a:pt x="1852" y="1297"/>
                  <a:pt x="1796" y="1305"/>
                </a:cubicBezTo>
                <a:cubicBezTo>
                  <a:pt x="1761" y="1374"/>
                  <a:pt x="1684" y="1516"/>
                  <a:pt x="1608" y="1588"/>
                </a:cubicBezTo>
                <a:cubicBezTo>
                  <a:pt x="1577" y="1616"/>
                  <a:pt x="1538" y="1641"/>
                  <a:pt x="1490" y="1660"/>
                </a:cubicBezTo>
                <a:cubicBezTo>
                  <a:pt x="1429" y="1684"/>
                  <a:pt x="1364" y="1696"/>
                  <a:pt x="1298" y="1696"/>
                </a:cubicBezTo>
                <a:cubicBezTo>
                  <a:pt x="1232" y="1696"/>
                  <a:pt x="1168" y="1684"/>
                  <a:pt x="1107" y="1660"/>
                </a:cubicBezTo>
                <a:cubicBezTo>
                  <a:pt x="1059" y="1641"/>
                  <a:pt x="1019" y="1616"/>
                  <a:pt x="989" y="1588"/>
                </a:cubicBezTo>
                <a:cubicBezTo>
                  <a:pt x="912" y="1516"/>
                  <a:pt x="836" y="1374"/>
                  <a:pt x="801" y="1305"/>
                </a:cubicBezTo>
                <a:cubicBezTo>
                  <a:pt x="744" y="1297"/>
                  <a:pt x="638" y="1259"/>
                  <a:pt x="593" y="1085"/>
                </a:cubicBezTo>
                <a:cubicBezTo>
                  <a:pt x="569" y="993"/>
                  <a:pt x="575" y="917"/>
                  <a:pt x="611" y="861"/>
                </a:cubicBezTo>
                <a:cubicBezTo>
                  <a:pt x="628" y="836"/>
                  <a:pt x="647" y="819"/>
                  <a:pt x="665" y="807"/>
                </a:cubicBezTo>
                <a:cubicBezTo>
                  <a:pt x="665" y="789"/>
                  <a:pt x="666" y="765"/>
                  <a:pt x="668" y="739"/>
                </a:cubicBezTo>
                <a:cubicBezTo>
                  <a:pt x="636" y="693"/>
                  <a:pt x="591" y="595"/>
                  <a:pt x="646" y="436"/>
                </a:cubicBezTo>
                <a:cubicBezTo>
                  <a:pt x="705" y="267"/>
                  <a:pt x="837" y="241"/>
                  <a:pt x="900" y="239"/>
                </a:cubicBezTo>
                <a:cubicBezTo>
                  <a:pt x="922" y="199"/>
                  <a:pt x="963" y="142"/>
                  <a:pt x="1037" y="90"/>
                </a:cubicBezTo>
                <a:cubicBezTo>
                  <a:pt x="1119" y="32"/>
                  <a:pt x="1226" y="0"/>
                  <a:pt x="1338" y="0"/>
                </a:cubicBezTo>
                <a:cubicBezTo>
                  <a:pt x="1477" y="0"/>
                  <a:pt x="1616" y="49"/>
                  <a:pt x="1741" y="141"/>
                </a:cubicBezTo>
                <a:cubicBezTo>
                  <a:pt x="1944" y="290"/>
                  <a:pt x="1926" y="622"/>
                  <a:pt x="1922" y="682"/>
                </a:cubicBezTo>
                <a:cubicBezTo>
                  <a:pt x="1929" y="732"/>
                  <a:pt x="1931" y="776"/>
                  <a:pt x="1931" y="807"/>
                </a:cubicBezTo>
                <a:cubicBezTo>
                  <a:pt x="1949" y="819"/>
                  <a:pt x="1969" y="836"/>
                  <a:pt x="1985" y="861"/>
                </a:cubicBezTo>
                <a:cubicBezTo>
                  <a:pt x="2021" y="917"/>
                  <a:pt x="2028" y="993"/>
                  <a:pt x="2003" y="1085"/>
                </a:cubicBezTo>
                <a:close/>
                <a:moveTo>
                  <a:pt x="2597" y="2377"/>
                </a:moveTo>
                <a:lnTo>
                  <a:pt x="2597" y="2848"/>
                </a:lnTo>
                <a:cubicBezTo>
                  <a:pt x="2597" y="2885"/>
                  <a:pt x="2567" y="2914"/>
                  <a:pt x="2530" y="2914"/>
                </a:cubicBezTo>
                <a:lnTo>
                  <a:pt x="66" y="2914"/>
                </a:lnTo>
                <a:cubicBezTo>
                  <a:pt x="30" y="2914"/>
                  <a:pt x="0" y="2885"/>
                  <a:pt x="0" y="2848"/>
                </a:cubicBezTo>
                <a:lnTo>
                  <a:pt x="0" y="2377"/>
                </a:lnTo>
                <a:cubicBezTo>
                  <a:pt x="0" y="2184"/>
                  <a:pt x="115" y="2014"/>
                  <a:pt x="294" y="1942"/>
                </a:cubicBezTo>
                <a:lnTo>
                  <a:pt x="877" y="1709"/>
                </a:lnTo>
                <a:cubicBezTo>
                  <a:pt x="894" y="1702"/>
                  <a:pt x="913" y="1703"/>
                  <a:pt x="929" y="1710"/>
                </a:cubicBezTo>
                <a:cubicBezTo>
                  <a:pt x="946" y="1717"/>
                  <a:pt x="959" y="1731"/>
                  <a:pt x="965" y="1748"/>
                </a:cubicBezTo>
                <a:lnTo>
                  <a:pt x="1111" y="2153"/>
                </a:lnTo>
                <a:lnTo>
                  <a:pt x="1140" y="2070"/>
                </a:lnTo>
                <a:lnTo>
                  <a:pt x="1094" y="1957"/>
                </a:lnTo>
                <a:cubicBezTo>
                  <a:pt x="1086" y="1936"/>
                  <a:pt x="1088" y="1913"/>
                  <a:pt x="1101" y="1895"/>
                </a:cubicBezTo>
                <a:cubicBezTo>
                  <a:pt x="1113" y="1876"/>
                  <a:pt x="1134" y="1865"/>
                  <a:pt x="1156" y="1865"/>
                </a:cubicBezTo>
                <a:lnTo>
                  <a:pt x="1441" y="1865"/>
                </a:lnTo>
                <a:cubicBezTo>
                  <a:pt x="1463" y="1865"/>
                  <a:pt x="1484" y="1876"/>
                  <a:pt x="1496" y="1895"/>
                </a:cubicBezTo>
                <a:cubicBezTo>
                  <a:pt x="1508" y="1913"/>
                  <a:pt x="1511" y="1936"/>
                  <a:pt x="1502" y="1957"/>
                </a:cubicBezTo>
                <a:lnTo>
                  <a:pt x="1456" y="2070"/>
                </a:lnTo>
                <a:lnTo>
                  <a:pt x="1485" y="2153"/>
                </a:lnTo>
                <a:lnTo>
                  <a:pt x="1632" y="1748"/>
                </a:lnTo>
                <a:cubicBezTo>
                  <a:pt x="1638" y="1731"/>
                  <a:pt x="1651" y="1717"/>
                  <a:pt x="1667" y="1710"/>
                </a:cubicBezTo>
                <a:cubicBezTo>
                  <a:pt x="1684" y="1703"/>
                  <a:pt x="1702" y="1702"/>
                  <a:pt x="1719" y="1709"/>
                </a:cubicBezTo>
                <a:lnTo>
                  <a:pt x="2302" y="1942"/>
                </a:lnTo>
                <a:cubicBezTo>
                  <a:pt x="2481" y="2014"/>
                  <a:pt x="2597" y="2184"/>
                  <a:pt x="2597" y="2377"/>
                </a:cubicBezTo>
                <a:close/>
                <a:moveTo>
                  <a:pt x="2242" y="2428"/>
                </a:moveTo>
                <a:cubicBezTo>
                  <a:pt x="2242" y="2392"/>
                  <a:pt x="2212" y="2362"/>
                  <a:pt x="2175" y="2362"/>
                </a:cubicBezTo>
                <a:lnTo>
                  <a:pt x="1727" y="2362"/>
                </a:lnTo>
                <a:cubicBezTo>
                  <a:pt x="1691" y="2362"/>
                  <a:pt x="1661" y="2392"/>
                  <a:pt x="1661" y="2428"/>
                </a:cubicBezTo>
                <a:lnTo>
                  <a:pt x="1661" y="2636"/>
                </a:lnTo>
                <a:cubicBezTo>
                  <a:pt x="1661" y="2673"/>
                  <a:pt x="1691" y="2703"/>
                  <a:pt x="1727" y="2703"/>
                </a:cubicBezTo>
                <a:lnTo>
                  <a:pt x="2175" y="2703"/>
                </a:lnTo>
                <a:cubicBezTo>
                  <a:pt x="2212" y="2703"/>
                  <a:pt x="2242" y="2673"/>
                  <a:pt x="2242" y="2636"/>
                </a:cubicBezTo>
                <a:lnTo>
                  <a:pt x="2242" y="2428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/>
          </a:p>
        </p:txBody>
      </p:sp>
      <p:sp>
        <p:nvSpPr>
          <p:cNvPr id="128" name="矩形 127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1105338" y="4900478"/>
            <a:ext cx="1408098" cy="6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050" dirty="0"/>
              <a:t>Supporting text here.</a:t>
            </a:r>
          </a:p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050" dirty="0"/>
              <a:t>…… </a:t>
            </a:r>
          </a:p>
        </p:txBody>
      </p:sp>
      <p:sp>
        <p:nvSpPr>
          <p:cNvPr id="129" name="文本框 128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>
            <a:off x="1105338" y="4478763"/>
            <a:ext cx="1408098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600" b="1" dirty="0"/>
              <a:t>Text here</a:t>
            </a:r>
          </a:p>
        </p:txBody>
      </p:sp>
      <p:sp>
        <p:nvSpPr>
          <p:cNvPr id="126" name="矩形 125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9678566" y="4900478"/>
            <a:ext cx="1408098" cy="6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050" dirty="0"/>
              <a:t>Supporting text here.</a:t>
            </a:r>
          </a:p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050" dirty="0"/>
              <a:t>…… </a:t>
            </a:r>
          </a:p>
        </p:txBody>
      </p:sp>
      <p:sp>
        <p:nvSpPr>
          <p:cNvPr id="127" name="文本框 126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>
            <a:off x="9678566" y="4478763"/>
            <a:ext cx="1408098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600" b="1" dirty="0"/>
              <a:t>Text here</a:t>
            </a:r>
          </a:p>
        </p:txBody>
      </p:sp>
      <p:sp>
        <p:nvSpPr>
          <p:cNvPr id="124" name="矩形 123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2534209" y="4900478"/>
            <a:ext cx="1408098" cy="6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050" dirty="0"/>
              <a:t>Supporting text here.</a:t>
            </a:r>
          </a:p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050" dirty="0"/>
              <a:t>…… </a:t>
            </a:r>
          </a:p>
        </p:txBody>
      </p:sp>
      <p:sp>
        <p:nvSpPr>
          <p:cNvPr id="125" name="文本框 124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>
            <a:off x="2534209" y="4478763"/>
            <a:ext cx="1408098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600" b="1" dirty="0"/>
              <a:t>Text here</a:t>
            </a:r>
          </a:p>
        </p:txBody>
      </p:sp>
      <p:sp>
        <p:nvSpPr>
          <p:cNvPr id="122" name="矩形 121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963080" y="4900478"/>
            <a:ext cx="1408098" cy="6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050" dirty="0"/>
              <a:t>Supporting text here.</a:t>
            </a:r>
          </a:p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050" dirty="0"/>
              <a:t>…… </a:t>
            </a:r>
          </a:p>
        </p:txBody>
      </p:sp>
      <p:sp>
        <p:nvSpPr>
          <p:cNvPr id="123" name="文本框 122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>
            <a:off x="3963080" y="4478763"/>
            <a:ext cx="1408098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600" b="1"/>
              <a:t>Text here</a:t>
            </a:r>
            <a:endParaRPr lang="en-US" altLang="zh-CN" sz="1600" b="1" dirty="0"/>
          </a:p>
        </p:txBody>
      </p:sp>
      <p:sp>
        <p:nvSpPr>
          <p:cNvPr id="120" name="矩形 119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5391951" y="4900478"/>
            <a:ext cx="1408098" cy="6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050" dirty="0"/>
              <a:t>Supporting text here.</a:t>
            </a:r>
          </a:p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050" dirty="0"/>
              <a:t>…… </a:t>
            </a:r>
          </a:p>
        </p:txBody>
      </p:sp>
      <p:sp>
        <p:nvSpPr>
          <p:cNvPr id="121" name="文本框 120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>
            <a:off x="5391951" y="4478763"/>
            <a:ext cx="1408098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600" b="1" dirty="0"/>
              <a:t>Text here</a:t>
            </a:r>
          </a:p>
        </p:txBody>
      </p:sp>
      <p:sp>
        <p:nvSpPr>
          <p:cNvPr id="118" name="矩形 117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6820822" y="4900478"/>
            <a:ext cx="1408098" cy="6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050" dirty="0"/>
              <a:t>Supporting text here.</a:t>
            </a:r>
          </a:p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050" dirty="0"/>
              <a:t>…… </a:t>
            </a:r>
          </a:p>
        </p:txBody>
      </p:sp>
      <p:sp>
        <p:nvSpPr>
          <p:cNvPr id="119" name="文本框 118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>
            <a:off x="6820822" y="4478763"/>
            <a:ext cx="1408098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600" b="1" dirty="0"/>
              <a:t>Text here</a:t>
            </a:r>
          </a:p>
        </p:txBody>
      </p:sp>
      <p:sp>
        <p:nvSpPr>
          <p:cNvPr id="116" name="矩形 115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8249693" y="4900478"/>
            <a:ext cx="1408098" cy="647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050" dirty="0"/>
              <a:t>Supporting text here.</a:t>
            </a:r>
          </a:p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en-US" altLang="zh-CN" sz="1050" dirty="0"/>
              <a:t>…… </a:t>
            </a:r>
          </a:p>
        </p:txBody>
      </p:sp>
      <p:sp>
        <p:nvSpPr>
          <p:cNvPr id="117" name="文本框 116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>
            <a:off x="8249693" y="4478763"/>
            <a:ext cx="1408098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600" b="1" dirty="0"/>
              <a:t>Text here</a:t>
            </a:r>
          </a:p>
        </p:txBody>
      </p:sp>
      <p:sp>
        <p:nvSpPr>
          <p:cNvPr id="115" name="带形: 上凸 114">
            <a:extLst>
              <a:ext uri="{FF2B5EF4-FFF2-40B4-BE49-F238E27FC236}">
                <a16:creationId xmlns:a16="http://schemas.microsoft.com/office/drawing/2014/main" id="{F617E108-A603-4ECD-97FC-2F9E100A8410}"/>
              </a:ext>
            </a:extLst>
          </p:cNvPr>
          <p:cNvSpPr/>
          <p:nvPr/>
        </p:nvSpPr>
        <p:spPr>
          <a:xfrm>
            <a:off x="5150729" y="2438761"/>
            <a:ext cx="1890544" cy="448056"/>
          </a:xfrm>
          <a:prstGeom prst="ribbon2">
            <a:avLst>
              <a:gd name="adj1" fmla="val 16667"/>
              <a:gd name="adj2" fmla="val 68796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/>
            <a:r>
              <a:rPr lang="en-US" altLang="zh-CN" sz="1600" b="1" i="1" dirty="0">
                <a:solidFill>
                  <a:schemeClr val="tx1"/>
                </a:solidFill>
              </a:rPr>
              <a:t>Text</a:t>
            </a:r>
            <a:endParaRPr lang="zh-CN" altLang="en-US" sz="1600" b="1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0383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E7A32D4-F5DC-43AD-941E-59400653C0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33F1A2F-3D6E-40D7-9581-2B869D7A42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8EB236A-1B47-4439-A7C9-17D2DCDEBB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p:sp>
        <p:nvSpPr>
          <p:cNvPr id="28" name="箭头: 右 27">
            <a:extLst>
              <a:ext uri="{FF2B5EF4-FFF2-40B4-BE49-F238E27FC236}">
                <a16:creationId xmlns:a16="http://schemas.microsoft.com/office/drawing/2014/main" id="{AEC761AD-A10E-4D05-9AF0-6DEFC0A7E5E9}"/>
              </a:ext>
            </a:extLst>
          </p:cNvPr>
          <p:cNvSpPr/>
          <p:nvPr/>
        </p:nvSpPr>
        <p:spPr>
          <a:xfrm>
            <a:off x="670719" y="3134256"/>
            <a:ext cx="11275281" cy="849624"/>
          </a:xfrm>
          <a:prstGeom prst="rightArrow">
            <a:avLst>
              <a:gd name="adj1" fmla="val 37816"/>
              <a:gd name="adj2" fmla="val 5040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92500" lnSpcReduction="20000"/>
          </a:bodyPr>
          <a:lstStyle/>
          <a:p>
            <a:pPr algn="ctr"/>
            <a:endParaRPr lang="zh-CN" altLang="en-US"/>
          </a:p>
        </p:txBody>
      </p:sp>
      <p:sp>
        <p:nvSpPr>
          <p:cNvPr id="67" name="矩形 66">
            <a:extLst>
              <a:ext uri="{FF2B5EF4-FFF2-40B4-BE49-F238E27FC236}">
                <a16:creationId xmlns:a16="http://schemas.microsoft.com/office/drawing/2014/main" id="{A7A1D660-C549-4F1D-8C97-FB36D23BDC0A}"/>
              </a:ext>
            </a:extLst>
          </p:cNvPr>
          <p:cNvSpPr/>
          <p:nvPr/>
        </p:nvSpPr>
        <p:spPr bwMode="auto">
          <a:xfrm>
            <a:off x="660402" y="1506311"/>
            <a:ext cx="1933266" cy="60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Supporting text here. 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32A11D34-374C-4341-8FFE-A050455A9061}"/>
              </a:ext>
            </a:extLst>
          </p:cNvPr>
          <p:cNvSpPr txBox="1"/>
          <p:nvPr/>
        </p:nvSpPr>
        <p:spPr bwMode="auto">
          <a:xfrm>
            <a:off x="660400" y="1130300"/>
            <a:ext cx="1933266" cy="376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/>
              <a:t>Text here</a:t>
            </a:r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A277F36B-EB46-45A8-A367-5F91D8DA2451}"/>
              </a:ext>
            </a:extLst>
          </p:cNvPr>
          <p:cNvSpPr/>
          <p:nvPr/>
        </p:nvSpPr>
        <p:spPr bwMode="auto">
          <a:xfrm>
            <a:off x="2891709" y="5525143"/>
            <a:ext cx="1933266" cy="60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Supporting text here. 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010A7854-DC1C-4598-A9C1-B204B9131649}"/>
              </a:ext>
            </a:extLst>
          </p:cNvPr>
          <p:cNvSpPr txBox="1"/>
          <p:nvPr/>
        </p:nvSpPr>
        <p:spPr bwMode="auto">
          <a:xfrm>
            <a:off x="2891707" y="5149132"/>
            <a:ext cx="1933266" cy="376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/>
              <a:t>Text here</a:t>
            </a: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E7D9DD3E-C579-41AD-AC40-0DCC650C7555}"/>
              </a:ext>
            </a:extLst>
          </p:cNvPr>
          <p:cNvSpPr/>
          <p:nvPr/>
        </p:nvSpPr>
        <p:spPr bwMode="auto">
          <a:xfrm>
            <a:off x="5123017" y="1506311"/>
            <a:ext cx="1933266" cy="60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Supporting text here. 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B77B0043-4983-454C-8A21-A2DF43D7924E}"/>
              </a:ext>
            </a:extLst>
          </p:cNvPr>
          <p:cNvSpPr txBox="1"/>
          <p:nvPr/>
        </p:nvSpPr>
        <p:spPr bwMode="auto">
          <a:xfrm>
            <a:off x="5123015" y="1130300"/>
            <a:ext cx="1933266" cy="376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/>
              <a:t>Text here</a:t>
            </a:r>
          </a:p>
        </p:txBody>
      </p:sp>
      <p:sp>
        <p:nvSpPr>
          <p:cNvPr id="61" name="矩形 60">
            <a:extLst>
              <a:ext uri="{FF2B5EF4-FFF2-40B4-BE49-F238E27FC236}">
                <a16:creationId xmlns:a16="http://schemas.microsoft.com/office/drawing/2014/main" id="{C16DD818-6157-4F59-9F01-50A03B12E756}"/>
              </a:ext>
            </a:extLst>
          </p:cNvPr>
          <p:cNvSpPr/>
          <p:nvPr/>
        </p:nvSpPr>
        <p:spPr bwMode="auto">
          <a:xfrm>
            <a:off x="7354325" y="5525143"/>
            <a:ext cx="1933266" cy="60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Supporting text here. 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7C031E49-21B3-4744-86FA-1A3028193BC2}"/>
              </a:ext>
            </a:extLst>
          </p:cNvPr>
          <p:cNvSpPr txBox="1"/>
          <p:nvPr/>
        </p:nvSpPr>
        <p:spPr bwMode="auto">
          <a:xfrm>
            <a:off x="7354323" y="5149132"/>
            <a:ext cx="1933266" cy="376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/>
              <a:t>Text here</a:t>
            </a: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6EE95297-9C0B-48B8-ADCE-A6320A9A0C85}"/>
              </a:ext>
            </a:extLst>
          </p:cNvPr>
          <p:cNvSpPr/>
          <p:nvPr/>
        </p:nvSpPr>
        <p:spPr bwMode="auto">
          <a:xfrm>
            <a:off x="9585634" y="1506311"/>
            <a:ext cx="1933266" cy="608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Supporting text here. 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084AFECA-8D78-4F38-8A5F-BDF4B92A1406}"/>
              </a:ext>
            </a:extLst>
          </p:cNvPr>
          <p:cNvSpPr txBox="1"/>
          <p:nvPr/>
        </p:nvSpPr>
        <p:spPr bwMode="auto">
          <a:xfrm>
            <a:off x="9585632" y="1130300"/>
            <a:ext cx="1933266" cy="3760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/>
              <a:t>Text here</a:t>
            </a:r>
          </a:p>
        </p:txBody>
      </p:sp>
      <p:sp>
        <p:nvSpPr>
          <p:cNvPr id="55" name="椭圆 54">
            <a:extLst>
              <a:ext uri="{FF2B5EF4-FFF2-40B4-BE49-F238E27FC236}">
                <a16:creationId xmlns:a16="http://schemas.microsoft.com/office/drawing/2014/main" id="{2E008756-9BF9-49AB-9989-250B3FEB26B7}"/>
              </a:ext>
            </a:extLst>
          </p:cNvPr>
          <p:cNvSpPr/>
          <p:nvPr/>
        </p:nvSpPr>
        <p:spPr bwMode="auto">
          <a:xfrm>
            <a:off x="1152422" y="3087733"/>
            <a:ext cx="949222" cy="94922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altLang="zh-CN" b="1" dirty="0">
                <a:solidFill>
                  <a:schemeClr val="tx1"/>
                </a:solidFill>
              </a:rPr>
              <a:t>30K</a:t>
            </a:r>
          </a:p>
        </p:txBody>
      </p: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0870B39B-1707-4AFA-8F72-4932E2835DC4}"/>
              </a:ext>
            </a:extLst>
          </p:cNvPr>
          <p:cNvGrpSpPr/>
          <p:nvPr/>
        </p:nvGrpSpPr>
        <p:grpSpPr>
          <a:xfrm>
            <a:off x="1354085" y="2762250"/>
            <a:ext cx="545896" cy="545898"/>
            <a:chOff x="5757706" y="903774"/>
            <a:chExt cx="675000" cy="675005"/>
          </a:xfrm>
        </p:grpSpPr>
        <p:sp>
          <p:nvSpPr>
            <p:cNvPr id="57" name="椭圆 56">
              <a:extLst>
                <a:ext uri="{FF2B5EF4-FFF2-40B4-BE49-F238E27FC236}">
                  <a16:creationId xmlns:a16="http://schemas.microsoft.com/office/drawing/2014/main" id="{DB69AF19-A608-4CB9-AB13-B30BC8CC946B}"/>
                </a:ext>
              </a:extLst>
            </p:cNvPr>
            <p:cNvSpPr/>
            <p:nvPr/>
          </p:nvSpPr>
          <p:spPr>
            <a:xfrm>
              <a:off x="5757706" y="903774"/>
              <a:ext cx="675000" cy="675005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dirty="0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4DCE5586-1029-4451-BBA8-D15D8E404922}"/>
                </a:ext>
              </a:extLst>
            </p:cNvPr>
            <p:cNvSpPr/>
            <p:nvPr/>
          </p:nvSpPr>
          <p:spPr bwMode="auto">
            <a:xfrm>
              <a:off x="5923113" y="1072538"/>
              <a:ext cx="344185" cy="337474"/>
            </a:xfrm>
            <a:custGeom>
              <a:avLst/>
              <a:gdLst>
                <a:gd name="T0" fmla="*/ 1312 w 1990"/>
                <a:gd name="T1" fmla="*/ 1552 h 1954"/>
                <a:gd name="T2" fmla="*/ 291 w 1990"/>
                <a:gd name="T3" fmla="*/ 1746 h 1954"/>
                <a:gd name="T4" fmla="*/ 0 w 1990"/>
                <a:gd name="T5" fmla="*/ 540 h 1954"/>
                <a:gd name="T6" fmla="*/ 515 w 1990"/>
                <a:gd name="T7" fmla="*/ 249 h 1954"/>
                <a:gd name="T8" fmla="*/ 1205 w 1990"/>
                <a:gd name="T9" fmla="*/ 0 h 1954"/>
                <a:gd name="T10" fmla="*/ 1496 w 1990"/>
                <a:gd name="T11" fmla="*/ 489 h 1954"/>
                <a:gd name="T12" fmla="*/ 1413 w 1990"/>
                <a:gd name="T13" fmla="*/ 291 h 1954"/>
                <a:gd name="T14" fmla="*/ 802 w 1990"/>
                <a:gd name="T15" fmla="*/ 83 h 1954"/>
                <a:gd name="T16" fmla="*/ 1039 w 1990"/>
                <a:gd name="T17" fmla="*/ 249 h 1954"/>
                <a:gd name="T18" fmla="*/ 1243 w 1990"/>
                <a:gd name="T19" fmla="*/ 499 h 1954"/>
                <a:gd name="T20" fmla="*/ 291 w 1990"/>
                <a:gd name="T21" fmla="*/ 333 h 1954"/>
                <a:gd name="T22" fmla="*/ 83 w 1990"/>
                <a:gd name="T23" fmla="*/ 1455 h 1954"/>
                <a:gd name="T24" fmla="*/ 1039 w 1990"/>
                <a:gd name="T25" fmla="*/ 1663 h 1954"/>
                <a:gd name="T26" fmla="*/ 1641 w 1990"/>
                <a:gd name="T27" fmla="*/ 1453 h 1954"/>
                <a:gd name="T28" fmla="*/ 1138 w 1990"/>
                <a:gd name="T29" fmla="*/ 583 h 1954"/>
                <a:gd name="T30" fmla="*/ 1641 w 1990"/>
                <a:gd name="T31" fmla="*/ 1453 h 1954"/>
                <a:gd name="T32" fmla="*/ 1752 w 1990"/>
                <a:gd name="T33" fmla="*/ 809 h 1954"/>
                <a:gd name="T34" fmla="*/ 1026 w 1990"/>
                <a:gd name="T35" fmla="*/ 1228 h 1954"/>
                <a:gd name="T36" fmla="*/ 1767 w 1990"/>
                <a:gd name="T37" fmla="*/ 1422 h 1954"/>
                <a:gd name="T38" fmla="*/ 1717 w 1990"/>
                <a:gd name="T39" fmla="*/ 1835 h 1954"/>
                <a:gd name="T40" fmla="*/ 1767 w 1990"/>
                <a:gd name="T41" fmla="*/ 1422 h 1954"/>
                <a:gd name="T42" fmla="*/ 1739 w 1990"/>
                <a:gd name="T43" fmla="*/ 1874 h 1954"/>
                <a:gd name="T44" fmla="*/ 1956 w 1990"/>
                <a:gd name="T45" fmla="*/ 1749 h 1954"/>
                <a:gd name="T46" fmla="*/ 249 w 1990"/>
                <a:gd name="T47" fmla="*/ 551 h 1954"/>
                <a:gd name="T48" fmla="*/ 803 w 1990"/>
                <a:gd name="T49" fmla="*/ 613 h 1954"/>
                <a:gd name="T50" fmla="*/ 675 w 1990"/>
                <a:gd name="T51" fmla="*/ 828 h 1954"/>
                <a:gd name="T52" fmla="*/ 249 w 1990"/>
                <a:gd name="T53" fmla="*/ 890 h 1954"/>
                <a:gd name="T54" fmla="*/ 675 w 1990"/>
                <a:gd name="T55" fmla="*/ 828 h 1954"/>
                <a:gd name="T56" fmla="*/ 675 w 1990"/>
                <a:gd name="T57" fmla="*/ 1167 h 1954"/>
                <a:gd name="T58" fmla="*/ 249 w 1990"/>
                <a:gd name="T59" fmla="*/ 1105 h 1954"/>
                <a:gd name="T60" fmla="*/ 249 w 1990"/>
                <a:gd name="T61" fmla="*/ 1444 h 1954"/>
                <a:gd name="T62" fmla="*/ 803 w 1990"/>
                <a:gd name="T63" fmla="*/ 1382 h 1954"/>
                <a:gd name="T64" fmla="*/ 249 w 1990"/>
                <a:gd name="T65" fmla="*/ 1444 h 1954"/>
                <a:gd name="T66" fmla="*/ 1179 w 1990"/>
                <a:gd name="T67" fmla="*/ 961 h 1954"/>
                <a:gd name="T68" fmla="*/ 1300 w 1990"/>
                <a:gd name="T69" fmla="*/ 1219 h 1954"/>
                <a:gd name="T70" fmla="*/ 1604 w 1990"/>
                <a:gd name="T71" fmla="*/ 858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90" h="1954">
                  <a:moveTo>
                    <a:pt x="1231" y="1534"/>
                  </a:moveTo>
                  <a:cubicBezTo>
                    <a:pt x="1258" y="1542"/>
                    <a:pt x="1285" y="1548"/>
                    <a:pt x="1312" y="1552"/>
                  </a:cubicBezTo>
                  <a:cubicBezTo>
                    <a:pt x="1272" y="1665"/>
                    <a:pt x="1165" y="1746"/>
                    <a:pt x="1039" y="1746"/>
                  </a:cubicBezTo>
                  <a:lnTo>
                    <a:pt x="291" y="1746"/>
                  </a:lnTo>
                  <a:cubicBezTo>
                    <a:pt x="131" y="1746"/>
                    <a:pt x="0" y="1615"/>
                    <a:pt x="0" y="1455"/>
                  </a:cubicBezTo>
                  <a:lnTo>
                    <a:pt x="0" y="540"/>
                  </a:lnTo>
                  <a:cubicBezTo>
                    <a:pt x="0" y="380"/>
                    <a:pt x="131" y="249"/>
                    <a:pt x="291" y="249"/>
                  </a:cubicBezTo>
                  <a:lnTo>
                    <a:pt x="515" y="249"/>
                  </a:lnTo>
                  <a:cubicBezTo>
                    <a:pt x="535" y="109"/>
                    <a:pt x="656" y="0"/>
                    <a:pt x="802" y="0"/>
                  </a:cubicBezTo>
                  <a:lnTo>
                    <a:pt x="1205" y="0"/>
                  </a:lnTo>
                  <a:cubicBezTo>
                    <a:pt x="1366" y="0"/>
                    <a:pt x="1496" y="131"/>
                    <a:pt x="1496" y="291"/>
                  </a:cubicBezTo>
                  <a:lnTo>
                    <a:pt x="1496" y="489"/>
                  </a:lnTo>
                  <a:cubicBezTo>
                    <a:pt x="1469" y="484"/>
                    <a:pt x="1441" y="480"/>
                    <a:pt x="1413" y="479"/>
                  </a:cubicBezTo>
                  <a:lnTo>
                    <a:pt x="1413" y="291"/>
                  </a:lnTo>
                  <a:cubicBezTo>
                    <a:pt x="1413" y="176"/>
                    <a:pt x="1320" y="83"/>
                    <a:pt x="1205" y="83"/>
                  </a:cubicBezTo>
                  <a:lnTo>
                    <a:pt x="802" y="83"/>
                  </a:lnTo>
                  <a:cubicBezTo>
                    <a:pt x="701" y="83"/>
                    <a:pt x="617" y="155"/>
                    <a:pt x="598" y="249"/>
                  </a:cubicBezTo>
                  <a:lnTo>
                    <a:pt x="1039" y="249"/>
                  </a:lnTo>
                  <a:cubicBezTo>
                    <a:pt x="1180" y="249"/>
                    <a:pt x="1297" y="349"/>
                    <a:pt x="1324" y="482"/>
                  </a:cubicBezTo>
                  <a:cubicBezTo>
                    <a:pt x="1297" y="485"/>
                    <a:pt x="1270" y="491"/>
                    <a:pt x="1243" y="499"/>
                  </a:cubicBezTo>
                  <a:cubicBezTo>
                    <a:pt x="1224" y="404"/>
                    <a:pt x="1140" y="333"/>
                    <a:pt x="1039" y="333"/>
                  </a:cubicBezTo>
                  <a:lnTo>
                    <a:pt x="291" y="333"/>
                  </a:lnTo>
                  <a:cubicBezTo>
                    <a:pt x="177" y="333"/>
                    <a:pt x="83" y="426"/>
                    <a:pt x="83" y="540"/>
                  </a:cubicBezTo>
                  <a:lnTo>
                    <a:pt x="83" y="1455"/>
                  </a:lnTo>
                  <a:cubicBezTo>
                    <a:pt x="83" y="1569"/>
                    <a:pt x="177" y="1663"/>
                    <a:pt x="291" y="1663"/>
                  </a:cubicBezTo>
                  <a:lnTo>
                    <a:pt x="1039" y="1663"/>
                  </a:lnTo>
                  <a:cubicBezTo>
                    <a:pt x="1126" y="1663"/>
                    <a:pt x="1200" y="1609"/>
                    <a:pt x="1231" y="1534"/>
                  </a:cubicBezTo>
                  <a:close/>
                  <a:moveTo>
                    <a:pt x="1641" y="1453"/>
                  </a:moveTo>
                  <a:cubicBezTo>
                    <a:pt x="1401" y="1591"/>
                    <a:pt x="1093" y="1509"/>
                    <a:pt x="955" y="1269"/>
                  </a:cubicBezTo>
                  <a:cubicBezTo>
                    <a:pt x="816" y="1029"/>
                    <a:pt x="899" y="722"/>
                    <a:pt x="1138" y="583"/>
                  </a:cubicBezTo>
                  <a:cubicBezTo>
                    <a:pt x="1378" y="445"/>
                    <a:pt x="1686" y="527"/>
                    <a:pt x="1824" y="767"/>
                  </a:cubicBezTo>
                  <a:cubicBezTo>
                    <a:pt x="1963" y="1007"/>
                    <a:pt x="1880" y="1314"/>
                    <a:pt x="1641" y="1453"/>
                  </a:cubicBezTo>
                  <a:close/>
                  <a:moveTo>
                    <a:pt x="1599" y="1381"/>
                  </a:moveTo>
                  <a:cubicBezTo>
                    <a:pt x="1799" y="1266"/>
                    <a:pt x="1868" y="1009"/>
                    <a:pt x="1752" y="809"/>
                  </a:cubicBezTo>
                  <a:cubicBezTo>
                    <a:pt x="1637" y="608"/>
                    <a:pt x="1380" y="539"/>
                    <a:pt x="1180" y="655"/>
                  </a:cubicBezTo>
                  <a:cubicBezTo>
                    <a:pt x="980" y="771"/>
                    <a:pt x="911" y="1027"/>
                    <a:pt x="1026" y="1228"/>
                  </a:cubicBezTo>
                  <a:cubicBezTo>
                    <a:pt x="1142" y="1428"/>
                    <a:pt x="1399" y="1497"/>
                    <a:pt x="1599" y="1381"/>
                  </a:cubicBezTo>
                  <a:close/>
                  <a:moveTo>
                    <a:pt x="1767" y="1422"/>
                  </a:moveTo>
                  <a:lnTo>
                    <a:pt x="1551" y="1547"/>
                  </a:lnTo>
                  <a:lnTo>
                    <a:pt x="1717" y="1835"/>
                  </a:lnTo>
                  <a:lnTo>
                    <a:pt x="1933" y="1710"/>
                  </a:lnTo>
                  <a:lnTo>
                    <a:pt x="1767" y="1422"/>
                  </a:lnTo>
                  <a:close/>
                  <a:moveTo>
                    <a:pt x="1956" y="1749"/>
                  </a:moveTo>
                  <a:lnTo>
                    <a:pt x="1739" y="1874"/>
                  </a:lnTo>
                  <a:cubicBezTo>
                    <a:pt x="1774" y="1934"/>
                    <a:pt x="1850" y="1954"/>
                    <a:pt x="1910" y="1919"/>
                  </a:cubicBezTo>
                  <a:cubicBezTo>
                    <a:pt x="1969" y="1885"/>
                    <a:pt x="1990" y="1809"/>
                    <a:pt x="1956" y="1749"/>
                  </a:cubicBezTo>
                  <a:close/>
                  <a:moveTo>
                    <a:pt x="803" y="551"/>
                  </a:moveTo>
                  <a:lnTo>
                    <a:pt x="249" y="551"/>
                  </a:lnTo>
                  <a:lnTo>
                    <a:pt x="249" y="613"/>
                  </a:lnTo>
                  <a:lnTo>
                    <a:pt x="803" y="613"/>
                  </a:lnTo>
                  <a:lnTo>
                    <a:pt x="803" y="551"/>
                  </a:lnTo>
                  <a:close/>
                  <a:moveTo>
                    <a:pt x="675" y="828"/>
                  </a:moveTo>
                  <a:lnTo>
                    <a:pt x="249" y="828"/>
                  </a:lnTo>
                  <a:lnTo>
                    <a:pt x="249" y="890"/>
                  </a:lnTo>
                  <a:lnTo>
                    <a:pt x="675" y="890"/>
                  </a:lnTo>
                  <a:lnTo>
                    <a:pt x="675" y="828"/>
                  </a:lnTo>
                  <a:close/>
                  <a:moveTo>
                    <a:pt x="249" y="1167"/>
                  </a:moveTo>
                  <a:lnTo>
                    <a:pt x="675" y="1167"/>
                  </a:lnTo>
                  <a:lnTo>
                    <a:pt x="675" y="1105"/>
                  </a:lnTo>
                  <a:lnTo>
                    <a:pt x="249" y="1105"/>
                  </a:lnTo>
                  <a:lnTo>
                    <a:pt x="249" y="1167"/>
                  </a:lnTo>
                  <a:close/>
                  <a:moveTo>
                    <a:pt x="249" y="1444"/>
                  </a:moveTo>
                  <a:lnTo>
                    <a:pt x="803" y="1444"/>
                  </a:lnTo>
                  <a:lnTo>
                    <a:pt x="803" y="1382"/>
                  </a:lnTo>
                  <a:lnTo>
                    <a:pt x="249" y="1382"/>
                  </a:lnTo>
                  <a:lnTo>
                    <a:pt x="249" y="1444"/>
                  </a:lnTo>
                  <a:close/>
                  <a:moveTo>
                    <a:pt x="1308" y="1105"/>
                  </a:moveTo>
                  <a:lnTo>
                    <a:pt x="1179" y="961"/>
                  </a:lnTo>
                  <a:lnTo>
                    <a:pt x="1118" y="1017"/>
                  </a:lnTo>
                  <a:lnTo>
                    <a:pt x="1300" y="1219"/>
                  </a:lnTo>
                  <a:lnTo>
                    <a:pt x="1657" y="922"/>
                  </a:lnTo>
                  <a:lnTo>
                    <a:pt x="1604" y="858"/>
                  </a:lnTo>
                  <a:lnTo>
                    <a:pt x="1308" y="110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sz="7200" dirty="0"/>
            </a:p>
          </p:txBody>
        </p:sp>
      </p:grpSp>
      <p:sp>
        <p:nvSpPr>
          <p:cNvPr id="51" name="椭圆 50">
            <a:extLst>
              <a:ext uri="{FF2B5EF4-FFF2-40B4-BE49-F238E27FC236}">
                <a16:creationId xmlns:a16="http://schemas.microsoft.com/office/drawing/2014/main" id="{89096D27-34F7-4F9B-84DF-7BD1B2236D77}"/>
              </a:ext>
            </a:extLst>
          </p:cNvPr>
          <p:cNvSpPr/>
          <p:nvPr/>
        </p:nvSpPr>
        <p:spPr bwMode="auto">
          <a:xfrm>
            <a:off x="3383730" y="3087733"/>
            <a:ext cx="949222" cy="94922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altLang="zh-CN" b="1" dirty="0">
                <a:solidFill>
                  <a:schemeClr val="tx1"/>
                </a:solidFill>
              </a:rPr>
              <a:t>16K</a:t>
            </a:r>
          </a:p>
        </p:txBody>
      </p:sp>
      <p:grpSp>
        <p:nvGrpSpPr>
          <p:cNvPr id="52" name="组合 51">
            <a:extLst>
              <a:ext uri="{FF2B5EF4-FFF2-40B4-BE49-F238E27FC236}">
                <a16:creationId xmlns:a16="http://schemas.microsoft.com/office/drawing/2014/main" id="{B6267A8F-E83B-4EAA-BDF2-DEEEA8F2070A}"/>
              </a:ext>
            </a:extLst>
          </p:cNvPr>
          <p:cNvGrpSpPr/>
          <p:nvPr/>
        </p:nvGrpSpPr>
        <p:grpSpPr>
          <a:xfrm>
            <a:off x="3585393" y="2762250"/>
            <a:ext cx="545896" cy="545898"/>
            <a:chOff x="5757706" y="903774"/>
            <a:chExt cx="675000" cy="675005"/>
          </a:xfrm>
        </p:grpSpPr>
        <p:sp>
          <p:nvSpPr>
            <p:cNvPr id="53" name="椭圆 52">
              <a:extLst>
                <a:ext uri="{FF2B5EF4-FFF2-40B4-BE49-F238E27FC236}">
                  <a16:creationId xmlns:a16="http://schemas.microsoft.com/office/drawing/2014/main" id="{DFB7113C-979A-4DB7-B99B-5CAC410B8F70}"/>
                </a:ext>
              </a:extLst>
            </p:cNvPr>
            <p:cNvSpPr/>
            <p:nvPr/>
          </p:nvSpPr>
          <p:spPr>
            <a:xfrm>
              <a:off x="5757706" y="903774"/>
              <a:ext cx="675000" cy="675005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dirty="0"/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A7D14D63-F49A-4398-A860-E5A21DCFBED2}"/>
                </a:ext>
              </a:extLst>
            </p:cNvPr>
            <p:cNvSpPr/>
            <p:nvPr/>
          </p:nvSpPr>
          <p:spPr bwMode="auto">
            <a:xfrm>
              <a:off x="5923113" y="1072538"/>
              <a:ext cx="344185" cy="337474"/>
            </a:xfrm>
            <a:custGeom>
              <a:avLst/>
              <a:gdLst>
                <a:gd name="T0" fmla="*/ 1312 w 1990"/>
                <a:gd name="T1" fmla="*/ 1552 h 1954"/>
                <a:gd name="T2" fmla="*/ 291 w 1990"/>
                <a:gd name="T3" fmla="*/ 1746 h 1954"/>
                <a:gd name="T4" fmla="*/ 0 w 1990"/>
                <a:gd name="T5" fmla="*/ 540 h 1954"/>
                <a:gd name="T6" fmla="*/ 515 w 1990"/>
                <a:gd name="T7" fmla="*/ 249 h 1954"/>
                <a:gd name="T8" fmla="*/ 1205 w 1990"/>
                <a:gd name="T9" fmla="*/ 0 h 1954"/>
                <a:gd name="T10" fmla="*/ 1496 w 1990"/>
                <a:gd name="T11" fmla="*/ 489 h 1954"/>
                <a:gd name="T12" fmla="*/ 1413 w 1990"/>
                <a:gd name="T13" fmla="*/ 291 h 1954"/>
                <a:gd name="T14" fmla="*/ 802 w 1990"/>
                <a:gd name="T15" fmla="*/ 83 h 1954"/>
                <a:gd name="T16" fmla="*/ 1039 w 1990"/>
                <a:gd name="T17" fmla="*/ 249 h 1954"/>
                <a:gd name="T18" fmla="*/ 1243 w 1990"/>
                <a:gd name="T19" fmla="*/ 499 h 1954"/>
                <a:gd name="T20" fmla="*/ 291 w 1990"/>
                <a:gd name="T21" fmla="*/ 333 h 1954"/>
                <a:gd name="T22" fmla="*/ 83 w 1990"/>
                <a:gd name="T23" fmla="*/ 1455 h 1954"/>
                <a:gd name="T24" fmla="*/ 1039 w 1990"/>
                <a:gd name="T25" fmla="*/ 1663 h 1954"/>
                <a:gd name="T26" fmla="*/ 1641 w 1990"/>
                <a:gd name="T27" fmla="*/ 1453 h 1954"/>
                <a:gd name="T28" fmla="*/ 1138 w 1990"/>
                <a:gd name="T29" fmla="*/ 583 h 1954"/>
                <a:gd name="T30" fmla="*/ 1641 w 1990"/>
                <a:gd name="T31" fmla="*/ 1453 h 1954"/>
                <a:gd name="T32" fmla="*/ 1752 w 1990"/>
                <a:gd name="T33" fmla="*/ 809 h 1954"/>
                <a:gd name="T34" fmla="*/ 1026 w 1990"/>
                <a:gd name="T35" fmla="*/ 1228 h 1954"/>
                <a:gd name="T36" fmla="*/ 1767 w 1990"/>
                <a:gd name="T37" fmla="*/ 1422 h 1954"/>
                <a:gd name="T38" fmla="*/ 1717 w 1990"/>
                <a:gd name="T39" fmla="*/ 1835 h 1954"/>
                <a:gd name="T40" fmla="*/ 1767 w 1990"/>
                <a:gd name="T41" fmla="*/ 1422 h 1954"/>
                <a:gd name="T42" fmla="*/ 1739 w 1990"/>
                <a:gd name="T43" fmla="*/ 1874 h 1954"/>
                <a:gd name="T44" fmla="*/ 1956 w 1990"/>
                <a:gd name="T45" fmla="*/ 1749 h 1954"/>
                <a:gd name="T46" fmla="*/ 249 w 1990"/>
                <a:gd name="T47" fmla="*/ 551 h 1954"/>
                <a:gd name="T48" fmla="*/ 803 w 1990"/>
                <a:gd name="T49" fmla="*/ 613 h 1954"/>
                <a:gd name="T50" fmla="*/ 675 w 1990"/>
                <a:gd name="T51" fmla="*/ 828 h 1954"/>
                <a:gd name="T52" fmla="*/ 249 w 1990"/>
                <a:gd name="T53" fmla="*/ 890 h 1954"/>
                <a:gd name="T54" fmla="*/ 675 w 1990"/>
                <a:gd name="T55" fmla="*/ 828 h 1954"/>
                <a:gd name="T56" fmla="*/ 675 w 1990"/>
                <a:gd name="T57" fmla="*/ 1167 h 1954"/>
                <a:gd name="T58" fmla="*/ 249 w 1990"/>
                <a:gd name="T59" fmla="*/ 1105 h 1954"/>
                <a:gd name="T60" fmla="*/ 249 w 1990"/>
                <a:gd name="T61" fmla="*/ 1444 h 1954"/>
                <a:gd name="T62" fmla="*/ 803 w 1990"/>
                <a:gd name="T63" fmla="*/ 1382 h 1954"/>
                <a:gd name="T64" fmla="*/ 249 w 1990"/>
                <a:gd name="T65" fmla="*/ 1444 h 1954"/>
                <a:gd name="T66" fmla="*/ 1179 w 1990"/>
                <a:gd name="T67" fmla="*/ 961 h 1954"/>
                <a:gd name="T68" fmla="*/ 1300 w 1990"/>
                <a:gd name="T69" fmla="*/ 1219 h 1954"/>
                <a:gd name="T70" fmla="*/ 1604 w 1990"/>
                <a:gd name="T71" fmla="*/ 858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90" h="1954">
                  <a:moveTo>
                    <a:pt x="1231" y="1534"/>
                  </a:moveTo>
                  <a:cubicBezTo>
                    <a:pt x="1258" y="1542"/>
                    <a:pt x="1285" y="1548"/>
                    <a:pt x="1312" y="1552"/>
                  </a:cubicBezTo>
                  <a:cubicBezTo>
                    <a:pt x="1272" y="1665"/>
                    <a:pt x="1165" y="1746"/>
                    <a:pt x="1039" y="1746"/>
                  </a:cubicBezTo>
                  <a:lnTo>
                    <a:pt x="291" y="1746"/>
                  </a:lnTo>
                  <a:cubicBezTo>
                    <a:pt x="131" y="1746"/>
                    <a:pt x="0" y="1615"/>
                    <a:pt x="0" y="1455"/>
                  </a:cubicBezTo>
                  <a:lnTo>
                    <a:pt x="0" y="540"/>
                  </a:lnTo>
                  <a:cubicBezTo>
                    <a:pt x="0" y="380"/>
                    <a:pt x="131" y="249"/>
                    <a:pt x="291" y="249"/>
                  </a:cubicBezTo>
                  <a:lnTo>
                    <a:pt x="515" y="249"/>
                  </a:lnTo>
                  <a:cubicBezTo>
                    <a:pt x="535" y="109"/>
                    <a:pt x="656" y="0"/>
                    <a:pt x="802" y="0"/>
                  </a:cubicBezTo>
                  <a:lnTo>
                    <a:pt x="1205" y="0"/>
                  </a:lnTo>
                  <a:cubicBezTo>
                    <a:pt x="1366" y="0"/>
                    <a:pt x="1496" y="131"/>
                    <a:pt x="1496" y="291"/>
                  </a:cubicBezTo>
                  <a:lnTo>
                    <a:pt x="1496" y="489"/>
                  </a:lnTo>
                  <a:cubicBezTo>
                    <a:pt x="1469" y="484"/>
                    <a:pt x="1441" y="480"/>
                    <a:pt x="1413" y="479"/>
                  </a:cubicBezTo>
                  <a:lnTo>
                    <a:pt x="1413" y="291"/>
                  </a:lnTo>
                  <a:cubicBezTo>
                    <a:pt x="1413" y="176"/>
                    <a:pt x="1320" y="83"/>
                    <a:pt x="1205" y="83"/>
                  </a:cubicBezTo>
                  <a:lnTo>
                    <a:pt x="802" y="83"/>
                  </a:lnTo>
                  <a:cubicBezTo>
                    <a:pt x="701" y="83"/>
                    <a:pt x="617" y="155"/>
                    <a:pt x="598" y="249"/>
                  </a:cubicBezTo>
                  <a:lnTo>
                    <a:pt x="1039" y="249"/>
                  </a:lnTo>
                  <a:cubicBezTo>
                    <a:pt x="1180" y="249"/>
                    <a:pt x="1297" y="349"/>
                    <a:pt x="1324" y="482"/>
                  </a:cubicBezTo>
                  <a:cubicBezTo>
                    <a:pt x="1297" y="485"/>
                    <a:pt x="1270" y="491"/>
                    <a:pt x="1243" y="499"/>
                  </a:cubicBezTo>
                  <a:cubicBezTo>
                    <a:pt x="1224" y="404"/>
                    <a:pt x="1140" y="333"/>
                    <a:pt x="1039" y="333"/>
                  </a:cubicBezTo>
                  <a:lnTo>
                    <a:pt x="291" y="333"/>
                  </a:lnTo>
                  <a:cubicBezTo>
                    <a:pt x="177" y="333"/>
                    <a:pt x="83" y="426"/>
                    <a:pt x="83" y="540"/>
                  </a:cubicBezTo>
                  <a:lnTo>
                    <a:pt x="83" y="1455"/>
                  </a:lnTo>
                  <a:cubicBezTo>
                    <a:pt x="83" y="1569"/>
                    <a:pt x="177" y="1663"/>
                    <a:pt x="291" y="1663"/>
                  </a:cubicBezTo>
                  <a:lnTo>
                    <a:pt x="1039" y="1663"/>
                  </a:lnTo>
                  <a:cubicBezTo>
                    <a:pt x="1126" y="1663"/>
                    <a:pt x="1200" y="1609"/>
                    <a:pt x="1231" y="1534"/>
                  </a:cubicBezTo>
                  <a:close/>
                  <a:moveTo>
                    <a:pt x="1641" y="1453"/>
                  </a:moveTo>
                  <a:cubicBezTo>
                    <a:pt x="1401" y="1591"/>
                    <a:pt x="1093" y="1509"/>
                    <a:pt x="955" y="1269"/>
                  </a:cubicBezTo>
                  <a:cubicBezTo>
                    <a:pt x="816" y="1029"/>
                    <a:pt x="899" y="722"/>
                    <a:pt x="1138" y="583"/>
                  </a:cubicBezTo>
                  <a:cubicBezTo>
                    <a:pt x="1378" y="445"/>
                    <a:pt x="1686" y="527"/>
                    <a:pt x="1824" y="767"/>
                  </a:cubicBezTo>
                  <a:cubicBezTo>
                    <a:pt x="1963" y="1007"/>
                    <a:pt x="1880" y="1314"/>
                    <a:pt x="1641" y="1453"/>
                  </a:cubicBezTo>
                  <a:close/>
                  <a:moveTo>
                    <a:pt x="1599" y="1381"/>
                  </a:moveTo>
                  <a:cubicBezTo>
                    <a:pt x="1799" y="1266"/>
                    <a:pt x="1868" y="1009"/>
                    <a:pt x="1752" y="809"/>
                  </a:cubicBezTo>
                  <a:cubicBezTo>
                    <a:pt x="1637" y="608"/>
                    <a:pt x="1380" y="539"/>
                    <a:pt x="1180" y="655"/>
                  </a:cubicBezTo>
                  <a:cubicBezTo>
                    <a:pt x="980" y="771"/>
                    <a:pt x="911" y="1027"/>
                    <a:pt x="1026" y="1228"/>
                  </a:cubicBezTo>
                  <a:cubicBezTo>
                    <a:pt x="1142" y="1428"/>
                    <a:pt x="1399" y="1497"/>
                    <a:pt x="1599" y="1381"/>
                  </a:cubicBezTo>
                  <a:close/>
                  <a:moveTo>
                    <a:pt x="1767" y="1422"/>
                  </a:moveTo>
                  <a:lnTo>
                    <a:pt x="1551" y="1547"/>
                  </a:lnTo>
                  <a:lnTo>
                    <a:pt x="1717" y="1835"/>
                  </a:lnTo>
                  <a:lnTo>
                    <a:pt x="1933" y="1710"/>
                  </a:lnTo>
                  <a:lnTo>
                    <a:pt x="1767" y="1422"/>
                  </a:lnTo>
                  <a:close/>
                  <a:moveTo>
                    <a:pt x="1956" y="1749"/>
                  </a:moveTo>
                  <a:lnTo>
                    <a:pt x="1739" y="1874"/>
                  </a:lnTo>
                  <a:cubicBezTo>
                    <a:pt x="1774" y="1934"/>
                    <a:pt x="1850" y="1954"/>
                    <a:pt x="1910" y="1919"/>
                  </a:cubicBezTo>
                  <a:cubicBezTo>
                    <a:pt x="1969" y="1885"/>
                    <a:pt x="1990" y="1809"/>
                    <a:pt x="1956" y="1749"/>
                  </a:cubicBezTo>
                  <a:close/>
                  <a:moveTo>
                    <a:pt x="803" y="551"/>
                  </a:moveTo>
                  <a:lnTo>
                    <a:pt x="249" y="551"/>
                  </a:lnTo>
                  <a:lnTo>
                    <a:pt x="249" y="613"/>
                  </a:lnTo>
                  <a:lnTo>
                    <a:pt x="803" y="613"/>
                  </a:lnTo>
                  <a:lnTo>
                    <a:pt x="803" y="551"/>
                  </a:lnTo>
                  <a:close/>
                  <a:moveTo>
                    <a:pt x="675" y="828"/>
                  </a:moveTo>
                  <a:lnTo>
                    <a:pt x="249" y="828"/>
                  </a:lnTo>
                  <a:lnTo>
                    <a:pt x="249" y="890"/>
                  </a:lnTo>
                  <a:lnTo>
                    <a:pt x="675" y="890"/>
                  </a:lnTo>
                  <a:lnTo>
                    <a:pt x="675" y="828"/>
                  </a:lnTo>
                  <a:close/>
                  <a:moveTo>
                    <a:pt x="249" y="1167"/>
                  </a:moveTo>
                  <a:lnTo>
                    <a:pt x="675" y="1167"/>
                  </a:lnTo>
                  <a:lnTo>
                    <a:pt x="675" y="1105"/>
                  </a:lnTo>
                  <a:lnTo>
                    <a:pt x="249" y="1105"/>
                  </a:lnTo>
                  <a:lnTo>
                    <a:pt x="249" y="1167"/>
                  </a:lnTo>
                  <a:close/>
                  <a:moveTo>
                    <a:pt x="249" y="1444"/>
                  </a:moveTo>
                  <a:lnTo>
                    <a:pt x="803" y="1444"/>
                  </a:lnTo>
                  <a:lnTo>
                    <a:pt x="803" y="1382"/>
                  </a:lnTo>
                  <a:lnTo>
                    <a:pt x="249" y="1382"/>
                  </a:lnTo>
                  <a:lnTo>
                    <a:pt x="249" y="1444"/>
                  </a:lnTo>
                  <a:close/>
                  <a:moveTo>
                    <a:pt x="1308" y="1105"/>
                  </a:moveTo>
                  <a:lnTo>
                    <a:pt x="1179" y="961"/>
                  </a:lnTo>
                  <a:lnTo>
                    <a:pt x="1118" y="1017"/>
                  </a:lnTo>
                  <a:lnTo>
                    <a:pt x="1300" y="1219"/>
                  </a:lnTo>
                  <a:lnTo>
                    <a:pt x="1657" y="922"/>
                  </a:lnTo>
                  <a:lnTo>
                    <a:pt x="1604" y="858"/>
                  </a:lnTo>
                  <a:lnTo>
                    <a:pt x="1308" y="110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sz="7200" dirty="0"/>
            </a:p>
          </p:txBody>
        </p:sp>
      </p:grpSp>
      <p:sp>
        <p:nvSpPr>
          <p:cNvPr id="47" name="椭圆 46">
            <a:extLst>
              <a:ext uri="{FF2B5EF4-FFF2-40B4-BE49-F238E27FC236}">
                <a16:creationId xmlns:a16="http://schemas.microsoft.com/office/drawing/2014/main" id="{433F90CF-FCAD-4ED4-94F5-B4B87218C5BD}"/>
              </a:ext>
            </a:extLst>
          </p:cNvPr>
          <p:cNvSpPr/>
          <p:nvPr/>
        </p:nvSpPr>
        <p:spPr bwMode="auto">
          <a:xfrm>
            <a:off x="5615038" y="3087733"/>
            <a:ext cx="949222" cy="94922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altLang="zh-CN" b="1" dirty="0">
                <a:solidFill>
                  <a:schemeClr val="accent1"/>
                </a:solidFill>
              </a:rPr>
              <a:t>66K</a:t>
            </a:r>
          </a:p>
        </p:txBody>
      </p:sp>
      <p:grpSp>
        <p:nvGrpSpPr>
          <p:cNvPr id="48" name="组合 47">
            <a:extLst>
              <a:ext uri="{FF2B5EF4-FFF2-40B4-BE49-F238E27FC236}">
                <a16:creationId xmlns:a16="http://schemas.microsoft.com/office/drawing/2014/main" id="{4527CA7B-F244-42A7-B69B-89F67CA8D3FF}"/>
              </a:ext>
            </a:extLst>
          </p:cNvPr>
          <p:cNvGrpSpPr/>
          <p:nvPr/>
        </p:nvGrpSpPr>
        <p:grpSpPr>
          <a:xfrm>
            <a:off x="5816701" y="2762250"/>
            <a:ext cx="545896" cy="545898"/>
            <a:chOff x="5757706" y="903774"/>
            <a:chExt cx="675000" cy="675005"/>
          </a:xfrm>
        </p:grpSpPr>
        <p:sp>
          <p:nvSpPr>
            <p:cNvPr id="49" name="椭圆 48">
              <a:extLst>
                <a:ext uri="{FF2B5EF4-FFF2-40B4-BE49-F238E27FC236}">
                  <a16:creationId xmlns:a16="http://schemas.microsoft.com/office/drawing/2014/main" id="{1208751F-CC36-4AA5-9120-0A4BB3B6869C}"/>
                </a:ext>
              </a:extLst>
            </p:cNvPr>
            <p:cNvSpPr/>
            <p:nvPr/>
          </p:nvSpPr>
          <p:spPr>
            <a:xfrm>
              <a:off x="5757706" y="903774"/>
              <a:ext cx="675000" cy="675005"/>
            </a:xfrm>
            <a:prstGeom prst="ellipse">
              <a:avLst/>
            </a:prstGeom>
            <a:solidFill>
              <a:schemeClr val="accent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dirty="0"/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3F6FA7AC-C667-4B9B-B8C0-ED2837EBD8E1}"/>
                </a:ext>
              </a:extLst>
            </p:cNvPr>
            <p:cNvSpPr/>
            <p:nvPr/>
          </p:nvSpPr>
          <p:spPr bwMode="auto">
            <a:xfrm>
              <a:off x="5923113" y="1072538"/>
              <a:ext cx="344185" cy="337474"/>
            </a:xfrm>
            <a:custGeom>
              <a:avLst/>
              <a:gdLst>
                <a:gd name="T0" fmla="*/ 1312 w 1990"/>
                <a:gd name="T1" fmla="*/ 1552 h 1954"/>
                <a:gd name="T2" fmla="*/ 291 w 1990"/>
                <a:gd name="T3" fmla="*/ 1746 h 1954"/>
                <a:gd name="T4" fmla="*/ 0 w 1990"/>
                <a:gd name="T5" fmla="*/ 540 h 1954"/>
                <a:gd name="T6" fmla="*/ 515 w 1990"/>
                <a:gd name="T7" fmla="*/ 249 h 1954"/>
                <a:gd name="T8" fmla="*/ 1205 w 1990"/>
                <a:gd name="T9" fmla="*/ 0 h 1954"/>
                <a:gd name="T10" fmla="*/ 1496 w 1990"/>
                <a:gd name="T11" fmla="*/ 489 h 1954"/>
                <a:gd name="T12" fmla="*/ 1413 w 1990"/>
                <a:gd name="T13" fmla="*/ 291 h 1954"/>
                <a:gd name="T14" fmla="*/ 802 w 1990"/>
                <a:gd name="T15" fmla="*/ 83 h 1954"/>
                <a:gd name="T16" fmla="*/ 1039 w 1990"/>
                <a:gd name="T17" fmla="*/ 249 h 1954"/>
                <a:gd name="T18" fmla="*/ 1243 w 1990"/>
                <a:gd name="T19" fmla="*/ 499 h 1954"/>
                <a:gd name="T20" fmla="*/ 291 w 1990"/>
                <a:gd name="T21" fmla="*/ 333 h 1954"/>
                <a:gd name="T22" fmla="*/ 83 w 1990"/>
                <a:gd name="T23" fmla="*/ 1455 h 1954"/>
                <a:gd name="T24" fmla="*/ 1039 w 1990"/>
                <a:gd name="T25" fmla="*/ 1663 h 1954"/>
                <a:gd name="T26" fmla="*/ 1641 w 1990"/>
                <a:gd name="T27" fmla="*/ 1453 h 1954"/>
                <a:gd name="T28" fmla="*/ 1138 w 1990"/>
                <a:gd name="T29" fmla="*/ 583 h 1954"/>
                <a:gd name="T30" fmla="*/ 1641 w 1990"/>
                <a:gd name="T31" fmla="*/ 1453 h 1954"/>
                <a:gd name="T32" fmla="*/ 1752 w 1990"/>
                <a:gd name="T33" fmla="*/ 809 h 1954"/>
                <a:gd name="T34" fmla="*/ 1026 w 1990"/>
                <a:gd name="T35" fmla="*/ 1228 h 1954"/>
                <a:gd name="T36" fmla="*/ 1767 w 1990"/>
                <a:gd name="T37" fmla="*/ 1422 h 1954"/>
                <a:gd name="T38" fmla="*/ 1717 w 1990"/>
                <a:gd name="T39" fmla="*/ 1835 h 1954"/>
                <a:gd name="T40" fmla="*/ 1767 w 1990"/>
                <a:gd name="T41" fmla="*/ 1422 h 1954"/>
                <a:gd name="T42" fmla="*/ 1739 w 1990"/>
                <a:gd name="T43" fmla="*/ 1874 h 1954"/>
                <a:gd name="T44" fmla="*/ 1956 w 1990"/>
                <a:gd name="T45" fmla="*/ 1749 h 1954"/>
                <a:gd name="T46" fmla="*/ 249 w 1990"/>
                <a:gd name="T47" fmla="*/ 551 h 1954"/>
                <a:gd name="T48" fmla="*/ 803 w 1990"/>
                <a:gd name="T49" fmla="*/ 613 h 1954"/>
                <a:gd name="T50" fmla="*/ 675 w 1990"/>
                <a:gd name="T51" fmla="*/ 828 h 1954"/>
                <a:gd name="T52" fmla="*/ 249 w 1990"/>
                <a:gd name="T53" fmla="*/ 890 h 1954"/>
                <a:gd name="T54" fmla="*/ 675 w 1990"/>
                <a:gd name="T55" fmla="*/ 828 h 1954"/>
                <a:gd name="T56" fmla="*/ 675 w 1990"/>
                <a:gd name="T57" fmla="*/ 1167 h 1954"/>
                <a:gd name="T58" fmla="*/ 249 w 1990"/>
                <a:gd name="T59" fmla="*/ 1105 h 1954"/>
                <a:gd name="T60" fmla="*/ 249 w 1990"/>
                <a:gd name="T61" fmla="*/ 1444 h 1954"/>
                <a:gd name="T62" fmla="*/ 803 w 1990"/>
                <a:gd name="T63" fmla="*/ 1382 h 1954"/>
                <a:gd name="T64" fmla="*/ 249 w 1990"/>
                <a:gd name="T65" fmla="*/ 1444 h 1954"/>
                <a:gd name="T66" fmla="*/ 1179 w 1990"/>
                <a:gd name="T67" fmla="*/ 961 h 1954"/>
                <a:gd name="T68" fmla="*/ 1300 w 1990"/>
                <a:gd name="T69" fmla="*/ 1219 h 1954"/>
                <a:gd name="T70" fmla="*/ 1604 w 1990"/>
                <a:gd name="T71" fmla="*/ 858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90" h="1954">
                  <a:moveTo>
                    <a:pt x="1231" y="1534"/>
                  </a:moveTo>
                  <a:cubicBezTo>
                    <a:pt x="1258" y="1542"/>
                    <a:pt x="1285" y="1548"/>
                    <a:pt x="1312" y="1552"/>
                  </a:cubicBezTo>
                  <a:cubicBezTo>
                    <a:pt x="1272" y="1665"/>
                    <a:pt x="1165" y="1746"/>
                    <a:pt x="1039" y="1746"/>
                  </a:cubicBezTo>
                  <a:lnTo>
                    <a:pt x="291" y="1746"/>
                  </a:lnTo>
                  <a:cubicBezTo>
                    <a:pt x="131" y="1746"/>
                    <a:pt x="0" y="1615"/>
                    <a:pt x="0" y="1455"/>
                  </a:cubicBezTo>
                  <a:lnTo>
                    <a:pt x="0" y="540"/>
                  </a:lnTo>
                  <a:cubicBezTo>
                    <a:pt x="0" y="380"/>
                    <a:pt x="131" y="249"/>
                    <a:pt x="291" y="249"/>
                  </a:cubicBezTo>
                  <a:lnTo>
                    <a:pt x="515" y="249"/>
                  </a:lnTo>
                  <a:cubicBezTo>
                    <a:pt x="535" y="109"/>
                    <a:pt x="656" y="0"/>
                    <a:pt x="802" y="0"/>
                  </a:cubicBezTo>
                  <a:lnTo>
                    <a:pt x="1205" y="0"/>
                  </a:lnTo>
                  <a:cubicBezTo>
                    <a:pt x="1366" y="0"/>
                    <a:pt x="1496" y="131"/>
                    <a:pt x="1496" y="291"/>
                  </a:cubicBezTo>
                  <a:lnTo>
                    <a:pt x="1496" y="489"/>
                  </a:lnTo>
                  <a:cubicBezTo>
                    <a:pt x="1469" y="484"/>
                    <a:pt x="1441" y="480"/>
                    <a:pt x="1413" y="479"/>
                  </a:cubicBezTo>
                  <a:lnTo>
                    <a:pt x="1413" y="291"/>
                  </a:lnTo>
                  <a:cubicBezTo>
                    <a:pt x="1413" y="176"/>
                    <a:pt x="1320" y="83"/>
                    <a:pt x="1205" y="83"/>
                  </a:cubicBezTo>
                  <a:lnTo>
                    <a:pt x="802" y="83"/>
                  </a:lnTo>
                  <a:cubicBezTo>
                    <a:pt x="701" y="83"/>
                    <a:pt x="617" y="155"/>
                    <a:pt x="598" y="249"/>
                  </a:cubicBezTo>
                  <a:lnTo>
                    <a:pt x="1039" y="249"/>
                  </a:lnTo>
                  <a:cubicBezTo>
                    <a:pt x="1180" y="249"/>
                    <a:pt x="1297" y="349"/>
                    <a:pt x="1324" y="482"/>
                  </a:cubicBezTo>
                  <a:cubicBezTo>
                    <a:pt x="1297" y="485"/>
                    <a:pt x="1270" y="491"/>
                    <a:pt x="1243" y="499"/>
                  </a:cubicBezTo>
                  <a:cubicBezTo>
                    <a:pt x="1224" y="404"/>
                    <a:pt x="1140" y="333"/>
                    <a:pt x="1039" y="333"/>
                  </a:cubicBezTo>
                  <a:lnTo>
                    <a:pt x="291" y="333"/>
                  </a:lnTo>
                  <a:cubicBezTo>
                    <a:pt x="177" y="333"/>
                    <a:pt x="83" y="426"/>
                    <a:pt x="83" y="540"/>
                  </a:cubicBezTo>
                  <a:lnTo>
                    <a:pt x="83" y="1455"/>
                  </a:lnTo>
                  <a:cubicBezTo>
                    <a:pt x="83" y="1569"/>
                    <a:pt x="177" y="1663"/>
                    <a:pt x="291" y="1663"/>
                  </a:cubicBezTo>
                  <a:lnTo>
                    <a:pt x="1039" y="1663"/>
                  </a:lnTo>
                  <a:cubicBezTo>
                    <a:pt x="1126" y="1663"/>
                    <a:pt x="1200" y="1609"/>
                    <a:pt x="1231" y="1534"/>
                  </a:cubicBezTo>
                  <a:close/>
                  <a:moveTo>
                    <a:pt x="1641" y="1453"/>
                  </a:moveTo>
                  <a:cubicBezTo>
                    <a:pt x="1401" y="1591"/>
                    <a:pt x="1093" y="1509"/>
                    <a:pt x="955" y="1269"/>
                  </a:cubicBezTo>
                  <a:cubicBezTo>
                    <a:pt x="816" y="1029"/>
                    <a:pt x="899" y="722"/>
                    <a:pt x="1138" y="583"/>
                  </a:cubicBezTo>
                  <a:cubicBezTo>
                    <a:pt x="1378" y="445"/>
                    <a:pt x="1686" y="527"/>
                    <a:pt x="1824" y="767"/>
                  </a:cubicBezTo>
                  <a:cubicBezTo>
                    <a:pt x="1963" y="1007"/>
                    <a:pt x="1880" y="1314"/>
                    <a:pt x="1641" y="1453"/>
                  </a:cubicBezTo>
                  <a:close/>
                  <a:moveTo>
                    <a:pt x="1599" y="1381"/>
                  </a:moveTo>
                  <a:cubicBezTo>
                    <a:pt x="1799" y="1266"/>
                    <a:pt x="1868" y="1009"/>
                    <a:pt x="1752" y="809"/>
                  </a:cubicBezTo>
                  <a:cubicBezTo>
                    <a:pt x="1637" y="608"/>
                    <a:pt x="1380" y="539"/>
                    <a:pt x="1180" y="655"/>
                  </a:cubicBezTo>
                  <a:cubicBezTo>
                    <a:pt x="980" y="771"/>
                    <a:pt x="911" y="1027"/>
                    <a:pt x="1026" y="1228"/>
                  </a:cubicBezTo>
                  <a:cubicBezTo>
                    <a:pt x="1142" y="1428"/>
                    <a:pt x="1399" y="1497"/>
                    <a:pt x="1599" y="1381"/>
                  </a:cubicBezTo>
                  <a:close/>
                  <a:moveTo>
                    <a:pt x="1767" y="1422"/>
                  </a:moveTo>
                  <a:lnTo>
                    <a:pt x="1551" y="1547"/>
                  </a:lnTo>
                  <a:lnTo>
                    <a:pt x="1717" y="1835"/>
                  </a:lnTo>
                  <a:lnTo>
                    <a:pt x="1933" y="1710"/>
                  </a:lnTo>
                  <a:lnTo>
                    <a:pt x="1767" y="1422"/>
                  </a:lnTo>
                  <a:close/>
                  <a:moveTo>
                    <a:pt x="1956" y="1749"/>
                  </a:moveTo>
                  <a:lnTo>
                    <a:pt x="1739" y="1874"/>
                  </a:lnTo>
                  <a:cubicBezTo>
                    <a:pt x="1774" y="1934"/>
                    <a:pt x="1850" y="1954"/>
                    <a:pt x="1910" y="1919"/>
                  </a:cubicBezTo>
                  <a:cubicBezTo>
                    <a:pt x="1969" y="1885"/>
                    <a:pt x="1990" y="1809"/>
                    <a:pt x="1956" y="1749"/>
                  </a:cubicBezTo>
                  <a:close/>
                  <a:moveTo>
                    <a:pt x="803" y="551"/>
                  </a:moveTo>
                  <a:lnTo>
                    <a:pt x="249" y="551"/>
                  </a:lnTo>
                  <a:lnTo>
                    <a:pt x="249" y="613"/>
                  </a:lnTo>
                  <a:lnTo>
                    <a:pt x="803" y="613"/>
                  </a:lnTo>
                  <a:lnTo>
                    <a:pt x="803" y="551"/>
                  </a:lnTo>
                  <a:close/>
                  <a:moveTo>
                    <a:pt x="675" y="828"/>
                  </a:moveTo>
                  <a:lnTo>
                    <a:pt x="249" y="828"/>
                  </a:lnTo>
                  <a:lnTo>
                    <a:pt x="249" y="890"/>
                  </a:lnTo>
                  <a:lnTo>
                    <a:pt x="675" y="890"/>
                  </a:lnTo>
                  <a:lnTo>
                    <a:pt x="675" y="828"/>
                  </a:lnTo>
                  <a:close/>
                  <a:moveTo>
                    <a:pt x="249" y="1167"/>
                  </a:moveTo>
                  <a:lnTo>
                    <a:pt x="675" y="1167"/>
                  </a:lnTo>
                  <a:lnTo>
                    <a:pt x="675" y="1105"/>
                  </a:lnTo>
                  <a:lnTo>
                    <a:pt x="249" y="1105"/>
                  </a:lnTo>
                  <a:lnTo>
                    <a:pt x="249" y="1167"/>
                  </a:lnTo>
                  <a:close/>
                  <a:moveTo>
                    <a:pt x="249" y="1444"/>
                  </a:moveTo>
                  <a:lnTo>
                    <a:pt x="803" y="1444"/>
                  </a:lnTo>
                  <a:lnTo>
                    <a:pt x="803" y="1382"/>
                  </a:lnTo>
                  <a:lnTo>
                    <a:pt x="249" y="1382"/>
                  </a:lnTo>
                  <a:lnTo>
                    <a:pt x="249" y="1444"/>
                  </a:lnTo>
                  <a:close/>
                  <a:moveTo>
                    <a:pt x="1308" y="1105"/>
                  </a:moveTo>
                  <a:lnTo>
                    <a:pt x="1179" y="961"/>
                  </a:lnTo>
                  <a:lnTo>
                    <a:pt x="1118" y="1017"/>
                  </a:lnTo>
                  <a:lnTo>
                    <a:pt x="1300" y="1219"/>
                  </a:lnTo>
                  <a:lnTo>
                    <a:pt x="1657" y="922"/>
                  </a:lnTo>
                  <a:lnTo>
                    <a:pt x="1604" y="858"/>
                  </a:lnTo>
                  <a:lnTo>
                    <a:pt x="1308" y="110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sz="7200" dirty="0"/>
            </a:p>
          </p:txBody>
        </p:sp>
      </p:grpSp>
      <p:sp>
        <p:nvSpPr>
          <p:cNvPr id="43" name="椭圆 42">
            <a:extLst>
              <a:ext uri="{FF2B5EF4-FFF2-40B4-BE49-F238E27FC236}">
                <a16:creationId xmlns:a16="http://schemas.microsoft.com/office/drawing/2014/main" id="{6807195E-C5DC-4879-8974-9B45204CFE1F}"/>
              </a:ext>
            </a:extLst>
          </p:cNvPr>
          <p:cNvSpPr/>
          <p:nvPr/>
        </p:nvSpPr>
        <p:spPr bwMode="auto">
          <a:xfrm>
            <a:off x="7846346" y="3087733"/>
            <a:ext cx="949222" cy="94922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altLang="zh-CN" b="1" dirty="0">
                <a:solidFill>
                  <a:schemeClr val="tx1"/>
                </a:solidFill>
              </a:rPr>
              <a:t>40K</a:t>
            </a:r>
          </a:p>
        </p:txBody>
      </p: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F95ED122-1B48-4667-9199-F66D0E092A65}"/>
              </a:ext>
            </a:extLst>
          </p:cNvPr>
          <p:cNvGrpSpPr/>
          <p:nvPr/>
        </p:nvGrpSpPr>
        <p:grpSpPr>
          <a:xfrm>
            <a:off x="8048009" y="2762250"/>
            <a:ext cx="545896" cy="545898"/>
            <a:chOff x="5757706" y="903774"/>
            <a:chExt cx="675000" cy="675005"/>
          </a:xfrm>
        </p:grpSpPr>
        <p:sp>
          <p:nvSpPr>
            <p:cNvPr id="45" name="椭圆 44">
              <a:extLst>
                <a:ext uri="{FF2B5EF4-FFF2-40B4-BE49-F238E27FC236}">
                  <a16:creationId xmlns:a16="http://schemas.microsoft.com/office/drawing/2014/main" id="{4D4AFACB-3FCE-4267-83E6-5ECCDE2C0BE2}"/>
                </a:ext>
              </a:extLst>
            </p:cNvPr>
            <p:cNvSpPr/>
            <p:nvPr/>
          </p:nvSpPr>
          <p:spPr>
            <a:xfrm>
              <a:off x="5757706" y="903774"/>
              <a:ext cx="675000" cy="675005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dirty="0"/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71DB23F0-1ED2-4088-82E2-E3D4AFB14386}"/>
                </a:ext>
              </a:extLst>
            </p:cNvPr>
            <p:cNvSpPr/>
            <p:nvPr/>
          </p:nvSpPr>
          <p:spPr bwMode="auto">
            <a:xfrm>
              <a:off x="5923113" y="1072538"/>
              <a:ext cx="344185" cy="337474"/>
            </a:xfrm>
            <a:custGeom>
              <a:avLst/>
              <a:gdLst>
                <a:gd name="T0" fmla="*/ 1312 w 1990"/>
                <a:gd name="T1" fmla="*/ 1552 h 1954"/>
                <a:gd name="T2" fmla="*/ 291 w 1990"/>
                <a:gd name="T3" fmla="*/ 1746 h 1954"/>
                <a:gd name="T4" fmla="*/ 0 w 1990"/>
                <a:gd name="T5" fmla="*/ 540 h 1954"/>
                <a:gd name="T6" fmla="*/ 515 w 1990"/>
                <a:gd name="T7" fmla="*/ 249 h 1954"/>
                <a:gd name="T8" fmla="*/ 1205 w 1990"/>
                <a:gd name="T9" fmla="*/ 0 h 1954"/>
                <a:gd name="T10" fmla="*/ 1496 w 1990"/>
                <a:gd name="T11" fmla="*/ 489 h 1954"/>
                <a:gd name="T12" fmla="*/ 1413 w 1990"/>
                <a:gd name="T13" fmla="*/ 291 h 1954"/>
                <a:gd name="T14" fmla="*/ 802 w 1990"/>
                <a:gd name="T15" fmla="*/ 83 h 1954"/>
                <a:gd name="T16" fmla="*/ 1039 w 1990"/>
                <a:gd name="T17" fmla="*/ 249 h 1954"/>
                <a:gd name="T18" fmla="*/ 1243 w 1990"/>
                <a:gd name="T19" fmla="*/ 499 h 1954"/>
                <a:gd name="T20" fmla="*/ 291 w 1990"/>
                <a:gd name="T21" fmla="*/ 333 h 1954"/>
                <a:gd name="T22" fmla="*/ 83 w 1990"/>
                <a:gd name="T23" fmla="*/ 1455 h 1954"/>
                <a:gd name="T24" fmla="*/ 1039 w 1990"/>
                <a:gd name="T25" fmla="*/ 1663 h 1954"/>
                <a:gd name="T26" fmla="*/ 1641 w 1990"/>
                <a:gd name="T27" fmla="*/ 1453 h 1954"/>
                <a:gd name="T28" fmla="*/ 1138 w 1990"/>
                <a:gd name="T29" fmla="*/ 583 h 1954"/>
                <a:gd name="T30" fmla="*/ 1641 w 1990"/>
                <a:gd name="T31" fmla="*/ 1453 h 1954"/>
                <a:gd name="T32" fmla="*/ 1752 w 1990"/>
                <a:gd name="T33" fmla="*/ 809 h 1954"/>
                <a:gd name="T34" fmla="*/ 1026 w 1990"/>
                <a:gd name="T35" fmla="*/ 1228 h 1954"/>
                <a:gd name="T36" fmla="*/ 1767 w 1990"/>
                <a:gd name="T37" fmla="*/ 1422 h 1954"/>
                <a:gd name="T38" fmla="*/ 1717 w 1990"/>
                <a:gd name="T39" fmla="*/ 1835 h 1954"/>
                <a:gd name="T40" fmla="*/ 1767 w 1990"/>
                <a:gd name="T41" fmla="*/ 1422 h 1954"/>
                <a:gd name="T42" fmla="*/ 1739 w 1990"/>
                <a:gd name="T43" fmla="*/ 1874 h 1954"/>
                <a:gd name="T44" fmla="*/ 1956 w 1990"/>
                <a:gd name="T45" fmla="*/ 1749 h 1954"/>
                <a:gd name="T46" fmla="*/ 249 w 1990"/>
                <a:gd name="T47" fmla="*/ 551 h 1954"/>
                <a:gd name="T48" fmla="*/ 803 w 1990"/>
                <a:gd name="T49" fmla="*/ 613 h 1954"/>
                <a:gd name="T50" fmla="*/ 675 w 1990"/>
                <a:gd name="T51" fmla="*/ 828 h 1954"/>
                <a:gd name="T52" fmla="*/ 249 w 1990"/>
                <a:gd name="T53" fmla="*/ 890 h 1954"/>
                <a:gd name="T54" fmla="*/ 675 w 1990"/>
                <a:gd name="T55" fmla="*/ 828 h 1954"/>
                <a:gd name="T56" fmla="*/ 675 w 1990"/>
                <a:gd name="T57" fmla="*/ 1167 h 1954"/>
                <a:gd name="T58" fmla="*/ 249 w 1990"/>
                <a:gd name="T59" fmla="*/ 1105 h 1954"/>
                <a:gd name="T60" fmla="*/ 249 w 1990"/>
                <a:gd name="T61" fmla="*/ 1444 h 1954"/>
                <a:gd name="T62" fmla="*/ 803 w 1990"/>
                <a:gd name="T63" fmla="*/ 1382 h 1954"/>
                <a:gd name="T64" fmla="*/ 249 w 1990"/>
                <a:gd name="T65" fmla="*/ 1444 h 1954"/>
                <a:gd name="T66" fmla="*/ 1179 w 1990"/>
                <a:gd name="T67" fmla="*/ 961 h 1954"/>
                <a:gd name="T68" fmla="*/ 1300 w 1990"/>
                <a:gd name="T69" fmla="*/ 1219 h 1954"/>
                <a:gd name="T70" fmla="*/ 1604 w 1990"/>
                <a:gd name="T71" fmla="*/ 858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90" h="1954">
                  <a:moveTo>
                    <a:pt x="1231" y="1534"/>
                  </a:moveTo>
                  <a:cubicBezTo>
                    <a:pt x="1258" y="1542"/>
                    <a:pt x="1285" y="1548"/>
                    <a:pt x="1312" y="1552"/>
                  </a:cubicBezTo>
                  <a:cubicBezTo>
                    <a:pt x="1272" y="1665"/>
                    <a:pt x="1165" y="1746"/>
                    <a:pt x="1039" y="1746"/>
                  </a:cubicBezTo>
                  <a:lnTo>
                    <a:pt x="291" y="1746"/>
                  </a:lnTo>
                  <a:cubicBezTo>
                    <a:pt x="131" y="1746"/>
                    <a:pt x="0" y="1615"/>
                    <a:pt x="0" y="1455"/>
                  </a:cubicBezTo>
                  <a:lnTo>
                    <a:pt x="0" y="540"/>
                  </a:lnTo>
                  <a:cubicBezTo>
                    <a:pt x="0" y="380"/>
                    <a:pt x="131" y="249"/>
                    <a:pt x="291" y="249"/>
                  </a:cubicBezTo>
                  <a:lnTo>
                    <a:pt x="515" y="249"/>
                  </a:lnTo>
                  <a:cubicBezTo>
                    <a:pt x="535" y="109"/>
                    <a:pt x="656" y="0"/>
                    <a:pt x="802" y="0"/>
                  </a:cubicBezTo>
                  <a:lnTo>
                    <a:pt x="1205" y="0"/>
                  </a:lnTo>
                  <a:cubicBezTo>
                    <a:pt x="1366" y="0"/>
                    <a:pt x="1496" y="131"/>
                    <a:pt x="1496" y="291"/>
                  </a:cubicBezTo>
                  <a:lnTo>
                    <a:pt x="1496" y="489"/>
                  </a:lnTo>
                  <a:cubicBezTo>
                    <a:pt x="1469" y="484"/>
                    <a:pt x="1441" y="480"/>
                    <a:pt x="1413" y="479"/>
                  </a:cubicBezTo>
                  <a:lnTo>
                    <a:pt x="1413" y="291"/>
                  </a:lnTo>
                  <a:cubicBezTo>
                    <a:pt x="1413" y="176"/>
                    <a:pt x="1320" y="83"/>
                    <a:pt x="1205" y="83"/>
                  </a:cubicBezTo>
                  <a:lnTo>
                    <a:pt x="802" y="83"/>
                  </a:lnTo>
                  <a:cubicBezTo>
                    <a:pt x="701" y="83"/>
                    <a:pt x="617" y="155"/>
                    <a:pt x="598" y="249"/>
                  </a:cubicBezTo>
                  <a:lnTo>
                    <a:pt x="1039" y="249"/>
                  </a:lnTo>
                  <a:cubicBezTo>
                    <a:pt x="1180" y="249"/>
                    <a:pt x="1297" y="349"/>
                    <a:pt x="1324" y="482"/>
                  </a:cubicBezTo>
                  <a:cubicBezTo>
                    <a:pt x="1297" y="485"/>
                    <a:pt x="1270" y="491"/>
                    <a:pt x="1243" y="499"/>
                  </a:cubicBezTo>
                  <a:cubicBezTo>
                    <a:pt x="1224" y="404"/>
                    <a:pt x="1140" y="333"/>
                    <a:pt x="1039" y="333"/>
                  </a:cubicBezTo>
                  <a:lnTo>
                    <a:pt x="291" y="333"/>
                  </a:lnTo>
                  <a:cubicBezTo>
                    <a:pt x="177" y="333"/>
                    <a:pt x="83" y="426"/>
                    <a:pt x="83" y="540"/>
                  </a:cubicBezTo>
                  <a:lnTo>
                    <a:pt x="83" y="1455"/>
                  </a:lnTo>
                  <a:cubicBezTo>
                    <a:pt x="83" y="1569"/>
                    <a:pt x="177" y="1663"/>
                    <a:pt x="291" y="1663"/>
                  </a:cubicBezTo>
                  <a:lnTo>
                    <a:pt x="1039" y="1663"/>
                  </a:lnTo>
                  <a:cubicBezTo>
                    <a:pt x="1126" y="1663"/>
                    <a:pt x="1200" y="1609"/>
                    <a:pt x="1231" y="1534"/>
                  </a:cubicBezTo>
                  <a:close/>
                  <a:moveTo>
                    <a:pt x="1641" y="1453"/>
                  </a:moveTo>
                  <a:cubicBezTo>
                    <a:pt x="1401" y="1591"/>
                    <a:pt x="1093" y="1509"/>
                    <a:pt x="955" y="1269"/>
                  </a:cubicBezTo>
                  <a:cubicBezTo>
                    <a:pt x="816" y="1029"/>
                    <a:pt x="899" y="722"/>
                    <a:pt x="1138" y="583"/>
                  </a:cubicBezTo>
                  <a:cubicBezTo>
                    <a:pt x="1378" y="445"/>
                    <a:pt x="1686" y="527"/>
                    <a:pt x="1824" y="767"/>
                  </a:cubicBezTo>
                  <a:cubicBezTo>
                    <a:pt x="1963" y="1007"/>
                    <a:pt x="1880" y="1314"/>
                    <a:pt x="1641" y="1453"/>
                  </a:cubicBezTo>
                  <a:close/>
                  <a:moveTo>
                    <a:pt x="1599" y="1381"/>
                  </a:moveTo>
                  <a:cubicBezTo>
                    <a:pt x="1799" y="1266"/>
                    <a:pt x="1868" y="1009"/>
                    <a:pt x="1752" y="809"/>
                  </a:cubicBezTo>
                  <a:cubicBezTo>
                    <a:pt x="1637" y="608"/>
                    <a:pt x="1380" y="539"/>
                    <a:pt x="1180" y="655"/>
                  </a:cubicBezTo>
                  <a:cubicBezTo>
                    <a:pt x="980" y="771"/>
                    <a:pt x="911" y="1027"/>
                    <a:pt x="1026" y="1228"/>
                  </a:cubicBezTo>
                  <a:cubicBezTo>
                    <a:pt x="1142" y="1428"/>
                    <a:pt x="1399" y="1497"/>
                    <a:pt x="1599" y="1381"/>
                  </a:cubicBezTo>
                  <a:close/>
                  <a:moveTo>
                    <a:pt x="1767" y="1422"/>
                  </a:moveTo>
                  <a:lnTo>
                    <a:pt x="1551" y="1547"/>
                  </a:lnTo>
                  <a:lnTo>
                    <a:pt x="1717" y="1835"/>
                  </a:lnTo>
                  <a:lnTo>
                    <a:pt x="1933" y="1710"/>
                  </a:lnTo>
                  <a:lnTo>
                    <a:pt x="1767" y="1422"/>
                  </a:lnTo>
                  <a:close/>
                  <a:moveTo>
                    <a:pt x="1956" y="1749"/>
                  </a:moveTo>
                  <a:lnTo>
                    <a:pt x="1739" y="1874"/>
                  </a:lnTo>
                  <a:cubicBezTo>
                    <a:pt x="1774" y="1934"/>
                    <a:pt x="1850" y="1954"/>
                    <a:pt x="1910" y="1919"/>
                  </a:cubicBezTo>
                  <a:cubicBezTo>
                    <a:pt x="1969" y="1885"/>
                    <a:pt x="1990" y="1809"/>
                    <a:pt x="1956" y="1749"/>
                  </a:cubicBezTo>
                  <a:close/>
                  <a:moveTo>
                    <a:pt x="803" y="551"/>
                  </a:moveTo>
                  <a:lnTo>
                    <a:pt x="249" y="551"/>
                  </a:lnTo>
                  <a:lnTo>
                    <a:pt x="249" y="613"/>
                  </a:lnTo>
                  <a:lnTo>
                    <a:pt x="803" y="613"/>
                  </a:lnTo>
                  <a:lnTo>
                    <a:pt x="803" y="551"/>
                  </a:lnTo>
                  <a:close/>
                  <a:moveTo>
                    <a:pt x="675" y="828"/>
                  </a:moveTo>
                  <a:lnTo>
                    <a:pt x="249" y="828"/>
                  </a:lnTo>
                  <a:lnTo>
                    <a:pt x="249" y="890"/>
                  </a:lnTo>
                  <a:lnTo>
                    <a:pt x="675" y="890"/>
                  </a:lnTo>
                  <a:lnTo>
                    <a:pt x="675" y="828"/>
                  </a:lnTo>
                  <a:close/>
                  <a:moveTo>
                    <a:pt x="249" y="1167"/>
                  </a:moveTo>
                  <a:lnTo>
                    <a:pt x="675" y="1167"/>
                  </a:lnTo>
                  <a:lnTo>
                    <a:pt x="675" y="1105"/>
                  </a:lnTo>
                  <a:lnTo>
                    <a:pt x="249" y="1105"/>
                  </a:lnTo>
                  <a:lnTo>
                    <a:pt x="249" y="1167"/>
                  </a:lnTo>
                  <a:close/>
                  <a:moveTo>
                    <a:pt x="249" y="1444"/>
                  </a:moveTo>
                  <a:lnTo>
                    <a:pt x="803" y="1444"/>
                  </a:lnTo>
                  <a:lnTo>
                    <a:pt x="803" y="1382"/>
                  </a:lnTo>
                  <a:lnTo>
                    <a:pt x="249" y="1382"/>
                  </a:lnTo>
                  <a:lnTo>
                    <a:pt x="249" y="1444"/>
                  </a:lnTo>
                  <a:close/>
                  <a:moveTo>
                    <a:pt x="1308" y="1105"/>
                  </a:moveTo>
                  <a:lnTo>
                    <a:pt x="1179" y="961"/>
                  </a:lnTo>
                  <a:lnTo>
                    <a:pt x="1118" y="1017"/>
                  </a:lnTo>
                  <a:lnTo>
                    <a:pt x="1300" y="1219"/>
                  </a:lnTo>
                  <a:lnTo>
                    <a:pt x="1657" y="922"/>
                  </a:lnTo>
                  <a:lnTo>
                    <a:pt x="1604" y="858"/>
                  </a:lnTo>
                  <a:lnTo>
                    <a:pt x="1308" y="110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sz="7200" dirty="0"/>
            </a:p>
          </p:txBody>
        </p:sp>
      </p:grpSp>
      <p:sp>
        <p:nvSpPr>
          <p:cNvPr id="39" name="椭圆 38">
            <a:extLst>
              <a:ext uri="{FF2B5EF4-FFF2-40B4-BE49-F238E27FC236}">
                <a16:creationId xmlns:a16="http://schemas.microsoft.com/office/drawing/2014/main" id="{702AB93E-4BE2-40DC-8BF9-BA45343B6FF9}"/>
              </a:ext>
            </a:extLst>
          </p:cNvPr>
          <p:cNvSpPr/>
          <p:nvPr/>
        </p:nvSpPr>
        <p:spPr bwMode="auto">
          <a:xfrm>
            <a:off x="10077654" y="3087733"/>
            <a:ext cx="949222" cy="94922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altLang="zh-CN" b="1" dirty="0">
                <a:solidFill>
                  <a:schemeClr val="tx1"/>
                </a:solidFill>
              </a:rPr>
              <a:t>32K</a:t>
            </a:r>
          </a:p>
        </p:txBody>
      </p:sp>
      <p:grpSp>
        <p:nvGrpSpPr>
          <p:cNvPr id="40" name="组合 39">
            <a:extLst>
              <a:ext uri="{FF2B5EF4-FFF2-40B4-BE49-F238E27FC236}">
                <a16:creationId xmlns:a16="http://schemas.microsoft.com/office/drawing/2014/main" id="{7D6092E1-883E-481D-9686-AF71E4E22C1C}"/>
              </a:ext>
            </a:extLst>
          </p:cNvPr>
          <p:cNvGrpSpPr/>
          <p:nvPr/>
        </p:nvGrpSpPr>
        <p:grpSpPr>
          <a:xfrm>
            <a:off x="10279317" y="2762250"/>
            <a:ext cx="545896" cy="545898"/>
            <a:chOff x="5757706" y="903774"/>
            <a:chExt cx="675000" cy="675005"/>
          </a:xfrm>
        </p:grpSpPr>
        <p:sp>
          <p:nvSpPr>
            <p:cNvPr id="41" name="椭圆 40">
              <a:extLst>
                <a:ext uri="{FF2B5EF4-FFF2-40B4-BE49-F238E27FC236}">
                  <a16:creationId xmlns:a16="http://schemas.microsoft.com/office/drawing/2014/main" id="{0EF65C8F-1579-40E8-B2DA-F6BD04DD473E}"/>
                </a:ext>
              </a:extLst>
            </p:cNvPr>
            <p:cNvSpPr/>
            <p:nvPr/>
          </p:nvSpPr>
          <p:spPr>
            <a:xfrm>
              <a:off x="5757706" y="903774"/>
              <a:ext cx="675000" cy="675005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dirty="0"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FAC1EB49-9082-44AC-84D3-42756C295987}"/>
                </a:ext>
              </a:extLst>
            </p:cNvPr>
            <p:cNvSpPr/>
            <p:nvPr/>
          </p:nvSpPr>
          <p:spPr bwMode="auto">
            <a:xfrm>
              <a:off x="5923113" y="1072538"/>
              <a:ext cx="344185" cy="337474"/>
            </a:xfrm>
            <a:custGeom>
              <a:avLst/>
              <a:gdLst>
                <a:gd name="T0" fmla="*/ 1312 w 1990"/>
                <a:gd name="T1" fmla="*/ 1552 h 1954"/>
                <a:gd name="T2" fmla="*/ 291 w 1990"/>
                <a:gd name="T3" fmla="*/ 1746 h 1954"/>
                <a:gd name="T4" fmla="*/ 0 w 1990"/>
                <a:gd name="T5" fmla="*/ 540 h 1954"/>
                <a:gd name="T6" fmla="*/ 515 w 1990"/>
                <a:gd name="T7" fmla="*/ 249 h 1954"/>
                <a:gd name="T8" fmla="*/ 1205 w 1990"/>
                <a:gd name="T9" fmla="*/ 0 h 1954"/>
                <a:gd name="T10" fmla="*/ 1496 w 1990"/>
                <a:gd name="T11" fmla="*/ 489 h 1954"/>
                <a:gd name="T12" fmla="*/ 1413 w 1990"/>
                <a:gd name="T13" fmla="*/ 291 h 1954"/>
                <a:gd name="T14" fmla="*/ 802 w 1990"/>
                <a:gd name="T15" fmla="*/ 83 h 1954"/>
                <a:gd name="T16" fmla="*/ 1039 w 1990"/>
                <a:gd name="T17" fmla="*/ 249 h 1954"/>
                <a:gd name="T18" fmla="*/ 1243 w 1990"/>
                <a:gd name="T19" fmla="*/ 499 h 1954"/>
                <a:gd name="T20" fmla="*/ 291 w 1990"/>
                <a:gd name="T21" fmla="*/ 333 h 1954"/>
                <a:gd name="T22" fmla="*/ 83 w 1990"/>
                <a:gd name="T23" fmla="*/ 1455 h 1954"/>
                <a:gd name="T24" fmla="*/ 1039 w 1990"/>
                <a:gd name="T25" fmla="*/ 1663 h 1954"/>
                <a:gd name="T26" fmla="*/ 1641 w 1990"/>
                <a:gd name="T27" fmla="*/ 1453 h 1954"/>
                <a:gd name="T28" fmla="*/ 1138 w 1990"/>
                <a:gd name="T29" fmla="*/ 583 h 1954"/>
                <a:gd name="T30" fmla="*/ 1641 w 1990"/>
                <a:gd name="T31" fmla="*/ 1453 h 1954"/>
                <a:gd name="T32" fmla="*/ 1752 w 1990"/>
                <a:gd name="T33" fmla="*/ 809 h 1954"/>
                <a:gd name="T34" fmla="*/ 1026 w 1990"/>
                <a:gd name="T35" fmla="*/ 1228 h 1954"/>
                <a:gd name="T36" fmla="*/ 1767 w 1990"/>
                <a:gd name="T37" fmla="*/ 1422 h 1954"/>
                <a:gd name="T38" fmla="*/ 1717 w 1990"/>
                <a:gd name="T39" fmla="*/ 1835 h 1954"/>
                <a:gd name="T40" fmla="*/ 1767 w 1990"/>
                <a:gd name="T41" fmla="*/ 1422 h 1954"/>
                <a:gd name="T42" fmla="*/ 1739 w 1990"/>
                <a:gd name="T43" fmla="*/ 1874 h 1954"/>
                <a:gd name="T44" fmla="*/ 1956 w 1990"/>
                <a:gd name="T45" fmla="*/ 1749 h 1954"/>
                <a:gd name="T46" fmla="*/ 249 w 1990"/>
                <a:gd name="T47" fmla="*/ 551 h 1954"/>
                <a:gd name="T48" fmla="*/ 803 w 1990"/>
                <a:gd name="T49" fmla="*/ 613 h 1954"/>
                <a:gd name="T50" fmla="*/ 675 w 1990"/>
                <a:gd name="T51" fmla="*/ 828 h 1954"/>
                <a:gd name="T52" fmla="*/ 249 w 1990"/>
                <a:gd name="T53" fmla="*/ 890 h 1954"/>
                <a:gd name="T54" fmla="*/ 675 w 1990"/>
                <a:gd name="T55" fmla="*/ 828 h 1954"/>
                <a:gd name="T56" fmla="*/ 675 w 1990"/>
                <a:gd name="T57" fmla="*/ 1167 h 1954"/>
                <a:gd name="T58" fmla="*/ 249 w 1990"/>
                <a:gd name="T59" fmla="*/ 1105 h 1954"/>
                <a:gd name="T60" fmla="*/ 249 w 1990"/>
                <a:gd name="T61" fmla="*/ 1444 h 1954"/>
                <a:gd name="T62" fmla="*/ 803 w 1990"/>
                <a:gd name="T63" fmla="*/ 1382 h 1954"/>
                <a:gd name="T64" fmla="*/ 249 w 1990"/>
                <a:gd name="T65" fmla="*/ 1444 h 1954"/>
                <a:gd name="T66" fmla="*/ 1179 w 1990"/>
                <a:gd name="T67" fmla="*/ 961 h 1954"/>
                <a:gd name="T68" fmla="*/ 1300 w 1990"/>
                <a:gd name="T69" fmla="*/ 1219 h 1954"/>
                <a:gd name="T70" fmla="*/ 1604 w 1990"/>
                <a:gd name="T71" fmla="*/ 858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90" h="1954">
                  <a:moveTo>
                    <a:pt x="1231" y="1534"/>
                  </a:moveTo>
                  <a:cubicBezTo>
                    <a:pt x="1258" y="1542"/>
                    <a:pt x="1285" y="1548"/>
                    <a:pt x="1312" y="1552"/>
                  </a:cubicBezTo>
                  <a:cubicBezTo>
                    <a:pt x="1272" y="1665"/>
                    <a:pt x="1165" y="1746"/>
                    <a:pt x="1039" y="1746"/>
                  </a:cubicBezTo>
                  <a:lnTo>
                    <a:pt x="291" y="1746"/>
                  </a:lnTo>
                  <a:cubicBezTo>
                    <a:pt x="131" y="1746"/>
                    <a:pt x="0" y="1615"/>
                    <a:pt x="0" y="1455"/>
                  </a:cubicBezTo>
                  <a:lnTo>
                    <a:pt x="0" y="540"/>
                  </a:lnTo>
                  <a:cubicBezTo>
                    <a:pt x="0" y="380"/>
                    <a:pt x="131" y="249"/>
                    <a:pt x="291" y="249"/>
                  </a:cubicBezTo>
                  <a:lnTo>
                    <a:pt x="515" y="249"/>
                  </a:lnTo>
                  <a:cubicBezTo>
                    <a:pt x="535" y="109"/>
                    <a:pt x="656" y="0"/>
                    <a:pt x="802" y="0"/>
                  </a:cubicBezTo>
                  <a:lnTo>
                    <a:pt x="1205" y="0"/>
                  </a:lnTo>
                  <a:cubicBezTo>
                    <a:pt x="1366" y="0"/>
                    <a:pt x="1496" y="131"/>
                    <a:pt x="1496" y="291"/>
                  </a:cubicBezTo>
                  <a:lnTo>
                    <a:pt x="1496" y="489"/>
                  </a:lnTo>
                  <a:cubicBezTo>
                    <a:pt x="1469" y="484"/>
                    <a:pt x="1441" y="480"/>
                    <a:pt x="1413" y="479"/>
                  </a:cubicBezTo>
                  <a:lnTo>
                    <a:pt x="1413" y="291"/>
                  </a:lnTo>
                  <a:cubicBezTo>
                    <a:pt x="1413" y="176"/>
                    <a:pt x="1320" y="83"/>
                    <a:pt x="1205" y="83"/>
                  </a:cubicBezTo>
                  <a:lnTo>
                    <a:pt x="802" y="83"/>
                  </a:lnTo>
                  <a:cubicBezTo>
                    <a:pt x="701" y="83"/>
                    <a:pt x="617" y="155"/>
                    <a:pt x="598" y="249"/>
                  </a:cubicBezTo>
                  <a:lnTo>
                    <a:pt x="1039" y="249"/>
                  </a:lnTo>
                  <a:cubicBezTo>
                    <a:pt x="1180" y="249"/>
                    <a:pt x="1297" y="349"/>
                    <a:pt x="1324" y="482"/>
                  </a:cubicBezTo>
                  <a:cubicBezTo>
                    <a:pt x="1297" y="485"/>
                    <a:pt x="1270" y="491"/>
                    <a:pt x="1243" y="499"/>
                  </a:cubicBezTo>
                  <a:cubicBezTo>
                    <a:pt x="1224" y="404"/>
                    <a:pt x="1140" y="333"/>
                    <a:pt x="1039" y="333"/>
                  </a:cubicBezTo>
                  <a:lnTo>
                    <a:pt x="291" y="333"/>
                  </a:lnTo>
                  <a:cubicBezTo>
                    <a:pt x="177" y="333"/>
                    <a:pt x="83" y="426"/>
                    <a:pt x="83" y="540"/>
                  </a:cubicBezTo>
                  <a:lnTo>
                    <a:pt x="83" y="1455"/>
                  </a:lnTo>
                  <a:cubicBezTo>
                    <a:pt x="83" y="1569"/>
                    <a:pt x="177" y="1663"/>
                    <a:pt x="291" y="1663"/>
                  </a:cubicBezTo>
                  <a:lnTo>
                    <a:pt x="1039" y="1663"/>
                  </a:lnTo>
                  <a:cubicBezTo>
                    <a:pt x="1126" y="1663"/>
                    <a:pt x="1200" y="1609"/>
                    <a:pt x="1231" y="1534"/>
                  </a:cubicBezTo>
                  <a:close/>
                  <a:moveTo>
                    <a:pt x="1641" y="1453"/>
                  </a:moveTo>
                  <a:cubicBezTo>
                    <a:pt x="1401" y="1591"/>
                    <a:pt x="1093" y="1509"/>
                    <a:pt x="955" y="1269"/>
                  </a:cubicBezTo>
                  <a:cubicBezTo>
                    <a:pt x="816" y="1029"/>
                    <a:pt x="899" y="722"/>
                    <a:pt x="1138" y="583"/>
                  </a:cubicBezTo>
                  <a:cubicBezTo>
                    <a:pt x="1378" y="445"/>
                    <a:pt x="1686" y="527"/>
                    <a:pt x="1824" y="767"/>
                  </a:cubicBezTo>
                  <a:cubicBezTo>
                    <a:pt x="1963" y="1007"/>
                    <a:pt x="1880" y="1314"/>
                    <a:pt x="1641" y="1453"/>
                  </a:cubicBezTo>
                  <a:close/>
                  <a:moveTo>
                    <a:pt x="1599" y="1381"/>
                  </a:moveTo>
                  <a:cubicBezTo>
                    <a:pt x="1799" y="1266"/>
                    <a:pt x="1868" y="1009"/>
                    <a:pt x="1752" y="809"/>
                  </a:cubicBezTo>
                  <a:cubicBezTo>
                    <a:pt x="1637" y="608"/>
                    <a:pt x="1380" y="539"/>
                    <a:pt x="1180" y="655"/>
                  </a:cubicBezTo>
                  <a:cubicBezTo>
                    <a:pt x="980" y="771"/>
                    <a:pt x="911" y="1027"/>
                    <a:pt x="1026" y="1228"/>
                  </a:cubicBezTo>
                  <a:cubicBezTo>
                    <a:pt x="1142" y="1428"/>
                    <a:pt x="1399" y="1497"/>
                    <a:pt x="1599" y="1381"/>
                  </a:cubicBezTo>
                  <a:close/>
                  <a:moveTo>
                    <a:pt x="1767" y="1422"/>
                  </a:moveTo>
                  <a:lnTo>
                    <a:pt x="1551" y="1547"/>
                  </a:lnTo>
                  <a:lnTo>
                    <a:pt x="1717" y="1835"/>
                  </a:lnTo>
                  <a:lnTo>
                    <a:pt x="1933" y="1710"/>
                  </a:lnTo>
                  <a:lnTo>
                    <a:pt x="1767" y="1422"/>
                  </a:lnTo>
                  <a:close/>
                  <a:moveTo>
                    <a:pt x="1956" y="1749"/>
                  </a:moveTo>
                  <a:lnTo>
                    <a:pt x="1739" y="1874"/>
                  </a:lnTo>
                  <a:cubicBezTo>
                    <a:pt x="1774" y="1934"/>
                    <a:pt x="1850" y="1954"/>
                    <a:pt x="1910" y="1919"/>
                  </a:cubicBezTo>
                  <a:cubicBezTo>
                    <a:pt x="1969" y="1885"/>
                    <a:pt x="1990" y="1809"/>
                    <a:pt x="1956" y="1749"/>
                  </a:cubicBezTo>
                  <a:close/>
                  <a:moveTo>
                    <a:pt x="803" y="551"/>
                  </a:moveTo>
                  <a:lnTo>
                    <a:pt x="249" y="551"/>
                  </a:lnTo>
                  <a:lnTo>
                    <a:pt x="249" y="613"/>
                  </a:lnTo>
                  <a:lnTo>
                    <a:pt x="803" y="613"/>
                  </a:lnTo>
                  <a:lnTo>
                    <a:pt x="803" y="551"/>
                  </a:lnTo>
                  <a:close/>
                  <a:moveTo>
                    <a:pt x="675" y="828"/>
                  </a:moveTo>
                  <a:lnTo>
                    <a:pt x="249" y="828"/>
                  </a:lnTo>
                  <a:lnTo>
                    <a:pt x="249" y="890"/>
                  </a:lnTo>
                  <a:lnTo>
                    <a:pt x="675" y="890"/>
                  </a:lnTo>
                  <a:lnTo>
                    <a:pt x="675" y="828"/>
                  </a:lnTo>
                  <a:close/>
                  <a:moveTo>
                    <a:pt x="249" y="1167"/>
                  </a:moveTo>
                  <a:lnTo>
                    <a:pt x="675" y="1167"/>
                  </a:lnTo>
                  <a:lnTo>
                    <a:pt x="675" y="1105"/>
                  </a:lnTo>
                  <a:lnTo>
                    <a:pt x="249" y="1105"/>
                  </a:lnTo>
                  <a:lnTo>
                    <a:pt x="249" y="1167"/>
                  </a:lnTo>
                  <a:close/>
                  <a:moveTo>
                    <a:pt x="249" y="1444"/>
                  </a:moveTo>
                  <a:lnTo>
                    <a:pt x="803" y="1444"/>
                  </a:lnTo>
                  <a:lnTo>
                    <a:pt x="803" y="1382"/>
                  </a:lnTo>
                  <a:lnTo>
                    <a:pt x="249" y="1382"/>
                  </a:lnTo>
                  <a:lnTo>
                    <a:pt x="249" y="1444"/>
                  </a:lnTo>
                  <a:close/>
                  <a:moveTo>
                    <a:pt x="1308" y="1105"/>
                  </a:moveTo>
                  <a:lnTo>
                    <a:pt x="1179" y="961"/>
                  </a:lnTo>
                  <a:lnTo>
                    <a:pt x="1118" y="1017"/>
                  </a:lnTo>
                  <a:lnTo>
                    <a:pt x="1300" y="1219"/>
                  </a:lnTo>
                  <a:lnTo>
                    <a:pt x="1657" y="922"/>
                  </a:lnTo>
                  <a:lnTo>
                    <a:pt x="1604" y="858"/>
                  </a:lnTo>
                  <a:lnTo>
                    <a:pt x="1308" y="110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normAutofit fontScale="25000" lnSpcReduction="20000"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en-US" sz="7200" dirty="0"/>
            </a:p>
          </p:txBody>
        </p:sp>
      </p:grpSp>
    </p:spTree>
    <p:extLst>
      <p:ext uri="{BB962C8B-B14F-4D97-AF65-F5344CB8AC3E}">
        <p14:creationId xmlns:p14="http://schemas.microsoft.com/office/powerpoint/2010/main" val="8240982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163066F-40AA-475E-A337-35EA76EA9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D122673-EB0F-4DB3-8F4C-F663CDCF9A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3FFFBFD-CAE8-4615-9359-5024B743F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940C482D-E9F0-4AE4-91A9-FBFF0D3EC90E}"/>
              </a:ext>
            </a:extLst>
          </p:cNvPr>
          <p:cNvSpPr/>
          <p:nvPr/>
        </p:nvSpPr>
        <p:spPr>
          <a:xfrm>
            <a:off x="5392775" y="1255469"/>
            <a:ext cx="60959" cy="4801823"/>
          </a:xfrm>
          <a:prstGeom prst="rect">
            <a:avLst/>
          </a:prstGeom>
          <a:solidFill>
            <a:schemeClr val="bg2">
              <a:lumMod val="100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7" name="矩形: 对角圆角 6">
            <a:extLst>
              <a:ext uri="{FF2B5EF4-FFF2-40B4-BE49-F238E27FC236}">
                <a16:creationId xmlns:a16="http://schemas.microsoft.com/office/drawing/2014/main" id="{3DA39F57-6055-4CDF-9A6D-B281003E5839}"/>
              </a:ext>
            </a:extLst>
          </p:cNvPr>
          <p:cNvSpPr/>
          <p:nvPr/>
        </p:nvSpPr>
        <p:spPr>
          <a:xfrm rot="16200000">
            <a:off x="3940365" y="3546055"/>
            <a:ext cx="1189683" cy="1168717"/>
          </a:xfrm>
          <a:prstGeom prst="round2DiagRect">
            <a:avLst>
              <a:gd name="adj1" fmla="val 50000"/>
              <a:gd name="adj2" fmla="val 0"/>
            </a:avLst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8" name="矩形: 对角圆角 7">
            <a:extLst>
              <a:ext uri="{FF2B5EF4-FFF2-40B4-BE49-F238E27FC236}">
                <a16:creationId xmlns:a16="http://schemas.microsoft.com/office/drawing/2014/main" id="{56A668FA-4921-4DF7-B0D3-E676981EE10B}"/>
              </a:ext>
            </a:extLst>
          </p:cNvPr>
          <p:cNvSpPr/>
          <p:nvPr/>
        </p:nvSpPr>
        <p:spPr>
          <a:xfrm rot="16200000">
            <a:off x="4047561" y="3639545"/>
            <a:ext cx="997360" cy="979782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9" name="任意多边形: 形状 8" title="kkhtT0K8BAKq4uCbn3GvMhSbXNTtWPWuwSBxvkeueEEwN">
            <a:extLst>
              <a:ext uri="{FF2B5EF4-FFF2-40B4-BE49-F238E27FC236}">
                <a16:creationId xmlns:a16="http://schemas.microsoft.com/office/drawing/2014/main" id="{C98CC7D6-AA20-4E27-B001-5A2D7E3105C7}"/>
              </a:ext>
            </a:extLst>
          </p:cNvPr>
          <p:cNvSpPr/>
          <p:nvPr/>
        </p:nvSpPr>
        <p:spPr bwMode="auto">
          <a:xfrm rot="10800000" flipV="1">
            <a:off x="4279629" y="3934048"/>
            <a:ext cx="482637" cy="329342"/>
          </a:xfrm>
          <a:custGeom>
            <a:avLst/>
            <a:gdLst>
              <a:gd name="connsiteX0" fmla="*/ 20293 w 607639"/>
              <a:gd name="connsiteY0" fmla="*/ 364067 h 414642"/>
              <a:gd name="connsiteX1" fmla="*/ 20293 w 607639"/>
              <a:gd name="connsiteY1" fmla="*/ 384244 h 414642"/>
              <a:gd name="connsiteX2" fmla="*/ 30351 w 607639"/>
              <a:gd name="connsiteY2" fmla="*/ 394377 h 414642"/>
              <a:gd name="connsiteX3" fmla="*/ 577199 w 607639"/>
              <a:gd name="connsiteY3" fmla="*/ 394377 h 414642"/>
              <a:gd name="connsiteX4" fmla="*/ 587346 w 607639"/>
              <a:gd name="connsiteY4" fmla="*/ 384244 h 414642"/>
              <a:gd name="connsiteX5" fmla="*/ 587346 w 607639"/>
              <a:gd name="connsiteY5" fmla="*/ 364067 h 414642"/>
              <a:gd name="connsiteX6" fmla="*/ 556995 w 607639"/>
              <a:gd name="connsiteY6" fmla="*/ 364067 h 414642"/>
              <a:gd name="connsiteX7" fmla="*/ 394916 w 607639"/>
              <a:gd name="connsiteY7" fmla="*/ 364067 h 414642"/>
              <a:gd name="connsiteX8" fmla="*/ 394916 w 607639"/>
              <a:gd name="connsiteY8" fmla="*/ 374200 h 414642"/>
              <a:gd name="connsiteX9" fmla="*/ 384859 w 607639"/>
              <a:gd name="connsiteY9" fmla="*/ 384244 h 414642"/>
              <a:gd name="connsiteX10" fmla="*/ 222780 w 607639"/>
              <a:gd name="connsiteY10" fmla="*/ 384244 h 414642"/>
              <a:gd name="connsiteX11" fmla="*/ 212634 w 607639"/>
              <a:gd name="connsiteY11" fmla="*/ 374200 h 414642"/>
              <a:gd name="connsiteX12" fmla="*/ 212634 w 607639"/>
              <a:gd name="connsiteY12" fmla="*/ 364067 h 414642"/>
              <a:gd name="connsiteX13" fmla="*/ 50644 w 607639"/>
              <a:gd name="connsiteY13" fmla="*/ 364067 h 414642"/>
              <a:gd name="connsiteX14" fmla="*/ 141754 w 607639"/>
              <a:gd name="connsiteY14" fmla="*/ 232583 h 414642"/>
              <a:gd name="connsiteX15" fmla="*/ 161961 w 607639"/>
              <a:gd name="connsiteY15" fmla="*/ 232583 h 414642"/>
              <a:gd name="connsiteX16" fmla="*/ 172110 w 607639"/>
              <a:gd name="connsiteY16" fmla="*/ 242719 h 414642"/>
              <a:gd name="connsiteX17" fmla="*/ 161961 w 607639"/>
              <a:gd name="connsiteY17" fmla="*/ 252765 h 414642"/>
              <a:gd name="connsiteX18" fmla="*/ 141754 w 607639"/>
              <a:gd name="connsiteY18" fmla="*/ 252765 h 414642"/>
              <a:gd name="connsiteX19" fmla="*/ 131605 w 607639"/>
              <a:gd name="connsiteY19" fmla="*/ 242719 h 414642"/>
              <a:gd name="connsiteX20" fmla="*/ 141754 w 607639"/>
              <a:gd name="connsiteY20" fmla="*/ 232583 h 414642"/>
              <a:gd name="connsiteX21" fmla="*/ 141758 w 607639"/>
              <a:gd name="connsiteY21" fmla="*/ 192149 h 414642"/>
              <a:gd name="connsiteX22" fmla="*/ 182279 w 607639"/>
              <a:gd name="connsiteY22" fmla="*/ 192149 h 414642"/>
              <a:gd name="connsiteX23" fmla="*/ 192432 w 607639"/>
              <a:gd name="connsiteY23" fmla="*/ 202196 h 414642"/>
              <a:gd name="connsiteX24" fmla="*/ 182279 w 607639"/>
              <a:gd name="connsiteY24" fmla="*/ 212331 h 414642"/>
              <a:gd name="connsiteX25" fmla="*/ 141758 w 607639"/>
              <a:gd name="connsiteY25" fmla="*/ 212331 h 414642"/>
              <a:gd name="connsiteX26" fmla="*/ 131605 w 607639"/>
              <a:gd name="connsiteY26" fmla="*/ 202196 h 414642"/>
              <a:gd name="connsiteX27" fmla="*/ 141758 w 607639"/>
              <a:gd name="connsiteY27" fmla="*/ 192149 h 414642"/>
              <a:gd name="connsiteX28" fmla="*/ 141754 w 607639"/>
              <a:gd name="connsiteY28" fmla="*/ 151716 h 414642"/>
              <a:gd name="connsiteX29" fmla="*/ 161961 w 607639"/>
              <a:gd name="connsiteY29" fmla="*/ 151716 h 414642"/>
              <a:gd name="connsiteX30" fmla="*/ 172110 w 607639"/>
              <a:gd name="connsiteY30" fmla="*/ 161763 h 414642"/>
              <a:gd name="connsiteX31" fmla="*/ 161961 w 607639"/>
              <a:gd name="connsiteY31" fmla="*/ 171898 h 414642"/>
              <a:gd name="connsiteX32" fmla="*/ 141754 w 607639"/>
              <a:gd name="connsiteY32" fmla="*/ 171898 h 414642"/>
              <a:gd name="connsiteX33" fmla="*/ 131605 w 607639"/>
              <a:gd name="connsiteY33" fmla="*/ 161763 h 414642"/>
              <a:gd name="connsiteX34" fmla="*/ 141754 w 607639"/>
              <a:gd name="connsiteY34" fmla="*/ 151716 h 414642"/>
              <a:gd name="connsiteX35" fmla="*/ 141758 w 607639"/>
              <a:gd name="connsiteY35" fmla="*/ 111211 h 414642"/>
              <a:gd name="connsiteX36" fmla="*/ 182279 w 607639"/>
              <a:gd name="connsiteY36" fmla="*/ 111211 h 414642"/>
              <a:gd name="connsiteX37" fmla="*/ 192432 w 607639"/>
              <a:gd name="connsiteY37" fmla="*/ 121337 h 414642"/>
              <a:gd name="connsiteX38" fmla="*/ 182279 w 607639"/>
              <a:gd name="connsiteY38" fmla="*/ 131463 h 414642"/>
              <a:gd name="connsiteX39" fmla="*/ 141758 w 607639"/>
              <a:gd name="connsiteY39" fmla="*/ 131463 h 414642"/>
              <a:gd name="connsiteX40" fmla="*/ 131605 w 607639"/>
              <a:gd name="connsiteY40" fmla="*/ 121337 h 414642"/>
              <a:gd name="connsiteX41" fmla="*/ 141758 w 607639"/>
              <a:gd name="connsiteY41" fmla="*/ 111211 h 414642"/>
              <a:gd name="connsiteX42" fmla="*/ 425367 w 607639"/>
              <a:gd name="connsiteY42" fmla="*/ 101191 h 414642"/>
              <a:gd name="connsiteX43" fmla="*/ 496228 w 607639"/>
              <a:gd name="connsiteY43" fmla="*/ 101191 h 414642"/>
              <a:gd name="connsiteX44" fmla="*/ 506377 w 607639"/>
              <a:gd name="connsiteY44" fmla="*/ 111231 h 414642"/>
              <a:gd name="connsiteX45" fmla="*/ 506377 w 607639"/>
              <a:gd name="connsiteY45" fmla="*/ 182042 h 414642"/>
              <a:gd name="connsiteX46" fmla="*/ 496228 w 607639"/>
              <a:gd name="connsiteY46" fmla="*/ 192171 h 414642"/>
              <a:gd name="connsiteX47" fmla="*/ 486080 w 607639"/>
              <a:gd name="connsiteY47" fmla="*/ 182042 h 414642"/>
              <a:gd name="connsiteX48" fmla="*/ 486080 w 607639"/>
              <a:gd name="connsiteY48" fmla="*/ 135575 h 414642"/>
              <a:gd name="connsiteX49" fmla="*/ 402043 w 607639"/>
              <a:gd name="connsiteY49" fmla="*/ 219447 h 414642"/>
              <a:gd name="connsiteX50" fmla="*/ 394921 w 607639"/>
              <a:gd name="connsiteY50" fmla="*/ 222468 h 414642"/>
              <a:gd name="connsiteX51" fmla="*/ 387889 w 607639"/>
              <a:gd name="connsiteY51" fmla="*/ 219447 h 414642"/>
              <a:gd name="connsiteX52" fmla="*/ 344268 w 607639"/>
              <a:gd name="connsiteY52" fmla="*/ 176001 h 414642"/>
              <a:gd name="connsiteX53" fmla="*/ 270380 w 607639"/>
              <a:gd name="connsiteY53" fmla="*/ 249744 h 414642"/>
              <a:gd name="connsiteX54" fmla="*/ 263258 w 607639"/>
              <a:gd name="connsiteY54" fmla="*/ 252765 h 414642"/>
              <a:gd name="connsiteX55" fmla="*/ 256225 w 607639"/>
              <a:gd name="connsiteY55" fmla="*/ 249744 h 414642"/>
              <a:gd name="connsiteX56" fmla="*/ 256225 w 607639"/>
              <a:gd name="connsiteY56" fmla="*/ 235617 h 414642"/>
              <a:gd name="connsiteX57" fmla="*/ 337235 w 607639"/>
              <a:gd name="connsiteY57" fmla="*/ 154766 h 414642"/>
              <a:gd name="connsiteX58" fmla="*/ 338837 w 607639"/>
              <a:gd name="connsiteY58" fmla="*/ 153433 h 414642"/>
              <a:gd name="connsiteX59" fmla="*/ 340618 w 607639"/>
              <a:gd name="connsiteY59" fmla="*/ 152456 h 414642"/>
              <a:gd name="connsiteX60" fmla="*/ 341508 w 607639"/>
              <a:gd name="connsiteY60" fmla="*/ 152101 h 414642"/>
              <a:gd name="connsiteX61" fmla="*/ 343378 w 607639"/>
              <a:gd name="connsiteY61" fmla="*/ 151745 h 414642"/>
              <a:gd name="connsiteX62" fmla="*/ 344268 w 607639"/>
              <a:gd name="connsiteY62" fmla="*/ 151745 h 414642"/>
              <a:gd name="connsiteX63" fmla="*/ 346226 w 607639"/>
              <a:gd name="connsiteY63" fmla="*/ 151923 h 414642"/>
              <a:gd name="connsiteX64" fmla="*/ 351390 w 607639"/>
              <a:gd name="connsiteY64" fmla="*/ 154766 h 414642"/>
              <a:gd name="connsiteX65" fmla="*/ 394921 w 607639"/>
              <a:gd name="connsiteY65" fmla="*/ 198213 h 414642"/>
              <a:gd name="connsiteX66" fmla="*/ 471925 w 607639"/>
              <a:gd name="connsiteY66" fmla="*/ 121359 h 414642"/>
              <a:gd name="connsiteX67" fmla="*/ 425367 w 607639"/>
              <a:gd name="connsiteY67" fmla="*/ 121359 h 414642"/>
              <a:gd name="connsiteX68" fmla="*/ 415218 w 607639"/>
              <a:gd name="connsiteY68" fmla="*/ 111231 h 414642"/>
              <a:gd name="connsiteX69" fmla="*/ 425367 w 607639"/>
              <a:gd name="connsiteY69" fmla="*/ 101191 h 414642"/>
              <a:gd name="connsiteX70" fmla="*/ 101297 w 607639"/>
              <a:gd name="connsiteY70" fmla="*/ 91029 h 414642"/>
              <a:gd name="connsiteX71" fmla="*/ 111423 w 607639"/>
              <a:gd name="connsiteY71" fmla="*/ 101159 h 414642"/>
              <a:gd name="connsiteX72" fmla="*/ 111423 w 607639"/>
              <a:gd name="connsiteY72" fmla="*/ 262887 h 414642"/>
              <a:gd name="connsiteX73" fmla="*/ 101297 w 607639"/>
              <a:gd name="connsiteY73" fmla="*/ 273017 h 414642"/>
              <a:gd name="connsiteX74" fmla="*/ 91171 w 607639"/>
              <a:gd name="connsiteY74" fmla="*/ 262887 h 414642"/>
              <a:gd name="connsiteX75" fmla="*/ 91171 w 607639"/>
              <a:gd name="connsiteY75" fmla="*/ 101159 h 414642"/>
              <a:gd name="connsiteX76" fmla="*/ 101297 w 607639"/>
              <a:gd name="connsiteY76" fmla="*/ 91029 h 414642"/>
              <a:gd name="connsiteX77" fmla="*/ 70848 w 607639"/>
              <a:gd name="connsiteY77" fmla="*/ 20177 h 414642"/>
              <a:gd name="connsiteX78" fmla="*/ 60791 w 607639"/>
              <a:gd name="connsiteY78" fmla="*/ 30309 h 414642"/>
              <a:gd name="connsiteX79" fmla="*/ 60791 w 607639"/>
              <a:gd name="connsiteY79" fmla="*/ 343802 h 414642"/>
              <a:gd name="connsiteX80" fmla="*/ 222780 w 607639"/>
              <a:gd name="connsiteY80" fmla="*/ 343802 h 414642"/>
              <a:gd name="connsiteX81" fmla="*/ 232927 w 607639"/>
              <a:gd name="connsiteY81" fmla="*/ 353935 h 414642"/>
              <a:gd name="connsiteX82" fmla="*/ 232927 w 607639"/>
              <a:gd name="connsiteY82" fmla="*/ 364067 h 414642"/>
              <a:gd name="connsiteX83" fmla="*/ 374712 w 607639"/>
              <a:gd name="connsiteY83" fmla="*/ 364067 h 414642"/>
              <a:gd name="connsiteX84" fmla="*/ 374712 w 607639"/>
              <a:gd name="connsiteY84" fmla="*/ 353935 h 414642"/>
              <a:gd name="connsiteX85" fmla="*/ 384859 w 607639"/>
              <a:gd name="connsiteY85" fmla="*/ 343802 h 414642"/>
              <a:gd name="connsiteX86" fmla="*/ 546848 w 607639"/>
              <a:gd name="connsiteY86" fmla="*/ 343802 h 414642"/>
              <a:gd name="connsiteX87" fmla="*/ 546848 w 607639"/>
              <a:gd name="connsiteY87" fmla="*/ 30309 h 414642"/>
              <a:gd name="connsiteX88" fmla="*/ 536702 w 607639"/>
              <a:gd name="connsiteY88" fmla="*/ 20177 h 414642"/>
              <a:gd name="connsiteX89" fmla="*/ 70848 w 607639"/>
              <a:gd name="connsiteY89" fmla="*/ 0 h 414642"/>
              <a:gd name="connsiteX90" fmla="*/ 536702 w 607639"/>
              <a:gd name="connsiteY90" fmla="*/ 0 h 414642"/>
              <a:gd name="connsiteX91" fmla="*/ 567142 w 607639"/>
              <a:gd name="connsiteY91" fmla="*/ 30309 h 414642"/>
              <a:gd name="connsiteX92" fmla="*/ 567142 w 607639"/>
              <a:gd name="connsiteY92" fmla="*/ 343802 h 414642"/>
              <a:gd name="connsiteX93" fmla="*/ 597492 w 607639"/>
              <a:gd name="connsiteY93" fmla="*/ 343802 h 414642"/>
              <a:gd name="connsiteX94" fmla="*/ 607639 w 607639"/>
              <a:gd name="connsiteY94" fmla="*/ 353935 h 414642"/>
              <a:gd name="connsiteX95" fmla="*/ 607639 w 607639"/>
              <a:gd name="connsiteY95" fmla="*/ 384244 h 414642"/>
              <a:gd name="connsiteX96" fmla="*/ 577199 w 607639"/>
              <a:gd name="connsiteY96" fmla="*/ 414642 h 414642"/>
              <a:gd name="connsiteX97" fmla="*/ 30351 w 607639"/>
              <a:gd name="connsiteY97" fmla="*/ 414642 h 414642"/>
              <a:gd name="connsiteX98" fmla="*/ 0 w 607639"/>
              <a:gd name="connsiteY98" fmla="*/ 384244 h 414642"/>
              <a:gd name="connsiteX99" fmla="*/ 0 w 607639"/>
              <a:gd name="connsiteY99" fmla="*/ 353935 h 414642"/>
              <a:gd name="connsiteX100" fmla="*/ 10147 w 607639"/>
              <a:gd name="connsiteY100" fmla="*/ 343802 h 414642"/>
              <a:gd name="connsiteX101" fmla="*/ 40497 w 607639"/>
              <a:gd name="connsiteY101" fmla="*/ 343802 h 414642"/>
              <a:gd name="connsiteX102" fmla="*/ 40497 w 607639"/>
              <a:gd name="connsiteY102" fmla="*/ 30309 h 414642"/>
              <a:gd name="connsiteX103" fmla="*/ 70848 w 607639"/>
              <a:gd name="connsiteY103" fmla="*/ 0 h 414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</a:cxnLst>
            <a:rect l="l" t="t" r="r" b="b"/>
            <a:pathLst>
              <a:path w="607639" h="414642">
                <a:moveTo>
                  <a:pt x="20293" y="364067"/>
                </a:moveTo>
                <a:lnTo>
                  <a:pt x="20293" y="384244"/>
                </a:lnTo>
                <a:cubicBezTo>
                  <a:pt x="20293" y="390377"/>
                  <a:pt x="24298" y="394377"/>
                  <a:pt x="30351" y="394377"/>
                </a:cubicBezTo>
                <a:lnTo>
                  <a:pt x="577199" y="394377"/>
                </a:lnTo>
                <a:cubicBezTo>
                  <a:pt x="583341" y="394377"/>
                  <a:pt x="587346" y="390377"/>
                  <a:pt x="587346" y="384244"/>
                </a:cubicBezTo>
                <a:lnTo>
                  <a:pt x="587346" y="364067"/>
                </a:lnTo>
                <a:lnTo>
                  <a:pt x="556995" y="364067"/>
                </a:lnTo>
                <a:lnTo>
                  <a:pt x="394916" y="364067"/>
                </a:lnTo>
                <a:lnTo>
                  <a:pt x="394916" y="374200"/>
                </a:lnTo>
                <a:cubicBezTo>
                  <a:pt x="394916" y="380244"/>
                  <a:pt x="390911" y="384244"/>
                  <a:pt x="384859" y="384244"/>
                </a:cubicBezTo>
                <a:lnTo>
                  <a:pt x="222780" y="384244"/>
                </a:lnTo>
                <a:cubicBezTo>
                  <a:pt x="216728" y="384244"/>
                  <a:pt x="212634" y="380244"/>
                  <a:pt x="212634" y="374200"/>
                </a:cubicBezTo>
                <a:lnTo>
                  <a:pt x="212634" y="364067"/>
                </a:lnTo>
                <a:lnTo>
                  <a:pt x="50644" y="364067"/>
                </a:lnTo>
                <a:close/>
                <a:moveTo>
                  <a:pt x="141754" y="232583"/>
                </a:moveTo>
                <a:lnTo>
                  <a:pt x="161961" y="232583"/>
                </a:lnTo>
                <a:cubicBezTo>
                  <a:pt x="168104" y="232583"/>
                  <a:pt x="172110" y="236584"/>
                  <a:pt x="172110" y="242719"/>
                </a:cubicBezTo>
                <a:cubicBezTo>
                  <a:pt x="172110" y="248764"/>
                  <a:pt x="168104" y="252765"/>
                  <a:pt x="161961" y="252765"/>
                </a:cubicBezTo>
                <a:lnTo>
                  <a:pt x="141754" y="252765"/>
                </a:lnTo>
                <a:cubicBezTo>
                  <a:pt x="135700" y="252765"/>
                  <a:pt x="131605" y="248764"/>
                  <a:pt x="131605" y="242719"/>
                </a:cubicBezTo>
                <a:cubicBezTo>
                  <a:pt x="131605" y="236584"/>
                  <a:pt x="135700" y="232583"/>
                  <a:pt x="141754" y="232583"/>
                </a:cubicBezTo>
                <a:close/>
                <a:moveTo>
                  <a:pt x="141758" y="192149"/>
                </a:moveTo>
                <a:lnTo>
                  <a:pt x="182279" y="192149"/>
                </a:lnTo>
                <a:cubicBezTo>
                  <a:pt x="188335" y="192149"/>
                  <a:pt x="192432" y="196150"/>
                  <a:pt x="192432" y="202196"/>
                </a:cubicBezTo>
                <a:cubicBezTo>
                  <a:pt x="192432" y="208330"/>
                  <a:pt x="188335" y="212331"/>
                  <a:pt x="182279" y="212331"/>
                </a:cubicBezTo>
                <a:lnTo>
                  <a:pt x="141758" y="212331"/>
                </a:lnTo>
                <a:cubicBezTo>
                  <a:pt x="135702" y="212331"/>
                  <a:pt x="131605" y="208330"/>
                  <a:pt x="131605" y="202196"/>
                </a:cubicBezTo>
                <a:cubicBezTo>
                  <a:pt x="131605" y="196150"/>
                  <a:pt x="135702" y="192149"/>
                  <a:pt x="141758" y="192149"/>
                </a:cubicBezTo>
                <a:close/>
                <a:moveTo>
                  <a:pt x="141754" y="151716"/>
                </a:moveTo>
                <a:lnTo>
                  <a:pt x="161961" y="151716"/>
                </a:lnTo>
                <a:cubicBezTo>
                  <a:pt x="168104" y="151716"/>
                  <a:pt x="172110" y="155717"/>
                  <a:pt x="172110" y="161763"/>
                </a:cubicBezTo>
                <a:cubicBezTo>
                  <a:pt x="172110" y="167897"/>
                  <a:pt x="168104" y="171898"/>
                  <a:pt x="161961" y="171898"/>
                </a:cubicBezTo>
                <a:lnTo>
                  <a:pt x="141754" y="171898"/>
                </a:lnTo>
                <a:cubicBezTo>
                  <a:pt x="135700" y="171898"/>
                  <a:pt x="131605" y="167897"/>
                  <a:pt x="131605" y="161763"/>
                </a:cubicBezTo>
                <a:cubicBezTo>
                  <a:pt x="131605" y="155717"/>
                  <a:pt x="135700" y="151716"/>
                  <a:pt x="141754" y="151716"/>
                </a:cubicBezTo>
                <a:close/>
                <a:moveTo>
                  <a:pt x="141758" y="111211"/>
                </a:moveTo>
                <a:lnTo>
                  <a:pt x="182279" y="111211"/>
                </a:lnTo>
                <a:cubicBezTo>
                  <a:pt x="188335" y="111211"/>
                  <a:pt x="192432" y="115297"/>
                  <a:pt x="192432" y="121337"/>
                </a:cubicBezTo>
                <a:cubicBezTo>
                  <a:pt x="192432" y="127377"/>
                  <a:pt x="188335" y="131463"/>
                  <a:pt x="182279" y="131463"/>
                </a:cubicBezTo>
                <a:lnTo>
                  <a:pt x="141758" y="131463"/>
                </a:lnTo>
                <a:cubicBezTo>
                  <a:pt x="135702" y="131463"/>
                  <a:pt x="131605" y="127377"/>
                  <a:pt x="131605" y="121337"/>
                </a:cubicBezTo>
                <a:cubicBezTo>
                  <a:pt x="131605" y="115297"/>
                  <a:pt x="135702" y="111211"/>
                  <a:pt x="141758" y="111211"/>
                </a:cubicBezTo>
                <a:close/>
                <a:moveTo>
                  <a:pt x="425367" y="101191"/>
                </a:moveTo>
                <a:lnTo>
                  <a:pt x="496228" y="101191"/>
                </a:lnTo>
                <a:cubicBezTo>
                  <a:pt x="502282" y="101191"/>
                  <a:pt x="506377" y="105189"/>
                  <a:pt x="506377" y="111231"/>
                </a:cubicBezTo>
                <a:lnTo>
                  <a:pt x="506377" y="182042"/>
                </a:lnTo>
                <a:cubicBezTo>
                  <a:pt x="506377" y="188084"/>
                  <a:pt x="502282" y="192171"/>
                  <a:pt x="496228" y="192171"/>
                </a:cubicBezTo>
                <a:cubicBezTo>
                  <a:pt x="490175" y="192171"/>
                  <a:pt x="486080" y="188084"/>
                  <a:pt x="486080" y="182042"/>
                </a:cubicBezTo>
                <a:lnTo>
                  <a:pt x="486080" y="135575"/>
                </a:lnTo>
                <a:lnTo>
                  <a:pt x="402043" y="219447"/>
                </a:lnTo>
                <a:cubicBezTo>
                  <a:pt x="399996" y="221491"/>
                  <a:pt x="397948" y="222468"/>
                  <a:pt x="394921" y="222468"/>
                </a:cubicBezTo>
                <a:cubicBezTo>
                  <a:pt x="391895" y="222468"/>
                  <a:pt x="389847" y="221491"/>
                  <a:pt x="387889" y="219447"/>
                </a:cubicBezTo>
                <a:lnTo>
                  <a:pt x="344268" y="176001"/>
                </a:lnTo>
                <a:lnTo>
                  <a:pt x="270380" y="249744"/>
                </a:lnTo>
                <a:cubicBezTo>
                  <a:pt x="268332" y="251788"/>
                  <a:pt x="266285" y="252765"/>
                  <a:pt x="263258" y="252765"/>
                </a:cubicBezTo>
                <a:cubicBezTo>
                  <a:pt x="260231" y="252765"/>
                  <a:pt x="258184" y="251788"/>
                  <a:pt x="256225" y="249744"/>
                </a:cubicBezTo>
                <a:cubicBezTo>
                  <a:pt x="252130" y="245746"/>
                  <a:pt x="252130" y="239616"/>
                  <a:pt x="256225" y="235617"/>
                </a:cubicBezTo>
                <a:lnTo>
                  <a:pt x="337235" y="154766"/>
                </a:lnTo>
                <a:cubicBezTo>
                  <a:pt x="337769" y="154233"/>
                  <a:pt x="338303" y="153789"/>
                  <a:pt x="338837" y="153433"/>
                </a:cubicBezTo>
                <a:cubicBezTo>
                  <a:pt x="339372" y="152989"/>
                  <a:pt x="339995" y="152723"/>
                  <a:pt x="340618" y="152456"/>
                </a:cubicBezTo>
                <a:cubicBezTo>
                  <a:pt x="340885" y="152367"/>
                  <a:pt x="341152" y="152190"/>
                  <a:pt x="341508" y="152101"/>
                </a:cubicBezTo>
                <a:cubicBezTo>
                  <a:pt x="342131" y="151923"/>
                  <a:pt x="342754" y="151834"/>
                  <a:pt x="343378" y="151745"/>
                </a:cubicBezTo>
                <a:cubicBezTo>
                  <a:pt x="343645" y="151745"/>
                  <a:pt x="344001" y="151745"/>
                  <a:pt x="344268" y="151745"/>
                </a:cubicBezTo>
                <a:cubicBezTo>
                  <a:pt x="344980" y="151745"/>
                  <a:pt x="345603" y="151745"/>
                  <a:pt x="346226" y="151923"/>
                </a:cubicBezTo>
                <a:cubicBezTo>
                  <a:pt x="348096" y="152278"/>
                  <a:pt x="349876" y="153256"/>
                  <a:pt x="351390" y="154766"/>
                </a:cubicBezTo>
                <a:lnTo>
                  <a:pt x="394921" y="198213"/>
                </a:lnTo>
                <a:lnTo>
                  <a:pt x="471925" y="121359"/>
                </a:lnTo>
                <a:lnTo>
                  <a:pt x="425367" y="121359"/>
                </a:lnTo>
                <a:cubicBezTo>
                  <a:pt x="419224" y="121359"/>
                  <a:pt x="415218" y="117361"/>
                  <a:pt x="415218" y="111231"/>
                </a:cubicBezTo>
                <a:cubicBezTo>
                  <a:pt x="415218" y="105189"/>
                  <a:pt x="419224" y="101191"/>
                  <a:pt x="425367" y="101191"/>
                </a:cubicBezTo>
                <a:close/>
                <a:moveTo>
                  <a:pt x="101297" y="91029"/>
                </a:moveTo>
                <a:cubicBezTo>
                  <a:pt x="107337" y="91029"/>
                  <a:pt x="111423" y="95028"/>
                  <a:pt x="111423" y="101159"/>
                </a:cubicBezTo>
                <a:lnTo>
                  <a:pt x="111423" y="262887"/>
                </a:lnTo>
                <a:cubicBezTo>
                  <a:pt x="111423" y="268929"/>
                  <a:pt x="107337" y="273017"/>
                  <a:pt x="101297" y="273017"/>
                </a:cubicBezTo>
                <a:cubicBezTo>
                  <a:pt x="95257" y="273017"/>
                  <a:pt x="91171" y="268929"/>
                  <a:pt x="91171" y="262887"/>
                </a:cubicBezTo>
                <a:lnTo>
                  <a:pt x="91171" y="101159"/>
                </a:lnTo>
                <a:cubicBezTo>
                  <a:pt x="91171" y="95028"/>
                  <a:pt x="95257" y="91029"/>
                  <a:pt x="101297" y="91029"/>
                </a:cubicBezTo>
                <a:close/>
                <a:moveTo>
                  <a:pt x="70848" y="20177"/>
                </a:moveTo>
                <a:cubicBezTo>
                  <a:pt x="64796" y="20177"/>
                  <a:pt x="60791" y="24265"/>
                  <a:pt x="60791" y="30309"/>
                </a:cubicBezTo>
                <a:lnTo>
                  <a:pt x="60791" y="343802"/>
                </a:lnTo>
                <a:lnTo>
                  <a:pt x="222780" y="343802"/>
                </a:lnTo>
                <a:cubicBezTo>
                  <a:pt x="228833" y="343802"/>
                  <a:pt x="232927" y="347890"/>
                  <a:pt x="232927" y="353935"/>
                </a:cubicBezTo>
                <a:lnTo>
                  <a:pt x="232927" y="364067"/>
                </a:lnTo>
                <a:lnTo>
                  <a:pt x="374712" y="364067"/>
                </a:lnTo>
                <a:lnTo>
                  <a:pt x="374712" y="353935"/>
                </a:lnTo>
                <a:cubicBezTo>
                  <a:pt x="374712" y="347890"/>
                  <a:pt x="378717" y="343802"/>
                  <a:pt x="384859" y="343802"/>
                </a:cubicBezTo>
                <a:lnTo>
                  <a:pt x="546848" y="343802"/>
                </a:lnTo>
                <a:lnTo>
                  <a:pt x="546848" y="30309"/>
                </a:lnTo>
                <a:cubicBezTo>
                  <a:pt x="546848" y="24265"/>
                  <a:pt x="542754" y="20177"/>
                  <a:pt x="536702" y="20177"/>
                </a:cubicBezTo>
                <a:close/>
                <a:moveTo>
                  <a:pt x="70848" y="0"/>
                </a:moveTo>
                <a:lnTo>
                  <a:pt x="536702" y="0"/>
                </a:lnTo>
                <a:cubicBezTo>
                  <a:pt x="553969" y="0"/>
                  <a:pt x="567142" y="13155"/>
                  <a:pt x="567142" y="30309"/>
                </a:cubicBezTo>
                <a:lnTo>
                  <a:pt x="567142" y="343802"/>
                </a:lnTo>
                <a:lnTo>
                  <a:pt x="597492" y="343802"/>
                </a:lnTo>
                <a:cubicBezTo>
                  <a:pt x="603545" y="343802"/>
                  <a:pt x="607639" y="347890"/>
                  <a:pt x="607639" y="353935"/>
                </a:cubicBezTo>
                <a:lnTo>
                  <a:pt x="607639" y="384244"/>
                </a:lnTo>
                <a:cubicBezTo>
                  <a:pt x="607639" y="401487"/>
                  <a:pt x="594466" y="414642"/>
                  <a:pt x="577199" y="414642"/>
                </a:cubicBezTo>
                <a:lnTo>
                  <a:pt x="30351" y="414642"/>
                </a:lnTo>
                <a:cubicBezTo>
                  <a:pt x="13173" y="414642"/>
                  <a:pt x="0" y="401487"/>
                  <a:pt x="0" y="384244"/>
                </a:cubicBezTo>
                <a:lnTo>
                  <a:pt x="0" y="353935"/>
                </a:lnTo>
                <a:cubicBezTo>
                  <a:pt x="0" y="347890"/>
                  <a:pt x="4094" y="343802"/>
                  <a:pt x="10147" y="343802"/>
                </a:cubicBezTo>
                <a:lnTo>
                  <a:pt x="40497" y="343802"/>
                </a:lnTo>
                <a:lnTo>
                  <a:pt x="40497" y="30309"/>
                </a:lnTo>
                <a:cubicBezTo>
                  <a:pt x="40497" y="13155"/>
                  <a:pt x="53670" y="0"/>
                  <a:pt x="70848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0" name="矩形: 对角圆角 9">
            <a:extLst>
              <a:ext uri="{FF2B5EF4-FFF2-40B4-BE49-F238E27FC236}">
                <a16:creationId xmlns:a16="http://schemas.microsoft.com/office/drawing/2014/main" id="{2D448E1B-DAB9-422E-8D3C-09300590829A}"/>
              </a:ext>
            </a:extLst>
          </p:cNvPr>
          <p:cNvSpPr/>
          <p:nvPr/>
        </p:nvSpPr>
        <p:spPr>
          <a:xfrm rot="16200000">
            <a:off x="3895959" y="1467049"/>
            <a:ext cx="1234483" cy="1212728"/>
          </a:xfrm>
          <a:prstGeom prst="round2DiagRect">
            <a:avLst>
              <a:gd name="adj1" fmla="val 50000"/>
              <a:gd name="adj2" fmla="val 0"/>
            </a:avLst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11" name="矩形: 对角圆角 10">
            <a:extLst>
              <a:ext uri="{FF2B5EF4-FFF2-40B4-BE49-F238E27FC236}">
                <a16:creationId xmlns:a16="http://schemas.microsoft.com/office/drawing/2014/main" id="{F40CC7FC-EB2F-428B-AF8E-068F1ADCDE86}"/>
              </a:ext>
            </a:extLst>
          </p:cNvPr>
          <p:cNvSpPr/>
          <p:nvPr/>
        </p:nvSpPr>
        <p:spPr>
          <a:xfrm rot="16200000">
            <a:off x="4007191" y="1564059"/>
            <a:ext cx="1034918" cy="1016679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EE28278F-AE74-43FF-9647-478BAAE9E8BD}"/>
              </a:ext>
            </a:extLst>
          </p:cNvPr>
          <p:cNvSpPr/>
          <p:nvPr/>
        </p:nvSpPr>
        <p:spPr bwMode="auto">
          <a:xfrm>
            <a:off x="4248513" y="1792664"/>
            <a:ext cx="579957" cy="579195"/>
          </a:xfrm>
          <a:custGeom>
            <a:avLst/>
            <a:gdLst>
              <a:gd name="connsiteX0" fmla="*/ 86413 w 591547"/>
              <a:gd name="connsiteY0" fmla="*/ 515758 h 590770"/>
              <a:gd name="connsiteX1" fmla="*/ 171919 w 591547"/>
              <a:gd name="connsiteY1" fmla="*/ 515758 h 590770"/>
              <a:gd name="connsiteX2" fmla="*/ 171919 w 591547"/>
              <a:gd name="connsiteY2" fmla="*/ 537523 h 590770"/>
              <a:gd name="connsiteX3" fmla="*/ 86413 w 591547"/>
              <a:gd name="connsiteY3" fmla="*/ 537523 h 590770"/>
              <a:gd name="connsiteX4" fmla="*/ 86413 w 591547"/>
              <a:gd name="connsiteY4" fmla="*/ 461733 h 590770"/>
              <a:gd name="connsiteX5" fmla="*/ 171919 w 591547"/>
              <a:gd name="connsiteY5" fmla="*/ 461733 h 590770"/>
              <a:gd name="connsiteX6" fmla="*/ 171919 w 591547"/>
              <a:gd name="connsiteY6" fmla="*/ 483498 h 590770"/>
              <a:gd name="connsiteX7" fmla="*/ 86413 w 591547"/>
              <a:gd name="connsiteY7" fmla="*/ 483498 h 590770"/>
              <a:gd name="connsiteX8" fmla="*/ 86413 w 591547"/>
              <a:gd name="connsiteY8" fmla="*/ 408616 h 590770"/>
              <a:gd name="connsiteX9" fmla="*/ 171919 w 591547"/>
              <a:gd name="connsiteY9" fmla="*/ 408616 h 590770"/>
              <a:gd name="connsiteX10" fmla="*/ 171919 w 591547"/>
              <a:gd name="connsiteY10" fmla="*/ 429474 h 590770"/>
              <a:gd name="connsiteX11" fmla="*/ 86413 w 591547"/>
              <a:gd name="connsiteY11" fmla="*/ 429474 h 590770"/>
              <a:gd name="connsiteX12" fmla="*/ 204177 w 591547"/>
              <a:gd name="connsiteY12" fmla="*/ 357041 h 590770"/>
              <a:gd name="connsiteX13" fmla="*/ 204177 w 591547"/>
              <a:gd name="connsiteY13" fmla="*/ 569815 h 590770"/>
              <a:gd name="connsiteX14" fmla="*/ 333300 w 591547"/>
              <a:gd name="connsiteY14" fmla="*/ 569815 h 590770"/>
              <a:gd name="connsiteX15" fmla="*/ 333300 w 591547"/>
              <a:gd name="connsiteY15" fmla="*/ 382026 h 590770"/>
              <a:gd name="connsiteX16" fmla="*/ 183194 w 591547"/>
              <a:gd name="connsiteY16" fmla="*/ 357041 h 590770"/>
              <a:gd name="connsiteX17" fmla="*/ 75053 w 591547"/>
              <a:gd name="connsiteY17" fmla="*/ 382026 h 590770"/>
              <a:gd name="connsiteX18" fmla="*/ 75053 w 591547"/>
              <a:gd name="connsiteY18" fmla="*/ 569815 h 590770"/>
              <a:gd name="connsiteX19" fmla="*/ 183194 w 591547"/>
              <a:gd name="connsiteY19" fmla="*/ 569815 h 590770"/>
              <a:gd name="connsiteX20" fmla="*/ 247709 w 591547"/>
              <a:gd name="connsiteY20" fmla="*/ 311838 h 590770"/>
              <a:gd name="connsiteX21" fmla="*/ 322851 w 591547"/>
              <a:gd name="connsiteY21" fmla="*/ 311838 h 590770"/>
              <a:gd name="connsiteX22" fmla="*/ 322851 w 591547"/>
              <a:gd name="connsiteY22" fmla="*/ 332826 h 590770"/>
              <a:gd name="connsiteX23" fmla="*/ 247709 w 591547"/>
              <a:gd name="connsiteY23" fmla="*/ 332826 h 590770"/>
              <a:gd name="connsiteX24" fmla="*/ 247709 w 591547"/>
              <a:gd name="connsiteY24" fmla="*/ 257944 h 590770"/>
              <a:gd name="connsiteX25" fmla="*/ 322851 w 591547"/>
              <a:gd name="connsiteY25" fmla="*/ 257944 h 590770"/>
              <a:gd name="connsiteX26" fmla="*/ 322851 w 591547"/>
              <a:gd name="connsiteY26" fmla="*/ 279580 h 590770"/>
              <a:gd name="connsiteX27" fmla="*/ 247709 w 591547"/>
              <a:gd name="connsiteY27" fmla="*/ 279580 h 590770"/>
              <a:gd name="connsiteX28" fmla="*/ 247709 w 591547"/>
              <a:gd name="connsiteY28" fmla="*/ 203919 h 590770"/>
              <a:gd name="connsiteX29" fmla="*/ 322851 w 591547"/>
              <a:gd name="connsiteY29" fmla="*/ 203919 h 590770"/>
              <a:gd name="connsiteX30" fmla="*/ 322851 w 591547"/>
              <a:gd name="connsiteY30" fmla="*/ 225684 h 590770"/>
              <a:gd name="connsiteX31" fmla="*/ 247709 w 591547"/>
              <a:gd name="connsiteY31" fmla="*/ 225684 h 590770"/>
              <a:gd name="connsiteX32" fmla="*/ 247709 w 591547"/>
              <a:gd name="connsiteY32" fmla="*/ 150672 h 590770"/>
              <a:gd name="connsiteX33" fmla="*/ 322851 w 591547"/>
              <a:gd name="connsiteY33" fmla="*/ 150672 h 590770"/>
              <a:gd name="connsiteX34" fmla="*/ 322851 w 591547"/>
              <a:gd name="connsiteY34" fmla="*/ 171660 h 590770"/>
              <a:gd name="connsiteX35" fmla="*/ 247709 w 591547"/>
              <a:gd name="connsiteY35" fmla="*/ 171660 h 590770"/>
              <a:gd name="connsiteX36" fmla="*/ 355090 w 591547"/>
              <a:gd name="connsiteY36" fmla="*/ 102357 h 590770"/>
              <a:gd name="connsiteX37" fmla="*/ 355090 w 591547"/>
              <a:gd name="connsiteY37" fmla="*/ 373160 h 590770"/>
              <a:gd name="connsiteX38" fmla="*/ 355090 w 591547"/>
              <a:gd name="connsiteY38" fmla="*/ 376384 h 590770"/>
              <a:gd name="connsiteX39" fmla="*/ 355090 w 591547"/>
              <a:gd name="connsiteY39" fmla="*/ 569815 h 590770"/>
              <a:gd name="connsiteX40" fmla="*/ 484213 w 591547"/>
              <a:gd name="connsiteY40" fmla="*/ 569815 h 590770"/>
              <a:gd name="connsiteX41" fmla="*/ 484213 w 591547"/>
              <a:gd name="connsiteY41" fmla="*/ 154744 h 590770"/>
              <a:gd name="connsiteX42" fmla="*/ 333300 w 591547"/>
              <a:gd name="connsiteY42" fmla="*/ 99939 h 590770"/>
              <a:gd name="connsiteX43" fmla="*/ 236458 w 591547"/>
              <a:gd name="connsiteY43" fmla="*/ 125730 h 590770"/>
              <a:gd name="connsiteX44" fmla="*/ 236458 w 591547"/>
              <a:gd name="connsiteY44" fmla="*/ 341728 h 590770"/>
              <a:gd name="connsiteX45" fmla="*/ 333300 w 591547"/>
              <a:gd name="connsiteY45" fmla="*/ 360265 h 590770"/>
              <a:gd name="connsiteX46" fmla="*/ 397862 w 591547"/>
              <a:gd name="connsiteY46" fmla="*/ 21761 h 590770"/>
              <a:gd name="connsiteX47" fmla="*/ 387371 w 591547"/>
              <a:gd name="connsiteY47" fmla="*/ 32238 h 590770"/>
              <a:gd name="connsiteX48" fmla="*/ 397862 w 591547"/>
              <a:gd name="connsiteY48" fmla="*/ 42716 h 590770"/>
              <a:gd name="connsiteX49" fmla="*/ 409160 w 591547"/>
              <a:gd name="connsiteY49" fmla="*/ 32238 h 590770"/>
              <a:gd name="connsiteX50" fmla="*/ 397862 w 591547"/>
              <a:gd name="connsiteY50" fmla="*/ 21761 h 590770"/>
              <a:gd name="connsiteX51" fmla="*/ 397862 w 591547"/>
              <a:gd name="connsiteY51" fmla="*/ 0 h 590770"/>
              <a:gd name="connsiteX52" fmla="*/ 430143 w 591547"/>
              <a:gd name="connsiteY52" fmla="*/ 32238 h 590770"/>
              <a:gd name="connsiteX53" fmla="*/ 409160 w 591547"/>
              <a:gd name="connsiteY53" fmla="*/ 62865 h 590770"/>
              <a:gd name="connsiteX54" fmla="*/ 409160 w 591547"/>
              <a:gd name="connsiteY54" fmla="*/ 100745 h 590770"/>
              <a:gd name="connsiteX55" fmla="*/ 498740 w 591547"/>
              <a:gd name="connsiteY55" fmla="*/ 137819 h 590770"/>
              <a:gd name="connsiteX56" fmla="*/ 506003 w 591547"/>
              <a:gd name="connsiteY56" fmla="*/ 147491 h 590770"/>
              <a:gd name="connsiteX57" fmla="*/ 506003 w 591547"/>
              <a:gd name="connsiteY57" fmla="*/ 569815 h 590770"/>
              <a:gd name="connsiteX58" fmla="*/ 591547 w 591547"/>
              <a:gd name="connsiteY58" fmla="*/ 569815 h 590770"/>
              <a:gd name="connsiteX59" fmla="*/ 591547 w 591547"/>
              <a:gd name="connsiteY59" fmla="*/ 590770 h 590770"/>
              <a:gd name="connsiteX60" fmla="*/ 494705 w 591547"/>
              <a:gd name="connsiteY60" fmla="*/ 590770 h 590770"/>
              <a:gd name="connsiteX61" fmla="*/ 344598 w 591547"/>
              <a:gd name="connsiteY61" fmla="*/ 590770 h 590770"/>
              <a:gd name="connsiteX62" fmla="*/ 193685 w 591547"/>
              <a:gd name="connsiteY62" fmla="*/ 590770 h 590770"/>
              <a:gd name="connsiteX63" fmla="*/ 64562 w 591547"/>
              <a:gd name="connsiteY63" fmla="*/ 590770 h 590770"/>
              <a:gd name="connsiteX64" fmla="*/ 0 w 591547"/>
              <a:gd name="connsiteY64" fmla="*/ 590770 h 590770"/>
              <a:gd name="connsiteX65" fmla="*/ 0 w 591547"/>
              <a:gd name="connsiteY65" fmla="*/ 569815 h 590770"/>
              <a:gd name="connsiteX66" fmla="*/ 54070 w 591547"/>
              <a:gd name="connsiteY66" fmla="*/ 569815 h 590770"/>
              <a:gd name="connsiteX67" fmla="*/ 54070 w 591547"/>
              <a:gd name="connsiteY67" fmla="*/ 373160 h 590770"/>
              <a:gd name="connsiteX68" fmla="*/ 62141 w 591547"/>
              <a:gd name="connsiteY68" fmla="*/ 362683 h 590770"/>
              <a:gd name="connsiteX69" fmla="*/ 191264 w 591547"/>
              <a:gd name="connsiteY69" fmla="*/ 333668 h 590770"/>
              <a:gd name="connsiteX70" fmla="*/ 195299 w 591547"/>
              <a:gd name="connsiteY70" fmla="*/ 333668 h 590770"/>
              <a:gd name="connsiteX71" fmla="*/ 196106 w 591547"/>
              <a:gd name="connsiteY71" fmla="*/ 333668 h 590770"/>
              <a:gd name="connsiteX72" fmla="*/ 215475 w 591547"/>
              <a:gd name="connsiteY72" fmla="*/ 336892 h 590770"/>
              <a:gd name="connsiteX73" fmla="*/ 215475 w 591547"/>
              <a:gd name="connsiteY73" fmla="*/ 116864 h 590770"/>
              <a:gd name="connsiteX74" fmla="*/ 223545 w 591547"/>
              <a:gd name="connsiteY74" fmla="*/ 106387 h 590770"/>
              <a:gd name="connsiteX75" fmla="*/ 341370 w 591547"/>
              <a:gd name="connsiteY75" fmla="*/ 75760 h 590770"/>
              <a:gd name="connsiteX76" fmla="*/ 342984 w 591547"/>
              <a:gd name="connsiteY76" fmla="*/ 75760 h 590770"/>
              <a:gd name="connsiteX77" fmla="*/ 345405 w 591547"/>
              <a:gd name="connsiteY77" fmla="*/ 75760 h 590770"/>
              <a:gd name="connsiteX78" fmla="*/ 347020 w 591547"/>
              <a:gd name="connsiteY78" fmla="*/ 75760 h 590770"/>
              <a:gd name="connsiteX79" fmla="*/ 348634 w 591547"/>
              <a:gd name="connsiteY79" fmla="*/ 75760 h 590770"/>
              <a:gd name="connsiteX80" fmla="*/ 387371 w 591547"/>
              <a:gd name="connsiteY80" fmla="*/ 91879 h 590770"/>
              <a:gd name="connsiteX81" fmla="*/ 387371 w 591547"/>
              <a:gd name="connsiteY81" fmla="*/ 62865 h 590770"/>
              <a:gd name="connsiteX82" fmla="*/ 365581 w 591547"/>
              <a:gd name="connsiteY82" fmla="*/ 32238 h 590770"/>
              <a:gd name="connsiteX83" fmla="*/ 397862 w 591547"/>
              <a:gd name="connsiteY83" fmla="*/ 0 h 590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591547" h="590770">
                <a:moveTo>
                  <a:pt x="86413" y="515758"/>
                </a:moveTo>
                <a:lnTo>
                  <a:pt x="171919" y="515758"/>
                </a:lnTo>
                <a:lnTo>
                  <a:pt x="171919" y="537523"/>
                </a:lnTo>
                <a:lnTo>
                  <a:pt x="86413" y="537523"/>
                </a:lnTo>
                <a:close/>
                <a:moveTo>
                  <a:pt x="86413" y="461733"/>
                </a:moveTo>
                <a:lnTo>
                  <a:pt x="171919" y="461733"/>
                </a:lnTo>
                <a:lnTo>
                  <a:pt x="171919" y="483498"/>
                </a:lnTo>
                <a:lnTo>
                  <a:pt x="86413" y="483498"/>
                </a:lnTo>
                <a:close/>
                <a:moveTo>
                  <a:pt x="86413" y="408616"/>
                </a:moveTo>
                <a:lnTo>
                  <a:pt x="171919" y="408616"/>
                </a:lnTo>
                <a:lnTo>
                  <a:pt x="171919" y="429474"/>
                </a:lnTo>
                <a:lnTo>
                  <a:pt x="86413" y="429474"/>
                </a:lnTo>
                <a:close/>
                <a:moveTo>
                  <a:pt x="204177" y="357041"/>
                </a:moveTo>
                <a:lnTo>
                  <a:pt x="204177" y="569815"/>
                </a:lnTo>
                <a:lnTo>
                  <a:pt x="333300" y="569815"/>
                </a:lnTo>
                <a:lnTo>
                  <a:pt x="333300" y="382026"/>
                </a:lnTo>
                <a:close/>
                <a:moveTo>
                  <a:pt x="183194" y="357041"/>
                </a:moveTo>
                <a:lnTo>
                  <a:pt x="75053" y="382026"/>
                </a:lnTo>
                <a:lnTo>
                  <a:pt x="75053" y="569815"/>
                </a:lnTo>
                <a:lnTo>
                  <a:pt x="183194" y="569815"/>
                </a:lnTo>
                <a:close/>
                <a:moveTo>
                  <a:pt x="247709" y="311838"/>
                </a:moveTo>
                <a:lnTo>
                  <a:pt x="322851" y="311838"/>
                </a:lnTo>
                <a:lnTo>
                  <a:pt x="322851" y="332826"/>
                </a:lnTo>
                <a:lnTo>
                  <a:pt x="247709" y="332826"/>
                </a:lnTo>
                <a:close/>
                <a:moveTo>
                  <a:pt x="247709" y="257944"/>
                </a:moveTo>
                <a:lnTo>
                  <a:pt x="322851" y="257944"/>
                </a:lnTo>
                <a:lnTo>
                  <a:pt x="322851" y="279580"/>
                </a:lnTo>
                <a:lnTo>
                  <a:pt x="247709" y="279580"/>
                </a:lnTo>
                <a:close/>
                <a:moveTo>
                  <a:pt x="247709" y="203919"/>
                </a:moveTo>
                <a:lnTo>
                  <a:pt x="322851" y="203919"/>
                </a:lnTo>
                <a:lnTo>
                  <a:pt x="322851" y="225684"/>
                </a:lnTo>
                <a:lnTo>
                  <a:pt x="247709" y="225684"/>
                </a:lnTo>
                <a:close/>
                <a:moveTo>
                  <a:pt x="247709" y="150672"/>
                </a:moveTo>
                <a:lnTo>
                  <a:pt x="322851" y="150672"/>
                </a:lnTo>
                <a:lnTo>
                  <a:pt x="322851" y="171660"/>
                </a:lnTo>
                <a:lnTo>
                  <a:pt x="247709" y="171660"/>
                </a:lnTo>
                <a:close/>
                <a:moveTo>
                  <a:pt x="355090" y="102357"/>
                </a:moveTo>
                <a:lnTo>
                  <a:pt x="355090" y="373160"/>
                </a:lnTo>
                <a:lnTo>
                  <a:pt x="355090" y="376384"/>
                </a:lnTo>
                <a:lnTo>
                  <a:pt x="355090" y="569815"/>
                </a:lnTo>
                <a:lnTo>
                  <a:pt x="484213" y="569815"/>
                </a:lnTo>
                <a:lnTo>
                  <a:pt x="484213" y="154744"/>
                </a:lnTo>
                <a:close/>
                <a:moveTo>
                  <a:pt x="333300" y="99939"/>
                </a:moveTo>
                <a:lnTo>
                  <a:pt x="236458" y="125730"/>
                </a:lnTo>
                <a:lnTo>
                  <a:pt x="236458" y="341728"/>
                </a:lnTo>
                <a:lnTo>
                  <a:pt x="333300" y="360265"/>
                </a:lnTo>
                <a:close/>
                <a:moveTo>
                  <a:pt x="397862" y="21761"/>
                </a:moveTo>
                <a:cubicBezTo>
                  <a:pt x="392213" y="21761"/>
                  <a:pt x="387371" y="26596"/>
                  <a:pt x="387371" y="32238"/>
                </a:cubicBezTo>
                <a:cubicBezTo>
                  <a:pt x="387371" y="37880"/>
                  <a:pt x="392213" y="42716"/>
                  <a:pt x="397862" y="42716"/>
                </a:cubicBezTo>
                <a:cubicBezTo>
                  <a:pt x="404318" y="42716"/>
                  <a:pt x="409160" y="37880"/>
                  <a:pt x="409160" y="32238"/>
                </a:cubicBezTo>
                <a:cubicBezTo>
                  <a:pt x="409160" y="26596"/>
                  <a:pt x="404318" y="21761"/>
                  <a:pt x="397862" y="21761"/>
                </a:cubicBezTo>
                <a:close/>
                <a:moveTo>
                  <a:pt x="397862" y="0"/>
                </a:moveTo>
                <a:cubicBezTo>
                  <a:pt x="415616" y="0"/>
                  <a:pt x="430143" y="14507"/>
                  <a:pt x="430143" y="32238"/>
                </a:cubicBezTo>
                <a:cubicBezTo>
                  <a:pt x="430143" y="45940"/>
                  <a:pt x="421266" y="58029"/>
                  <a:pt x="409160" y="62865"/>
                </a:cubicBezTo>
                <a:lnTo>
                  <a:pt x="409160" y="100745"/>
                </a:lnTo>
                <a:lnTo>
                  <a:pt x="498740" y="137819"/>
                </a:lnTo>
                <a:cubicBezTo>
                  <a:pt x="502775" y="139431"/>
                  <a:pt x="506003" y="143461"/>
                  <a:pt x="506003" y="147491"/>
                </a:cubicBezTo>
                <a:lnTo>
                  <a:pt x="506003" y="569815"/>
                </a:lnTo>
                <a:lnTo>
                  <a:pt x="591547" y="569815"/>
                </a:lnTo>
                <a:lnTo>
                  <a:pt x="591547" y="590770"/>
                </a:lnTo>
                <a:lnTo>
                  <a:pt x="494705" y="590770"/>
                </a:lnTo>
                <a:lnTo>
                  <a:pt x="344598" y="590770"/>
                </a:lnTo>
                <a:lnTo>
                  <a:pt x="193685" y="590770"/>
                </a:lnTo>
                <a:lnTo>
                  <a:pt x="64562" y="590770"/>
                </a:lnTo>
                <a:lnTo>
                  <a:pt x="0" y="590770"/>
                </a:lnTo>
                <a:lnTo>
                  <a:pt x="0" y="569815"/>
                </a:lnTo>
                <a:lnTo>
                  <a:pt x="54070" y="569815"/>
                </a:lnTo>
                <a:lnTo>
                  <a:pt x="54070" y="373160"/>
                </a:lnTo>
                <a:cubicBezTo>
                  <a:pt x="54070" y="368324"/>
                  <a:pt x="57298" y="364294"/>
                  <a:pt x="62141" y="362683"/>
                </a:cubicBezTo>
                <a:lnTo>
                  <a:pt x="191264" y="333668"/>
                </a:lnTo>
                <a:cubicBezTo>
                  <a:pt x="192878" y="332862"/>
                  <a:pt x="194492" y="332862"/>
                  <a:pt x="195299" y="333668"/>
                </a:cubicBezTo>
                <a:cubicBezTo>
                  <a:pt x="196106" y="333668"/>
                  <a:pt x="196106" y="333668"/>
                  <a:pt x="196106" y="333668"/>
                </a:cubicBezTo>
                <a:lnTo>
                  <a:pt x="215475" y="336892"/>
                </a:lnTo>
                <a:lnTo>
                  <a:pt x="215475" y="116864"/>
                </a:lnTo>
                <a:cubicBezTo>
                  <a:pt x="215475" y="112028"/>
                  <a:pt x="218703" y="107999"/>
                  <a:pt x="223545" y="106387"/>
                </a:cubicBezTo>
                <a:lnTo>
                  <a:pt x="341370" y="75760"/>
                </a:lnTo>
                <a:cubicBezTo>
                  <a:pt x="342177" y="75760"/>
                  <a:pt x="342177" y="75760"/>
                  <a:pt x="342984" y="75760"/>
                </a:cubicBezTo>
                <a:cubicBezTo>
                  <a:pt x="343791" y="75760"/>
                  <a:pt x="344598" y="74954"/>
                  <a:pt x="345405" y="75760"/>
                </a:cubicBezTo>
                <a:cubicBezTo>
                  <a:pt x="346213" y="75760"/>
                  <a:pt x="347020" y="75760"/>
                  <a:pt x="347020" y="75760"/>
                </a:cubicBezTo>
                <a:cubicBezTo>
                  <a:pt x="347827" y="75760"/>
                  <a:pt x="347827" y="75760"/>
                  <a:pt x="348634" y="75760"/>
                </a:cubicBezTo>
                <a:lnTo>
                  <a:pt x="387371" y="91879"/>
                </a:lnTo>
                <a:lnTo>
                  <a:pt x="387371" y="62865"/>
                </a:lnTo>
                <a:cubicBezTo>
                  <a:pt x="375265" y="58029"/>
                  <a:pt x="365581" y="45940"/>
                  <a:pt x="365581" y="32238"/>
                </a:cubicBezTo>
                <a:cubicBezTo>
                  <a:pt x="365581" y="14507"/>
                  <a:pt x="380107" y="0"/>
                  <a:pt x="397862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3" name="矩形: 对角圆角 12">
            <a:extLst>
              <a:ext uri="{FF2B5EF4-FFF2-40B4-BE49-F238E27FC236}">
                <a16:creationId xmlns:a16="http://schemas.microsoft.com/office/drawing/2014/main" id="{78850D88-25DA-4E07-B4BE-818126FF7897}"/>
              </a:ext>
            </a:extLst>
          </p:cNvPr>
          <p:cNvSpPr/>
          <p:nvPr/>
        </p:nvSpPr>
        <p:spPr>
          <a:xfrm rot="16200000">
            <a:off x="5662228" y="2484294"/>
            <a:ext cx="1753838" cy="1722930"/>
          </a:xfrm>
          <a:prstGeom prst="round2DiagRect">
            <a:avLst>
              <a:gd name="adj1" fmla="val 50000"/>
              <a:gd name="adj2" fmla="val 0"/>
            </a:avLst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14" name="矩形: 对角圆角 13">
            <a:extLst>
              <a:ext uri="{FF2B5EF4-FFF2-40B4-BE49-F238E27FC236}">
                <a16:creationId xmlns:a16="http://schemas.microsoft.com/office/drawing/2014/main" id="{7B7742F8-909B-4432-A5A8-BC10BFB881B8}"/>
              </a:ext>
            </a:extLst>
          </p:cNvPr>
          <p:cNvSpPr/>
          <p:nvPr/>
        </p:nvSpPr>
        <p:spPr>
          <a:xfrm rot="16200000">
            <a:off x="5820256" y="2622116"/>
            <a:ext cx="1470315" cy="1444402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DF500ECA-907B-4DF6-96C4-07AF590C5BF1}"/>
              </a:ext>
            </a:extLst>
          </p:cNvPr>
          <p:cNvSpPr/>
          <p:nvPr/>
        </p:nvSpPr>
        <p:spPr bwMode="auto">
          <a:xfrm flipH="1">
            <a:off x="6109670" y="3023601"/>
            <a:ext cx="844608" cy="609499"/>
          </a:xfrm>
          <a:custGeom>
            <a:avLst/>
            <a:gdLst>
              <a:gd name="connsiteX0" fmla="*/ 91000 w 605879"/>
              <a:gd name="connsiteY0" fmla="*/ 173662 h 437224"/>
              <a:gd name="connsiteX1" fmla="*/ 331193 w 605879"/>
              <a:gd name="connsiteY1" fmla="*/ 173662 h 437224"/>
              <a:gd name="connsiteX2" fmla="*/ 342454 w 605879"/>
              <a:gd name="connsiteY2" fmla="*/ 184882 h 437224"/>
              <a:gd name="connsiteX3" fmla="*/ 331193 w 605879"/>
              <a:gd name="connsiteY3" fmla="*/ 196102 h 437224"/>
              <a:gd name="connsiteX4" fmla="*/ 91000 w 605879"/>
              <a:gd name="connsiteY4" fmla="*/ 196102 h 437224"/>
              <a:gd name="connsiteX5" fmla="*/ 79739 w 605879"/>
              <a:gd name="connsiteY5" fmla="*/ 184882 h 437224"/>
              <a:gd name="connsiteX6" fmla="*/ 91000 w 605879"/>
              <a:gd name="connsiteY6" fmla="*/ 173662 h 437224"/>
              <a:gd name="connsiteX7" fmla="*/ 421630 w 605879"/>
              <a:gd name="connsiteY7" fmla="*/ 131441 h 437224"/>
              <a:gd name="connsiteX8" fmla="*/ 423552 w 605879"/>
              <a:gd name="connsiteY8" fmla="*/ 152274 h 437224"/>
              <a:gd name="connsiteX9" fmla="*/ 275961 w 605879"/>
              <a:gd name="connsiteY9" fmla="*/ 300986 h 437224"/>
              <a:gd name="connsiteX10" fmla="*/ 408175 w 605879"/>
              <a:gd name="connsiteY10" fmla="*/ 358277 h 437224"/>
              <a:gd name="connsiteX11" fmla="*/ 418060 w 605879"/>
              <a:gd name="connsiteY11" fmla="*/ 365267 h 437224"/>
              <a:gd name="connsiteX12" fmla="*/ 488218 w 605879"/>
              <a:gd name="connsiteY12" fmla="*/ 410360 h 437224"/>
              <a:gd name="connsiteX13" fmla="*/ 474214 w 605879"/>
              <a:gd name="connsiteY13" fmla="*/ 363348 h 437224"/>
              <a:gd name="connsiteX14" fmla="*/ 482039 w 605879"/>
              <a:gd name="connsiteY14" fmla="*/ 349916 h 437224"/>
              <a:gd name="connsiteX15" fmla="*/ 583363 w 605879"/>
              <a:gd name="connsiteY15" fmla="*/ 244928 h 437224"/>
              <a:gd name="connsiteX16" fmla="*/ 421630 w 605879"/>
              <a:gd name="connsiteY16" fmla="*/ 131441 h 437224"/>
              <a:gd name="connsiteX17" fmla="*/ 75898 w 605879"/>
              <a:gd name="connsiteY17" fmla="*/ 120173 h 437224"/>
              <a:gd name="connsiteX18" fmla="*/ 340509 w 605879"/>
              <a:gd name="connsiteY18" fmla="*/ 120173 h 437224"/>
              <a:gd name="connsiteX19" fmla="*/ 351769 w 605879"/>
              <a:gd name="connsiteY19" fmla="*/ 131428 h 437224"/>
              <a:gd name="connsiteX20" fmla="*/ 340509 w 605879"/>
              <a:gd name="connsiteY20" fmla="*/ 142683 h 437224"/>
              <a:gd name="connsiteX21" fmla="*/ 75898 w 605879"/>
              <a:gd name="connsiteY21" fmla="*/ 142683 h 437224"/>
              <a:gd name="connsiteX22" fmla="*/ 64638 w 605879"/>
              <a:gd name="connsiteY22" fmla="*/ 131428 h 437224"/>
              <a:gd name="connsiteX23" fmla="*/ 75898 w 605879"/>
              <a:gd name="connsiteY23" fmla="*/ 120173 h 437224"/>
              <a:gd name="connsiteX24" fmla="*/ 210609 w 605879"/>
              <a:gd name="connsiteY24" fmla="*/ 22478 h 437224"/>
              <a:gd name="connsiteX25" fmla="*/ 22516 w 605879"/>
              <a:gd name="connsiteY25" fmla="*/ 153508 h 437224"/>
              <a:gd name="connsiteX26" fmla="*/ 139216 w 605879"/>
              <a:gd name="connsiteY26" fmla="*/ 274807 h 437224"/>
              <a:gd name="connsiteX27" fmla="*/ 147042 w 605879"/>
              <a:gd name="connsiteY27" fmla="*/ 288102 h 437224"/>
              <a:gd name="connsiteX28" fmla="*/ 130017 w 605879"/>
              <a:gd name="connsiteY28" fmla="*/ 344297 h 437224"/>
              <a:gd name="connsiteX29" fmla="*/ 214041 w 605879"/>
              <a:gd name="connsiteY29" fmla="*/ 291254 h 437224"/>
              <a:gd name="connsiteX30" fmla="*/ 223927 w 605879"/>
              <a:gd name="connsiteY30" fmla="*/ 284264 h 437224"/>
              <a:gd name="connsiteX31" fmla="*/ 398839 w 605879"/>
              <a:gd name="connsiteY31" fmla="*/ 152960 h 437224"/>
              <a:gd name="connsiteX32" fmla="*/ 369596 w 605879"/>
              <a:gd name="connsiteY32" fmla="*/ 80592 h 437224"/>
              <a:gd name="connsiteX33" fmla="*/ 210609 w 605879"/>
              <a:gd name="connsiteY33" fmla="*/ 22478 h 437224"/>
              <a:gd name="connsiteX34" fmla="*/ 210609 w 605879"/>
              <a:gd name="connsiteY34" fmla="*/ 0 h 437224"/>
              <a:gd name="connsiteX35" fmla="*/ 385796 w 605879"/>
              <a:gd name="connsiteY35" fmla="*/ 64967 h 437224"/>
              <a:gd name="connsiteX36" fmla="*/ 414079 w 605879"/>
              <a:gd name="connsiteY36" fmla="*/ 109100 h 437224"/>
              <a:gd name="connsiteX37" fmla="*/ 419845 w 605879"/>
              <a:gd name="connsiteY37" fmla="*/ 108963 h 437224"/>
              <a:gd name="connsiteX38" fmla="*/ 605879 w 605879"/>
              <a:gd name="connsiteY38" fmla="*/ 244928 h 437224"/>
              <a:gd name="connsiteX39" fmla="*/ 498515 w 605879"/>
              <a:gd name="connsiteY39" fmla="*/ 368420 h 437224"/>
              <a:gd name="connsiteX40" fmla="*/ 516088 w 605879"/>
              <a:gd name="connsiteY40" fmla="*/ 414609 h 437224"/>
              <a:gd name="connsiteX41" fmla="*/ 522953 w 605879"/>
              <a:gd name="connsiteY41" fmla="*/ 428178 h 437224"/>
              <a:gd name="connsiteX42" fmla="*/ 510185 w 605879"/>
              <a:gd name="connsiteY42" fmla="*/ 437224 h 437224"/>
              <a:gd name="connsiteX43" fmla="*/ 400487 w 605879"/>
              <a:gd name="connsiteY43" fmla="*/ 380344 h 437224"/>
              <a:gd name="connsiteX44" fmla="*/ 250836 w 605879"/>
              <a:gd name="connsiteY44" fmla="*/ 304275 h 437224"/>
              <a:gd name="connsiteX45" fmla="*/ 231752 w 605879"/>
              <a:gd name="connsiteY45" fmla="*/ 306331 h 437224"/>
              <a:gd name="connsiteX46" fmla="*/ 107639 w 605879"/>
              <a:gd name="connsiteY46" fmla="*/ 371161 h 437224"/>
              <a:gd name="connsiteX47" fmla="*/ 94596 w 605879"/>
              <a:gd name="connsiteY47" fmla="*/ 361978 h 437224"/>
              <a:gd name="connsiteX48" fmla="*/ 102009 w 605879"/>
              <a:gd name="connsiteY48" fmla="*/ 348135 h 437224"/>
              <a:gd name="connsiteX49" fmla="*/ 122741 w 605879"/>
              <a:gd name="connsiteY49" fmla="*/ 293173 h 437224"/>
              <a:gd name="connsiteX50" fmla="*/ 0 w 605879"/>
              <a:gd name="connsiteY50" fmla="*/ 153508 h 437224"/>
              <a:gd name="connsiteX51" fmla="*/ 210609 w 605879"/>
              <a:gd name="connsiteY51" fmla="*/ 0 h 437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605879" h="437224">
                <a:moveTo>
                  <a:pt x="91000" y="173662"/>
                </a:moveTo>
                <a:lnTo>
                  <a:pt x="331193" y="173662"/>
                </a:lnTo>
                <a:cubicBezTo>
                  <a:pt x="337373" y="173662"/>
                  <a:pt x="342454" y="178725"/>
                  <a:pt x="342454" y="184882"/>
                </a:cubicBezTo>
                <a:cubicBezTo>
                  <a:pt x="342454" y="191040"/>
                  <a:pt x="337373" y="196102"/>
                  <a:pt x="331193" y="196102"/>
                </a:cubicBezTo>
                <a:lnTo>
                  <a:pt x="91000" y="196102"/>
                </a:lnTo>
                <a:cubicBezTo>
                  <a:pt x="84683" y="196102"/>
                  <a:pt x="79739" y="191040"/>
                  <a:pt x="79739" y="184882"/>
                </a:cubicBezTo>
                <a:cubicBezTo>
                  <a:pt x="79739" y="178725"/>
                  <a:pt x="84683" y="173662"/>
                  <a:pt x="91000" y="173662"/>
                </a:cubicBezTo>
                <a:close/>
                <a:moveTo>
                  <a:pt x="421630" y="131441"/>
                </a:moveTo>
                <a:cubicBezTo>
                  <a:pt x="423003" y="138294"/>
                  <a:pt x="423552" y="145284"/>
                  <a:pt x="423552" y="152274"/>
                </a:cubicBezTo>
                <a:cubicBezTo>
                  <a:pt x="423552" y="220668"/>
                  <a:pt x="362456" y="281249"/>
                  <a:pt x="275961" y="300986"/>
                </a:cubicBezTo>
                <a:cubicBezTo>
                  <a:pt x="302047" y="334017"/>
                  <a:pt x="350924" y="355536"/>
                  <a:pt x="408175" y="358277"/>
                </a:cubicBezTo>
                <a:cubicBezTo>
                  <a:pt x="412569" y="358551"/>
                  <a:pt x="416413" y="361293"/>
                  <a:pt x="418060" y="365267"/>
                </a:cubicBezTo>
                <a:cubicBezTo>
                  <a:pt x="427259" y="388019"/>
                  <a:pt x="463505" y="403370"/>
                  <a:pt x="488218" y="410360"/>
                </a:cubicBezTo>
                <a:cubicBezTo>
                  <a:pt x="483962" y="399944"/>
                  <a:pt x="479156" y="385004"/>
                  <a:pt x="474214" y="363348"/>
                </a:cubicBezTo>
                <a:cubicBezTo>
                  <a:pt x="472841" y="357455"/>
                  <a:pt x="476273" y="351698"/>
                  <a:pt x="482039" y="349916"/>
                </a:cubicBezTo>
                <a:cubicBezTo>
                  <a:pt x="543685" y="332236"/>
                  <a:pt x="583500" y="290980"/>
                  <a:pt x="583363" y="244928"/>
                </a:cubicBezTo>
                <a:cubicBezTo>
                  <a:pt x="583363" y="182839"/>
                  <a:pt x="511009" y="132126"/>
                  <a:pt x="421630" y="131441"/>
                </a:cubicBezTo>
                <a:close/>
                <a:moveTo>
                  <a:pt x="75898" y="120173"/>
                </a:moveTo>
                <a:lnTo>
                  <a:pt x="340509" y="120173"/>
                </a:lnTo>
                <a:cubicBezTo>
                  <a:pt x="346826" y="120173"/>
                  <a:pt x="351769" y="125114"/>
                  <a:pt x="351769" y="131428"/>
                </a:cubicBezTo>
                <a:cubicBezTo>
                  <a:pt x="351769" y="137604"/>
                  <a:pt x="346826" y="142683"/>
                  <a:pt x="340509" y="142683"/>
                </a:cubicBezTo>
                <a:lnTo>
                  <a:pt x="75898" y="142683"/>
                </a:lnTo>
                <a:cubicBezTo>
                  <a:pt x="69719" y="142683"/>
                  <a:pt x="64638" y="137604"/>
                  <a:pt x="64638" y="131428"/>
                </a:cubicBezTo>
                <a:cubicBezTo>
                  <a:pt x="64638" y="125114"/>
                  <a:pt x="69719" y="120173"/>
                  <a:pt x="75898" y="120173"/>
                </a:cubicBezTo>
                <a:close/>
                <a:moveTo>
                  <a:pt x="210609" y="22478"/>
                </a:moveTo>
                <a:cubicBezTo>
                  <a:pt x="106952" y="22478"/>
                  <a:pt x="22516" y="81277"/>
                  <a:pt x="22516" y="153508"/>
                </a:cubicBezTo>
                <a:cubicBezTo>
                  <a:pt x="22516" y="206688"/>
                  <a:pt x="68372" y="254385"/>
                  <a:pt x="139216" y="274807"/>
                </a:cubicBezTo>
                <a:cubicBezTo>
                  <a:pt x="144983" y="276452"/>
                  <a:pt x="148415" y="282208"/>
                  <a:pt x="147042" y="288102"/>
                </a:cubicBezTo>
                <a:cubicBezTo>
                  <a:pt x="140864" y="314966"/>
                  <a:pt x="135097" y="332647"/>
                  <a:pt x="130017" y="344297"/>
                </a:cubicBezTo>
                <a:cubicBezTo>
                  <a:pt x="158437" y="336622"/>
                  <a:pt x="203058" y="318667"/>
                  <a:pt x="214041" y="291254"/>
                </a:cubicBezTo>
                <a:cubicBezTo>
                  <a:pt x="215689" y="287280"/>
                  <a:pt x="219533" y="284538"/>
                  <a:pt x="223927" y="284264"/>
                </a:cubicBezTo>
                <a:cubicBezTo>
                  <a:pt x="320170" y="279604"/>
                  <a:pt x="395407" y="223135"/>
                  <a:pt x="398839" y="152960"/>
                </a:cubicBezTo>
                <a:cubicBezTo>
                  <a:pt x="400075" y="126918"/>
                  <a:pt x="389915" y="101836"/>
                  <a:pt x="369596" y="80592"/>
                </a:cubicBezTo>
                <a:cubicBezTo>
                  <a:pt x="334860" y="44133"/>
                  <a:pt x="275412" y="22478"/>
                  <a:pt x="210609" y="22478"/>
                </a:cubicBezTo>
                <a:close/>
                <a:moveTo>
                  <a:pt x="210609" y="0"/>
                </a:moveTo>
                <a:cubicBezTo>
                  <a:pt x="281453" y="0"/>
                  <a:pt x="346942" y="24260"/>
                  <a:pt x="385796" y="64967"/>
                </a:cubicBezTo>
                <a:cubicBezTo>
                  <a:pt x="398702" y="78536"/>
                  <a:pt x="408175" y="93338"/>
                  <a:pt x="414079" y="109100"/>
                </a:cubicBezTo>
                <a:cubicBezTo>
                  <a:pt x="416001" y="108963"/>
                  <a:pt x="417923" y="108963"/>
                  <a:pt x="419845" y="108963"/>
                </a:cubicBezTo>
                <a:cubicBezTo>
                  <a:pt x="522404" y="108963"/>
                  <a:pt x="606016" y="169955"/>
                  <a:pt x="605879" y="244928"/>
                </a:cubicBezTo>
                <a:cubicBezTo>
                  <a:pt x="605879" y="298519"/>
                  <a:pt x="564141" y="346079"/>
                  <a:pt x="498515" y="368420"/>
                </a:cubicBezTo>
                <a:cubicBezTo>
                  <a:pt x="506066" y="398025"/>
                  <a:pt x="512931" y="412279"/>
                  <a:pt x="516088" y="414609"/>
                </a:cubicBezTo>
                <a:cubicBezTo>
                  <a:pt x="524601" y="418858"/>
                  <a:pt x="523228" y="426671"/>
                  <a:pt x="522953" y="428178"/>
                </a:cubicBezTo>
                <a:cubicBezTo>
                  <a:pt x="522541" y="429686"/>
                  <a:pt x="520207" y="437224"/>
                  <a:pt x="510185" y="437224"/>
                </a:cubicBezTo>
                <a:cubicBezTo>
                  <a:pt x="497828" y="437224"/>
                  <a:pt x="423689" y="421325"/>
                  <a:pt x="400487" y="380344"/>
                </a:cubicBezTo>
                <a:cubicBezTo>
                  <a:pt x="333899" y="375410"/>
                  <a:pt x="277746" y="346764"/>
                  <a:pt x="250836" y="304275"/>
                </a:cubicBezTo>
                <a:cubicBezTo>
                  <a:pt x="244521" y="305098"/>
                  <a:pt x="238205" y="305783"/>
                  <a:pt x="231752" y="306331"/>
                </a:cubicBezTo>
                <a:cubicBezTo>
                  <a:pt x="206216" y="353069"/>
                  <a:pt x="121643" y="371161"/>
                  <a:pt x="107639" y="371161"/>
                </a:cubicBezTo>
                <a:cubicBezTo>
                  <a:pt x="97616" y="371161"/>
                  <a:pt x="95145" y="364171"/>
                  <a:pt x="94596" y="361978"/>
                </a:cubicBezTo>
                <a:cubicBezTo>
                  <a:pt x="94184" y="360470"/>
                  <a:pt x="92948" y="352658"/>
                  <a:pt x="102009" y="348135"/>
                </a:cubicBezTo>
                <a:cubicBezTo>
                  <a:pt x="105030" y="345942"/>
                  <a:pt x="113130" y="331550"/>
                  <a:pt x="122741" y="293173"/>
                </a:cubicBezTo>
                <a:cubicBezTo>
                  <a:pt x="47778" y="268228"/>
                  <a:pt x="0" y="214226"/>
                  <a:pt x="0" y="153508"/>
                </a:cubicBezTo>
                <a:cubicBezTo>
                  <a:pt x="0" y="68804"/>
                  <a:pt x="94458" y="0"/>
                  <a:pt x="210609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6" name="矩形: 对角圆角 15">
            <a:extLst>
              <a:ext uri="{FF2B5EF4-FFF2-40B4-BE49-F238E27FC236}">
                <a16:creationId xmlns:a16="http://schemas.microsoft.com/office/drawing/2014/main" id="{3D267536-B2DA-4F33-AEB4-0097C1E0E60D}"/>
              </a:ext>
            </a:extLst>
          </p:cNvPr>
          <p:cNvSpPr/>
          <p:nvPr/>
        </p:nvSpPr>
        <p:spPr>
          <a:xfrm rot="16200000">
            <a:off x="5696158" y="4786885"/>
            <a:ext cx="1234483" cy="1212728"/>
          </a:xfrm>
          <a:prstGeom prst="round2DiagRect">
            <a:avLst>
              <a:gd name="adj1" fmla="val 50000"/>
              <a:gd name="adj2" fmla="val 0"/>
            </a:avLst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17" name="矩形: 对角圆角 16">
            <a:extLst>
              <a:ext uri="{FF2B5EF4-FFF2-40B4-BE49-F238E27FC236}">
                <a16:creationId xmlns:a16="http://schemas.microsoft.com/office/drawing/2014/main" id="{6C694476-DC69-41C1-B41B-268999571C2D}"/>
              </a:ext>
            </a:extLst>
          </p:cNvPr>
          <p:cNvSpPr/>
          <p:nvPr/>
        </p:nvSpPr>
        <p:spPr>
          <a:xfrm rot="16200000">
            <a:off x="5807390" y="4883895"/>
            <a:ext cx="1034918" cy="1016679"/>
          </a:xfrm>
          <a:prstGeom prst="round2DiagRect">
            <a:avLst>
              <a:gd name="adj1" fmla="val 50000"/>
              <a:gd name="adj2" fmla="val 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/>
          </a:p>
        </p:txBody>
      </p:sp>
      <p:sp>
        <p:nvSpPr>
          <p:cNvPr id="18" name="任意多边形: 形状 17" title="smoIsAGNiL1wVmNStG0iI9ORzSWKpg0C50ZvwTSBtNDHU">
            <a:extLst>
              <a:ext uri="{FF2B5EF4-FFF2-40B4-BE49-F238E27FC236}">
                <a16:creationId xmlns:a16="http://schemas.microsoft.com/office/drawing/2014/main" id="{B9E91E8A-4867-4DFF-AD8B-C760CADB415B}"/>
              </a:ext>
            </a:extLst>
          </p:cNvPr>
          <p:cNvSpPr/>
          <p:nvPr/>
        </p:nvSpPr>
        <p:spPr bwMode="auto">
          <a:xfrm>
            <a:off x="6030158" y="5181817"/>
            <a:ext cx="587920" cy="413134"/>
          </a:xfrm>
          <a:custGeom>
            <a:avLst/>
            <a:gdLst>
              <a:gd name="connsiteX0" fmla="*/ 450100 w 607639"/>
              <a:gd name="connsiteY0" fmla="*/ 313203 h 426991"/>
              <a:gd name="connsiteX1" fmla="*/ 450100 w 607639"/>
              <a:gd name="connsiteY1" fmla="*/ 403167 h 426991"/>
              <a:gd name="connsiteX2" fmla="*/ 585744 w 607639"/>
              <a:gd name="connsiteY2" fmla="*/ 403167 h 426991"/>
              <a:gd name="connsiteX3" fmla="*/ 586100 w 607639"/>
              <a:gd name="connsiteY3" fmla="*/ 313203 h 426991"/>
              <a:gd name="connsiteX4" fmla="*/ 530294 w 607639"/>
              <a:gd name="connsiteY4" fmla="*/ 313203 h 426991"/>
              <a:gd name="connsiteX5" fmla="*/ 530116 w 607639"/>
              <a:gd name="connsiteY5" fmla="*/ 313203 h 426991"/>
              <a:gd name="connsiteX6" fmla="*/ 529760 w 607639"/>
              <a:gd name="connsiteY6" fmla="*/ 313203 h 426991"/>
              <a:gd name="connsiteX7" fmla="*/ 450901 w 607639"/>
              <a:gd name="connsiteY7" fmla="*/ 313203 h 426991"/>
              <a:gd name="connsiteX8" fmla="*/ 236309 w 607639"/>
              <a:gd name="connsiteY8" fmla="*/ 313203 h 426991"/>
              <a:gd name="connsiteX9" fmla="*/ 236309 w 607639"/>
              <a:gd name="connsiteY9" fmla="*/ 403167 h 426991"/>
              <a:gd name="connsiteX10" fmla="*/ 371953 w 607639"/>
              <a:gd name="connsiteY10" fmla="*/ 403167 h 426991"/>
              <a:gd name="connsiteX11" fmla="*/ 372754 w 607639"/>
              <a:gd name="connsiteY11" fmla="*/ 313203 h 426991"/>
              <a:gd name="connsiteX12" fmla="*/ 237110 w 607639"/>
              <a:gd name="connsiteY12" fmla="*/ 313203 h 426991"/>
              <a:gd name="connsiteX13" fmla="*/ 22519 w 607639"/>
              <a:gd name="connsiteY13" fmla="*/ 313203 h 426991"/>
              <a:gd name="connsiteX14" fmla="*/ 22519 w 607639"/>
              <a:gd name="connsiteY14" fmla="*/ 403167 h 426991"/>
              <a:gd name="connsiteX15" fmla="*/ 158163 w 607639"/>
              <a:gd name="connsiteY15" fmla="*/ 403167 h 426991"/>
              <a:gd name="connsiteX16" fmla="*/ 158964 w 607639"/>
              <a:gd name="connsiteY16" fmla="*/ 313203 h 426991"/>
              <a:gd name="connsiteX17" fmla="*/ 91498 w 607639"/>
              <a:gd name="connsiteY17" fmla="*/ 313203 h 426991"/>
              <a:gd name="connsiteX18" fmla="*/ 91231 w 607639"/>
              <a:gd name="connsiteY18" fmla="*/ 313203 h 426991"/>
              <a:gd name="connsiteX19" fmla="*/ 90964 w 607639"/>
              <a:gd name="connsiteY19" fmla="*/ 313203 h 426991"/>
              <a:gd name="connsiteX20" fmla="*/ 23320 w 607639"/>
              <a:gd name="connsiteY20" fmla="*/ 313203 h 426991"/>
              <a:gd name="connsiteX21" fmla="*/ 91409 w 607639"/>
              <a:gd name="connsiteY21" fmla="*/ 224751 h 426991"/>
              <a:gd name="connsiteX22" fmla="*/ 530294 w 607639"/>
              <a:gd name="connsiteY22" fmla="*/ 224751 h 426991"/>
              <a:gd name="connsiteX23" fmla="*/ 540084 w 607639"/>
              <a:gd name="connsiteY23" fmla="*/ 234530 h 426991"/>
              <a:gd name="connsiteX24" fmla="*/ 540084 w 607639"/>
              <a:gd name="connsiteY24" fmla="*/ 292135 h 426991"/>
              <a:gd name="connsiteX25" fmla="*/ 586456 w 607639"/>
              <a:gd name="connsiteY25" fmla="*/ 292135 h 426991"/>
              <a:gd name="connsiteX26" fmla="*/ 607639 w 607639"/>
              <a:gd name="connsiteY26" fmla="*/ 313203 h 426991"/>
              <a:gd name="connsiteX27" fmla="*/ 607639 w 607639"/>
              <a:gd name="connsiteY27" fmla="*/ 403167 h 426991"/>
              <a:gd name="connsiteX28" fmla="*/ 586456 w 607639"/>
              <a:gd name="connsiteY28" fmla="*/ 426991 h 426991"/>
              <a:gd name="connsiteX29" fmla="*/ 451524 w 607639"/>
              <a:gd name="connsiteY29" fmla="*/ 426991 h 426991"/>
              <a:gd name="connsiteX30" fmla="*/ 427582 w 607639"/>
              <a:gd name="connsiteY30" fmla="*/ 403167 h 426991"/>
              <a:gd name="connsiteX31" fmla="*/ 427582 w 607639"/>
              <a:gd name="connsiteY31" fmla="*/ 313203 h 426991"/>
              <a:gd name="connsiteX32" fmla="*/ 451524 w 607639"/>
              <a:gd name="connsiteY32" fmla="*/ 292135 h 426991"/>
              <a:gd name="connsiteX33" fmla="*/ 517566 w 607639"/>
              <a:gd name="connsiteY33" fmla="*/ 292135 h 426991"/>
              <a:gd name="connsiteX34" fmla="*/ 517566 w 607639"/>
              <a:gd name="connsiteY34" fmla="*/ 247242 h 426991"/>
              <a:gd name="connsiteX35" fmla="*/ 315079 w 607639"/>
              <a:gd name="connsiteY35" fmla="*/ 247242 h 426991"/>
              <a:gd name="connsiteX36" fmla="*/ 315079 w 607639"/>
              <a:gd name="connsiteY36" fmla="*/ 292135 h 426991"/>
              <a:gd name="connsiteX37" fmla="*/ 372665 w 607639"/>
              <a:gd name="connsiteY37" fmla="*/ 292135 h 426991"/>
              <a:gd name="connsiteX38" fmla="*/ 393849 w 607639"/>
              <a:gd name="connsiteY38" fmla="*/ 313203 h 426991"/>
              <a:gd name="connsiteX39" fmla="*/ 393849 w 607639"/>
              <a:gd name="connsiteY39" fmla="*/ 403167 h 426991"/>
              <a:gd name="connsiteX40" fmla="*/ 372665 w 607639"/>
              <a:gd name="connsiteY40" fmla="*/ 426991 h 426991"/>
              <a:gd name="connsiteX41" fmla="*/ 237733 w 607639"/>
              <a:gd name="connsiteY41" fmla="*/ 426991 h 426991"/>
              <a:gd name="connsiteX42" fmla="*/ 213791 w 607639"/>
              <a:gd name="connsiteY42" fmla="*/ 403167 h 426991"/>
              <a:gd name="connsiteX43" fmla="*/ 213791 w 607639"/>
              <a:gd name="connsiteY43" fmla="*/ 313203 h 426991"/>
              <a:gd name="connsiteX44" fmla="*/ 237733 w 607639"/>
              <a:gd name="connsiteY44" fmla="*/ 292135 h 426991"/>
              <a:gd name="connsiteX45" fmla="*/ 292561 w 607639"/>
              <a:gd name="connsiteY45" fmla="*/ 292135 h 426991"/>
              <a:gd name="connsiteX46" fmla="*/ 292561 w 607639"/>
              <a:gd name="connsiteY46" fmla="*/ 247242 h 426991"/>
              <a:gd name="connsiteX47" fmla="*/ 101288 w 607639"/>
              <a:gd name="connsiteY47" fmla="*/ 247242 h 426991"/>
              <a:gd name="connsiteX48" fmla="*/ 101288 w 607639"/>
              <a:gd name="connsiteY48" fmla="*/ 292135 h 426991"/>
              <a:gd name="connsiteX49" fmla="*/ 158875 w 607639"/>
              <a:gd name="connsiteY49" fmla="*/ 292135 h 426991"/>
              <a:gd name="connsiteX50" fmla="*/ 180058 w 607639"/>
              <a:gd name="connsiteY50" fmla="*/ 313203 h 426991"/>
              <a:gd name="connsiteX51" fmla="*/ 180058 w 607639"/>
              <a:gd name="connsiteY51" fmla="*/ 403167 h 426991"/>
              <a:gd name="connsiteX52" fmla="*/ 158875 w 607639"/>
              <a:gd name="connsiteY52" fmla="*/ 426991 h 426991"/>
              <a:gd name="connsiteX53" fmla="*/ 24032 w 607639"/>
              <a:gd name="connsiteY53" fmla="*/ 426991 h 426991"/>
              <a:gd name="connsiteX54" fmla="*/ 0 w 607639"/>
              <a:gd name="connsiteY54" fmla="*/ 403167 h 426991"/>
              <a:gd name="connsiteX55" fmla="*/ 0 w 607639"/>
              <a:gd name="connsiteY55" fmla="*/ 313203 h 426991"/>
              <a:gd name="connsiteX56" fmla="*/ 24032 w 607639"/>
              <a:gd name="connsiteY56" fmla="*/ 292135 h 426991"/>
              <a:gd name="connsiteX57" fmla="*/ 78770 w 607639"/>
              <a:gd name="connsiteY57" fmla="*/ 292135 h 426991"/>
              <a:gd name="connsiteX58" fmla="*/ 78770 w 607639"/>
              <a:gd name="connsiteY58" fmla="*/ 234530 h 426991"/>
              <a:gd name="connsiteX59" fmla="*/ 91409 w 607639"/>
              <a:gd name="connsiteY59" fmla="*/ 224751 h 426991"/>
              <a:gd name="connsiteX60" fmla="*/ 236326 w 607639"/>
              <a:gd name="connsiteY60" fmla="*/ 21066 h 426991"/>
              <a:gd name="connsiteX61" fmla="*/ 236326 w 607639"/>
              <a:gd name="connsiteY61" fmla="*/ 111021 h 426991"/>
              <a:gd name="connsiteX62" fmla="*/ 371758 w 607639"/>
              <a:gd name="connsiteY62" fmla="*/ 111021 h 426991"/>
              <a:gd name="connsiteX63" fmla="*/ 372380 w 607639"/>
              <a:gd name="connsiteY63" fmla="*/ 21066 h 426991"/>
              <a:gd name="connsiteX64" fmla="*/ 237127 w 607639"/>
              <a:gd name="connsiteY64" fmla="*/ 21066 h 426991"/>
              <a:gd name="connsiteX65" fmla="*/ 237750 w 607639"/>
              <a:gd name="connsiteY65" fmla="*/ 0 h 426991"/>
              <a:gd name="connsiteX66" fmla="*/ 372647 w 607639"/>
              <a:gd name="connsiteY66" fmla="*/ 0 h 426991"/>
              <a:gd name="connsiteX67" fmla="*/ 393825 w 607639"/>
              <a:gd name="connsiteY67" fmla="*/ 21066 h 426991"/>
              <a:gd name="connsiteX68" fmla="*/ 393825 w 607639"/>
              <a:gd name="connsiteY68" fmla="*/ 111021 h 426991"/>
              <a:gd name="connsiteX69" fmla="*/ 372647 w 607639"/>
              <a:gd name="connsiteY69" fmla="*/ 134843 h 426991"/>
              <a:gd name="connsiteX70" fmla="*/ 315076 w 607639"/>
              <a:gd name="connsiteY70" fmla="*/ 134843 h 426991"/>
              <a:gd name="connsiteX71" fmla="*/ 315076 w 607639"/>
              <a:gd name="connsiteY71" fmla="*/ 191020 h 426991"/>
              <a:gd name="connsiteX72" fmla="*/ 292563 w 607639"/>
              <a:gd name="connsiteY72" fmla="*/ 191020 h 426991"/>
              <a:gd name="connsiteX73" fmla="*/ 292563 w 607639"/>
              <a:gd name="connsiteY73" fmla="*/ 134843 h 426991"/>
              <a:gd name="connsiteX74" fmla="*/ 237750 w 607639"/>
              <a:gd name="connsiteY74" fmla="*/ 134843 h 426991"/>
              <a:gd name="connsiteX75" fmla="*/ 213813 w 607639"/>
              <a:gd name="connsiteY75" fmla="*/ 111021 h 426991"/>
              <a:gd name="connsiteX76" fmla="*/ 213813 w 607639"/>
              <a:gd name="connsiteY76" fmla="*/ 21066 h 426991"/>
              <a:gd name="connsiteX77" fmla="*/ 237750 w 607639"/>
              <a:gd name="connsiteY77" fmla="*/ 0 h 426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607639" h="426991">
                <a:moveTo>
                  <a:pt x="450100" y="313203"/>
                </a:moveTo>
                <a:lnTo>
                  <a:pt x="450100" y="403167"/>
                </a:lnTo>
                <a:lnTo>
                  <a:pt x="585744" y="403167"/>
                </a:lnTo>
                <a:lnTo>
                  <a:pt x="586100" y="313203"/>
                </a:lnTo>
                <a:lnTo>
                  <a:pt x="530294" y="313203"/>
                </a:lnTo>
                <a:cubicBezTo>
                  <a:pt x="530294" y="313203"/>
                  <a:pt x="530116" y="313203"/>
                  <a:pt x="530116" y="313203"/>
                </a:cubicBezTo>
                <a:cubicBezTo>
                  <a:pt x="530027" y="313203"/>
                  <a:pt x="529849" y="313203"/>
                  <a:pt x="529760" y="313203"/>
                </a:cubicBezTo>
                <a:lnTo>
                  <a:pt x="450901" y="313203"/>
                </a:lnTo>
                <a:close/>
                <a:moveTo>
                  <a:pt x="236309" y="313203"/>
                </a:moveTo>
                <a:lnTo>
                  <a:pt x="236309" y="403167"/>
                </a:lnTo>
                <a:lnTo>
                  <a:pt x="371953" y="403167"/>
                </a:lnTo>
                <a:lnTo>
                  <a:pt x="372754" y="313203"/>
                </a:lnTo>
                <a:lnTo>
                  <a:pt x="237110" y="313203"/>
                </a:lnTo>
                <a:close/>
                <a:moveTo>
                  <a:pt x="22519" y="313203"/>
                </a:moveTo>
                <a:lnTo>
                  <a:pt x="22519" y="403167"/>
                </a:lnTo>
                <a:lnTo>
                  <a:pt x="158163" y="403167"/>
                </a:lnTo>
                <a:lnTo>
                  <a:pt x="158964" y="313203"/>
                </a:lnTo>
                <a:lnTo>
                  <a:pt x="91498" y="313203"/>
                </a:lnTo>
                <a:cubicBezTo>
                  <a:pt x="91409" y="313203"/>
                  <a:pt x="91320" y="313203"/>
                  <a:pt x="91231" y="313203"/>
                </a:cubicBezTo>
                <a:cubicBezTo>
                  <a:pt x="91231" y="313203"/>
                  <a:pt x="90964" y="313203"/>
                  <a:pt x="90964" y="313203"/>
                </a:cubicBezTo>
                <a:lnTo>
                  <a:pt x="23320" y="313203"/>
                </a:lnTo>
                <a:close/>
                <a:moveTo>
                  <a:pt x="91409" y="224751"/>
                </a:moveTo>
                <a:lnTo>
                  <a:pt x="530294" y="224751"/>
                </a:lnTo>
                <a:cubicBezTo>
                  <a:pt x="536435" y="224751"/>
                  <a:pt x="540084" y="228396"/>
                  <a:pt x="540084" y="234530"/>
                </a:cubicBezTo>
                <a:lnTo>
                  <a:pt x="540084" y="292135"/>
                </a:lnTo>
                <a:lnTo>
                  <a:pt x="586456" y="292135"/>
                </a:lnTo>
                <a:cubicBezTo>
                  <a:pt x="598917" y="292135"/>
                  <a:pt x="607639" y="300847"/>
                  <a:pt x="607639" y="313203"/>
                </a:cubicBezTo>
                <a:lnTo>
                  <a:pt x="607639" y="403167"/>
                </a:lnTo>
                <a:cubicBezTo>
                  <a:pt x="607639" y="415524"/>
                  <a:pt x="598917" y="426991"/>
                  <a:pt x="586456" y="426991"/>
                </a:cubicBezTo>
                <a:lnTo>
                  <a:pt x="451524" y="426991"/>
                </a:lnTo>
                <a:cubicBezTo>
                  <a:pt x="439152" y="426991"/>
                  <a:pt x="427582" y="415524"/>
                  <a:pt x="427582" y="403167"/>
                </a:cubicBezTo>
                <a:lnTo>
                  <a:pt x="427582" y="313203"/>
                </a:lnTo>
                <a:cubicBezTo>
                  <a:pt x="427582" y="300847"/>
                  <a:pt x="439152" y="292135"/>
                  <a:pt x="451524" y="292135"/>
                </a:cubicBezTo>
                <a:lnTo>
                  <a:pt x="517566" y="292135"/>
                </a:lnTo>
                <a:lnTo>
                  <a:pt x="517566" y="247242"/>
                </a:lnTo>
                <a:lnTo>
                  <a:pt x="315079" y="247242"/>
                </a:lnTo>
                <a:lnTo>
                  <a:pt x="315079" y="292135"/>
                </a:lnTo>
                <a:lnTo>
                  <a:pt x="372665" y="292135"/>
                </a:lnTo>
                <a:cubicBezTo>
                  <a:pt x="385126" y="292135"/>
                  <a:pt x="393849" y="300847"/>
                  <a:pt x="393849" y="313203"/>
                </a:cubicBezTo>
                <a:lnTo>
                  <a:pt x="393849" y="403167"/>
                </a:lnTo>
                <a:cubicBezTo>
                  <a:pt x="393849" y="415524"/>
                  <a:pt x="385126" y="426991"/>
                  <a:pt x="372665" y="426991"/>
                </a:cubicBezTo>
                <a:lnTo>
                  <a:pt x="237733" y="426991"/>
                </a:lnTo>
                <a:cubicBezTo>
                  <a:pt x="225362" y="426991"/>
                  <a:pt x="213791" y="415524"/>
                  <a:pt x="213791" y="403167"/>
                </a:cubicBezTo>
                <a:lnTo>
                  <a:pt x="213791" y="313203"/>
                </a:lnTo>
                <a:cubicBezTo>
                  <a:pt x="213791" y="300847"/>
                  <a:pt x="225362" y="292135"/>
                  <a:pt x="237733" y="292135"/>
                </a:cubicBezTo>
                <a:lnTo>
                  <a:pt x="292561" y="292135"/>
                </a:lnTo>
                <a:lnTo>
                  <a:pt x="292561" y="247242"/>
                </a:lnTo>
                <a:lnTo>
                  <a:pt x="101288" y="247242"/>
                </a:lnTo>
                <a:lnTo>
                  <a:pt x="101288" y="292135"/>
                </a:lnTo>
                <a:lnTo>
                  <a:pt x="158875" y="292135"/>
                </a:lnTo>
                <a:cubicBezTo>
                  <a:pt x="171335" y="292135"/>
                  <a:pt x="180058" y="300847"/>
                  <a:pt x="180058" y="313203"/>
                </a:cubicBezTo>
                <a:lnTo>
                  <a:pt x="180058" y="403167"/>
                </a:lnTo>
                <a:cubicBezTo>
                  <a:pt x="180058" y="415524"/>
                  <a:pt x="171335" y="426991"/>
                  <a:pt x="158875" y="426991"/>
                </a:cubicBezTo>
                <a:lnTo>
                  <a:pt x="24032" y="426991"/>
                </a:lnTo>
                <a:cubicBezTo>
                  <a:pt x="11571" y="426991"/>
                  <a:pt x="0" y="415524"/>
                  <a:pt x="0" y="403167"/>
                </a:cubicBezTo>
                <a:lnTo>
                  <a:pt x="0" y="313203"/>
                </a:lnTo>
                <a:cubicBezTo>
                  <a:pt x="0" y="300847"/>
                  <a:pt x="11571" y="292135"/>
                  <a:pt x="24032" y="292135"/>
                </a:cubicBezTo>
                <a:lnTo>
                  <a:pt x="78770" y="292135"/>
                </a:lnTo>
                <a:lnTo>
                  <a:pt x="78770" y="234530"/>
                </a:lnTo>
                <a:cubicBezTo>
                  <a:pt x="78770" y="228396"/>
                  <a:pt x="85178" y="224751"/>
                  <a:pt x="91409" y="224751"/>
                </a:cubicBezTo>
                <a:close/>
                <a:moveTo>
                  <a:pt x="236326" y="21066"/>
                </a:moveTo>
                <a:lnTo>
                  <a:pt x="236326" y="111021"/>
                </a:lnTo>
                <a:lnTo>
                  <a:pt x="371758" y="111021"/>
                </a:lnTo>
                <a:lnTo>
                  <a:pt x="372380" y="21066"/>
                </a:lnTo>
                <a:lnTo>
                  <a:pt x="237127" y="21066"/>
                </a:lnTo>
                <a:close/>
                <a:moveTo>
                  <a:pt x="237750" y="0"/>
                </a:moveTo>
                <a:lnTo>
                  <a:pt x="372647" y="0"/>
                </a:lnTo>
                <a:cubicBezTo>
                  <a:pt x="385105" y="0"/>
                  <a:pt x="393825" y="8711"/>
                  <a:pt x="393825" y="21066"/>
                </a:cubicBezTo>
                <a:lnTo>
                  <a:pt x="393825" y="111021"/>
                </a:lnTo>
                <a:cubicBezTo>
                  <a:pt x="393825" y="123376"/>
                  <a:pt x="385105" y="134843"/>
                  <a:pt x="372647" y="134843"/>
                </a:cubicBezTo>
                <a:lnTo>
                  <a:pt x="315076" y="134843"/>
                </a:lnTo>
                <a:lnTo>
                  <a:pt x="315076" y="191020"/>
                </a:lnTo>
                <a:lnTo>
                  <a:pt x="292563" y="191020"/>
                </a:lnTo>
                <a:lnTo>
                  <a:pt x="292563" y="134843"/>
                </a:lnTo>
                <a:lnTo>
                  <a:pt x="237750" y="134843"/>
                </a:lnTo>
                <a:cubicBezTo>
                  <a:pt x="225381" y="134843"/>
                  <a:pt x="213813" y="123376"/>
                  <a:pt x="213813" y="111021"/>
                </a:cubicBezTo>
                <a:lnTo>
                  <a:pt x="213813" y="21066"/>
                </a:lnTo>
                <a:cubicBezTo>
                  <a:pt x="213813" y="8711"/>
                  <a:pt x="225381" y="0"/>
                  <a:pt x="237750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/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92FB743E-ADB5-46A7-A4D1-4FFDCDBE8DCC}"/>
              </a:ext>
            </a:extLst>
          </p:cNvPr>
          <p:cNvSpPr/>
          <p:nvPr/>
        </p:nvSpPr>
        <p:spPr bwMode="auto">
          <a:xfrm>
            <a:off x="7624560" y="3407547"/>
            <a:ext cx="3691440" cy="77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marL="171450" indent="-171450">
              <a:lnSpc>
                <a:spcPct val="14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/>
              <a:t>Supporting text here.</a:t>
            </a:r>
          </a:p>
          <a:p>
            <a:pPr marL="171450" indent="-171450">
              <a:lnSpc>
                <a:spcPct val="14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/>
              <a:t>You can use the icon library in </a:t>
            </a:r>
            <a:r>
              <a:rPr lang="en-US" altLang="zh-CN" sz="1000" dirty="0" err="1"/>
              <a:t>OfficePLUS</a:t>
            </a:r>
            <a:r>
              <a:rPr lang="en-US" altLang="zh-CN" sz="1000" dirty="0"/>
              <a:t>  (OfficePLUS) to filter and replace existing icon elements with one click.</a:t>
            </a: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F9C1AB62-A8C2-426D-A2E8-8BCB00C8AE23}"/>
              </a:ext>
            </a:extLst>
          </p:cNvPr>
          <p:cNvSpPr txBox="1"/>
          <p:nvPr/>
        </p:nvSpPr>
        <p:spPr bwMode="auto">
          <a:xfrm>
            <a:off x="7624560" y="2894450"/>
            <a:ext cx="3691440" cy="513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 anchor="ctr">
            <a:normAutofit/>
          </a:bodyPr>
          <a:lstStyle/>
          <a:p>
            <a:pPr marL="0" marR="0" lvl="0" indent="0" algn="l" defTabSz="914377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Text here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CB75D869-8FF2-43FD-BEC9-1F680ADED513}"/>
              </a:ext>
            </a:extLst>
          </p:cNvPr>
          <p:cNvSpPr/>
          <p:nvPr/>
        </p:nvSpPr>
        <p:spPr bwMode="auto">
          <a:xfrm>
            <a:off x="1192811" y="1969268"/>
            <a:ext cx="2570197" cy="77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Supporting text here.</a:t>
            </a:r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When you copy &amp; paste, choose "keep text only" option.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8D0B1B21-382E-49B5-8EDF-22C4D3AB1761}"/>
              </a:ext>
            </a:extLst>
          </p:cNvPr>
          <p:cNvSpPr txBox="1"/>
          <p:nvPr/>
        </p:nvSpPr>
        <p:spPr bwMode="auto">
          <a:xfrm>
            <a:off x="1192811" y="1456171"/>
            <a:ext cx="2570197" cy="513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 anchor="ctr">
            <a:normAutofit/>
          </a:bodyPr>
          <a:lstStyle/>
          <a:p>
            <a:pPr marL="0" marR="0" lvl="0" indent="0" algn="l" defTabSz="914377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ext here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BA806790-E570-47D8-AE06-455AEC3581EB}"/>
              </a:ext>
            </a:extLst>
          </p:cNvPr>
          <p:cNvSpPr/>
          <p:nvPr/>
        </p:nvSpPr>
        <p:spPr bwMode="auto">
          <a:xfrm>
            <a:off x="1192811" y="4026305"/>
            <a:ext cx="2570197" cy="77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Supporting text here.</a:t>
            </a:r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When you copy &amp; paste, choose "keep text only" option.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FC3378E2-D955-4EB0-8CC8-59E6ED4AE39D}"/>
              </a:ext>
            </a:extLst>
          </p:cNvPr>
          <p:cNvSpPr txBox="1"/>
          <p:nvPr/>
        </p:nvSpPr>
        <p:spPr bwMode="auto">
          <a:xfrm>
            <a:off x="1192811" y="3513208"/>
            <a:ext cx="2570197" cy="513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 anchor="ctr">
            <a:normAutofit/>
          </a:bodyPr>
          <a:lstStyle/>
          <a:p>
            <a:pPr marL="0" marR="0" lvl="0" indent="0" algn="l" defTabSz="914377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ext here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5D41E9A8-67FB-42D9-AE87-D8E7FE972505}"/>
              </a:ext>
            </a:extLst>
          </p:cNvPr>
          <p:cNvSpPr/>
          <p:nvPr/>
        </p:nvSpPr>
        <p:spPr bwMode="auto">
          <a:xfrm>
            <a:off x="7082613" y="5285254"/>
            <a:ext cx="2570197" cy="77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Supporting text here.</a:t>
            </a:r>
          </a:p>
          <a:p>
            <a:pPr marL="171450" indent="-17145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en-US" altLang="zh-CN" sz="900" dirty="0"/>
              <a:t>When you copy &amp; paste, choose "keep text only" option.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76679E9B-379B-4DEC-9043-9DF37E3FBA6F}"/>
              </a:ext>
            </a:extLst>
          </p:cNvPr>
          <p:cNvSpPr txBox="1"/>
          <p:nvPr/>
        </p:nvSpPr>
        <p:spPr bwMode="auto">
          <a:xfrm>
            <a:off x="7082613" y="4772157"/>
            <a:ext cx="2570197" cy="513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rIns="90000" anchor="ctr">
            <a:normAutofit/>
          </a:bodyPr>
          <a:lstStyle/>
          <a:p>
            <a:pPr marL="0" marR="0" lvl="0" indent="0" algn="l" defTabSz="914377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ext here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681753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3C50A0F-D9A0-4C3D-A7BC-B670DAD617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A8A8B44-2D5B-4A39-9339-11B25D9C48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33D5B1E-A185-42CD-962E-B18D3AE3D5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endParaRPr lang="zh-CN" altLang="en-US" dirty="0"/>
          </a:p>
        </p:txBody>
      </p:sp>
      <p:sp>
        <p:nvSpPr>
          <p:cNvPr id="31" name="任意多边形: 形状 30">
            <a:extLst>
              <a:ext uri="{FF2B5EF4-FFF2-40B4-BE49-F238E27FC236}">
                <a16:creationId xmlns:a16="http://schemas.microsoft.com/office/drawing/2014/main" id="{63CD9B97-135D-4CFA-BE6D-EDDAC3300CD9}"/>
              </a:ext>
            </a:extLst>
          </p:cNvPr>
          <p:cNvSpPr/>
          <p:nvPr/>
        </p:nvSpPr>
        <p:spPr bwMode="auto">
          <a:xfrm>
            <a:off x="3271489" y="1885215"/>
            <a:ext cx="3144886" cy="2090051"/>
          </a:xfrm>
          <a:custGeom>
            <a:avLst/>
            <a:gdLst>
              <a:gd name="T0" fmla="*/ 1443 w 1443"/>
              <a:gd name="T1" fmla="*/ 959 h 959"/>
              <a:gd name="T2" fmla="*/ 1397 w 1443"/>
              <a:gd name="T3" fmla="*/ 560 h 959"/>
              <a:gd name="T4" fmla="*/ 1300 w 1443"/>
              <a:gd name="T5" fmla="*/ 663 h 959"/>
              <a:gd name="T6" fmla="*/ 677 w 1443"/>
              <a:gd name="T7" fmla="*/ 0 h 959"/>
              <a:gd name="T8" fmla="*/ 0 w 1443"/>
              <a:gd name="T9" fmla="*/ 0 h 959"/>
              <a:gd name="T10" fmla="*/ 118 w 1443"/>
              <a:gd name="T11" fmla="*/ 99 h 959"/>
              <a:gd name="T12" fmla="*/ 4 w 1443"/>
              <a:gd name="T13" fmla="*/ 196 h 959"/>
              <a:gd name="T14" fmla="*/ 593 w 1443"/>
              <a:gd name="T15" fmla="*/ 196 h 959"/>
              <a:gd name="T16" fmla="*/ 1165 w 1443"/>
              <a:gd name="T17" fmla="*/ 804 h 959"/>
              <a:gd name="T18" fmla="*/ 1045 w 1443"/>
              <a:gd name="T19" fmla="*/ 930 h 959"/>
              <a:gd name="T20" fmla="*/ 1443 w 1443"/>
              <a:gd name="T21" fmla="*/ 959 h 9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43" h="959">
                <a:moveTo>
                  <a:pt x="1443" y="959"/>
                </a:moveTo>
                <a:lnTo>
                  <a:pt x="1397" y="560"/>
                </a:lnTo>
                <a:lnTo>
                  <a:pt x="1300" y="663"/>
                </a:lnTo>
                <a:lnTo>
                  <a:pt x="677" y="0"/>
                </a:lnTo>
                <a:lnTo>
                  <a:pt x="0" y="0"/>
                </a:lnTo>
                <a:lnTo>
                  <a:pt x="118" y="99"/>
                </a:lnTo>
                <a:lnTo>
                  <a:pt x="4" y="196"/>
                </a:lnTo>
                <a:lnTo>
                  <a:pt x="593" y="196"/>
                </a:lnTo>
                <a:lnTo>
                  <a:pt x="1165" y="804"/>
                </a:lnTo>
                <a:lnTo>
                  <a:pt x="1045" y="930"/>
                </a:lnTo>
                <a:lnTo>
                  <a:pt x="1443" y="95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 sz="2400"/>
          </a:p>
        </p:txBody>
      </p:sp>
      <p:sp>
        <p:nvSpPr>
          <p:cNvPr id="32" name="任意多边形: 形状 31">
            <a:extLst>
              <a:ext uri="{FF2B5EF4-FFF2-40B4-BE49-F238E27FC236}">
                <a16:creationId xmlns:a16="http://schemas.microsoft.com/office/drawing/2014/main" id="{1AF74B40-28AA-4786-9655-FC14A97A8831}"/>
              </a:ext>
            </a:extLst>
          </p:cNvPr>
          <p:cNvSpPr/>
          <p:nvPr/>
        </p:nvSpPr>
        <p:spPr bwMode="auto">
          <a:xfrm>
            <a:off x="994008" y="1543050"/>
            <a:ext cx="2443116" cy="1826344"/>
          </a:xfrm>
          <a:custGeom>
            <a:avLst/>
            <a:gdLst>
              <a:gd name="T0" fmla="*/ 1121 w 1121"/>
              <a:gd name="T1" fmla="*/ 256 h 838"/>
              <a:gd name="T2" fmla="*/ 812 w 1121"/>
              <a:gd name="T3" fmla="*/ 0 h 838"/>
              <a:gd name="T4" fmla="*/ 812 w 1121"/>
              <a:gd name="T5" fmla="*/ 157 h 838"/>
              <a:gd name="T6" fmla="*/ 0 w 1121"/>
              <a:gd name="T7" fmla="*/ 157 h 838"/>
              <a:gd name="T8" fmla="*/ 0 w 1121"/>
              <a:gd name="T9" fmla="*/ 838 h 838"/>
              <a:gd name="T10" fmla="*/ 100 w 1121"/>
              <a:gd name="T11" fmla="*/ 715 h 838"/>
              <a:gd name="T12" fmla="*/ 195 w 1121"/>
              <a:gd name="T13" fmla="*/ 830 h 838"/>
              <a:gd name="T14" fmla="*/ 195 w 1121"/>
              <a:gd name="T15" fmla="*/ 353 h 838"/>
              <a:gd name="T16" fmla="*/ 812 w 1121"/>
              <a:gd name="T17" fmla="*/ 353 h 838"/>
              <a:gd name="T18" fmla="*/ 812 w 1121"/>
              <a:gd name="T19" fmla="*/ 512 h 838"/>
              <a:gd name="T20" fmla="*/ 1121 w 1121"/>
              <a:gd name="T21" fmla="*/ 256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121" h="838">
                <a:moveTo>
                  <a:pt x="1121" y="256"/>
                </a:moveTo>
                <a:lnTo>
                  <a:pt x="812" y="0"/>
                </a:lnTo>
                <a:lnTo>
                  <a:pt x="812" y="157"/>
                </a:lnTo>
                <a:lnTo>
                  <a:pt x="0" y="157"/>
                </a:lnTo>
                <a:lnTo>
                  <a:pt x="0" y="838"/>
                </a:lnTo>
                <a:lnTo>
                  <a:pt x="100" y="715"/>
                </a:lnTo>
                <a:lnTo>
                  <a:pt x="195" y="830"/>
                </a:lnTo>
                <a:lnTo>
                  <a:pt x="195" y="353"/>
                </a:lnTo>
                <a:lnTo>
                  <a:pt x="812" y="353"/>
                </a:lnTo>
                <a:lnTo>
                  <a:pt x="812" y="512"/>
                </a:lnTo>
                <a:lnTo>
                  <a:pt x="1121" y="25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 sz="2400"/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1C91B1AC-A0DF-490C-A50E-A69F0B191000}"/>
              </a:ext>
            </a:extLst>
          </p:cNvPr>
          <p:cNvSpPr/>
          <p:nvPr/>
        </p:nvSpPr>
        <p:spPr bwMode="auto">
          <a:xfrm>
            <a:off x="656200" y="3197219"/>
            <a:ext cx="2277481" cy="2185945"/>
          </a:xfrm>
          <a:custGeom>
            <a:avLst/>
            <a:gdLst>
              <a:gd name="T0" fmla="*/ 1045 w 1045"/>
              <a:gd name="T1" fmla="*/ 808 h 1003"/>
              <a:gd name="T2" fmla="*/ 350 w 1045"/>
              <a:gd name="T3" fmla="*/ 808 h 1003"/>
              <a:gd name="T4" fmla="*/ 350 w 1045"/>
              <a:gd name="T5" fmla="*/ 308 h 1003"/>
              <a:gd name="T6" fmla="*/ 511 w 1045"/>
              <a:gd name="T7" fmla="*/ 308 h 1003"/>
              <a:gd name="T8" fmla="*/ 255 w 1045"/>
              <a:gd name="T9" fmla="*/ 0 h 1003"/>
              <a:gd name="T10" fmla="*/ 0 w 1045"/>
              <a:gd name="T11" fmla="*/ 308 h 1003"/>
              <a:gd name="T12" fmla="*/ 155 w 1045"/>
              <a:gd name="T13" fmla="*/ 308 h 1003"/>
              <a:gd name="T14" fmla="*/ 155 w 1045"/>
              <a:gd name="T15" fmla="*/ 1003 h 1003"/>
              <a:gd name="T16" fmla="*/ 253 w 1045"/>
              <a:gd name="T17" fmla="*/ 1003 h 1003"/>
              <a:gd name="T18" fmla="*/ 1039 w 1045"/>
              <a:gd name="T19" fmla="*/ 1003 h 1003"/>
              <a:gd name="T20" fmla="*/ 923 w 1045"/>
              <a:gd name="T21" fmla="*/ 908 h 1003"/>
              <a:gd name="T22" fmla="*/ 1045 w 1045"/>
              <a:gd name="T23" fmla="*/ 80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45" h="1003">
                <a:moveTo>
                  <a:pt x="1045" y="808"/>
                </a:moveTo>
                <a:lnTo>
                  <a:pt x="350" y="808"/>
                </a:lnTo>
                <a:lnTo>
                  <a:pt x="350" y="308"/>
                </a:lnTo>
                <a:lnTo>
                  <a:pt x="511" y="308"/>
                </a:lnTo>
                <a:lnTo>
                  <a:pt x="255" y="0"/>
                </a:lnTo>
                <a:lnTo>
                  <a:pt x="0" y="308"/>
                </a:lnTo>
                <a:lnTo>
                  <a:pt x="155" y="308"/>
                </a:lnTo>
                <a:lnTo>
                  <a:pt x="155" y="1003"/>
                </a:lnTo>
                <a:lnTo>
                  <a:pt x="253" y="1003"/>
                </a:lnTo>
                <a:lnTo>
                  <a:pt x="1039" y="1003"/>
                </a:lnTo>
                <a:lnTo>
                  <a:pt x="923" y="908"/>
                </a:lnTo>
                <a:lnTo>
                  <a:pt x="1045" y="80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 sz="2400"/>
          </a:p>
        </p:txBody>
      </p:sp>
      <p:sp>
        <p:nvSpPr>
          <p:cNvPr id="34" name="任意多边形: 形状 33">
            <a:extLst>
              <a:ext uri="{FF2B5EF4-FFF2-40B4-BE49-F238E27FC236}">
                <a16:creationId xmlns:a16="http://schemas.microsoft.com/office/drawing/2014/main" id="{41961184-C535-4E99-A57B-A3FEDAB0EB7E}"/>
              </a:ext>
            </a:extLst>
          </p:cNvPr>
          <p:cNvSpPr/>
          <p:nvPr/>
        </p:nvSpPr>
        <p:spPr bwMode="auto">
          <a:xfrm>
            <a:off x="2763687" y="3970910"/>
            <a:ext cx="3275650" cy="1763140"/>
          </a:xfrm>
          <a:custGeom>
            <a:avLst/>
            <a:gdLst>
              <a:gd name="T0" fmla="*/ 1252 w 1503"/>
              <a:gd name="T1" fmla="*/ 0 h 809"/>
              <a:gd name="T2" fmla="*/ 826 w 1503"/>
              <a:gd name="T3" fmla="*/ 453 h 809"/>
              <a:gd name="T4" fmla="*/ 309 w 1503"/>
              <a:gd name="T5" fmla="*/ 453 h 809"/>
              <a:gd name="T6" fmla="*/ 309 w 1503"/>
              <a:gd name="T7" fmla="*/ 298 h 809"/>
              <a:gd name="T8" fmla="*/ 0 w 1503"/>
              <a:gd name="T9" fmla="*/ 553 h 809"/>
              <a:gd name="T10" fmla="*/ 309 w 1503"/>
              <a:gd name="T11" fmla="*/ 809 h 809"/>
              <a:gd name="T12" fmla="*/ 309 w 1503"/>
              <a:gd name="T13" fmla="*/ 648 h 809"/>
              <a:gd name="T14" fmla="*/ 868 w 1503"/>
              <a:gd name="T15" fmla="*/ 648 h 809"/>
              <a:gd name="T16" fmla="*/ 910 w 1503"/>
              <a:gd name="T17" fmla="*/ 648 h 809"/>
              <a:gd name="T18" fmla="*/ 1503 w 1503"/>
              <a:gd name="T19" fmla="*/ 18 h 809"/>
              <a:gd name="T20" fmla="*/ 1252 w 1503"/>
              <a:gd name="T21" fmla="*/ 0 h 8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503" h="809">
                <a:moveTo>
                  <a:pt x="1252" y="0"/>
                </a:moveTo>
                <a:lnTo>
                  <a:pt x="826" y="453"/>
                </a:lnTo>
                <a:lnTo>
                  <a:pt x="309" y="453"/>
                </a:lnTo>
                <a:lnTo>
                  <a:pt x="309" y="298"/>
                </a:lnTo>
                <a:lnTo>
                  <a:pt x="0" y="553"/>
                </a:lnTo>
                <a:lnTo>
                  <a:pt x="309" y="809"/>
                </a:lnTo>
                <a:lnTo>
                  <a:pt x="309" y="648"/>
                </a:lnTo>
                <a:lnTo>
                  <a:pt x="868" y="648"/>
                </a:lnTo>
                <a:lnTo>
                  <a:pt x="910" y="648"/>
                </a:lnTo>
                <a:lnTo>
                  <a:pt x="1503" y="18"/>
                </a:lnTo>
                <a:lnTo>
                  <a:pt x="1252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 sz="2400"/>
          </a:p>
        </p:txBody>
      </p:sp>
      <p:sp>
        <p:nvSpPr>
          <p:cNvPr id="35" name="任意多边形: 形状 34">
            <a:extLst>
              <a:ext uri="{FF2B5EF4-FFF2-40B4-BE49-F238E27FC236}">
                <a16:creationId xmlns:a16="http://schemas.microsoft.com/office/drawing/2014/main" id="{FA68298D-3EBE-4B38-BC30-6AF8C666E594}"/>
              </a:ext>
            </a:extLst>
          </p:cNvPr>
          <p:cNvSpPr/>
          <p:nvPr/>
        </p:nvSpPr>
        <p:spPr bwMode="auto">
          <a:xfrm>
            <a:off x="6368426" y="1885216"/>
            <a:ext cx="2530293" cy="1702116"/>
          </a:xfrm>
          <a:custGeom>
            <a:avLst/>
            <a:gdLst>
              <a:gd name="T0" fmla="*/ 578 w 1161"/>
              <a:gd name="T1" fmla="*/ 196 h 781"/>
              <a:gd name="T2" fmla="*/ 1155 w 1161"/>
              <a:gd name="T3" fmla="*/ 196 h 781"/>
              <a:gd name="T4" fmla="*/ 1041 w 1161"/>
              <a:gd name="T5" fmla="*/ 99 h 781"/>
              <a:gd name="T6" fmla="*/ 1161 w 1161"/>
              <a:gd name="T7" fmla="*/ 0 h 781"/>
              <a:gd name="T8" fmla="*/ 494 w 1161"/>
              <a:gd name="T9" fmla="*/ 0 h 781"/>
              <a:gd name="T10" fmla="*/ 0 w 1161"/>
              <a:gd name="T11" fmla="*/ 526 h 781"/>
              <a:gd name="T12" fmla="*/ 30 w 1161"/>
              <a:gd name="T13" fmla="*/ 781 h 781"/>
              <a:gd name="T14" fmla="*/ 578 w 1161"/>
              <a:gd name="T15" fmla="*/ 196 h 7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161" h="781">
                <a:moveTo>
                  <a:pt x="578" y="196"/>
                </a:moveTo>
                <a:lnTo>
                  <a:pt x="1155" y="196"/>
                </a:lnTo>
                <a:lnTo>
                  <a:pt x="1041" y="99"/>
                </a:lnTo>
                <a:lnTo>
                  <a:pt x="1161" y="0"/>
                </a:lnTo>
                <a:lnTo>
                  <a:pt x="494" y="0"/>
                </a:lnTo>
                <a:lnTo>
                  <a:pt x="0" y="526"/>
                </a:lnTo>
                <a:lnTo>
                  <a:pt x="30" y="781"/>
                </a:lnTo>
                <a:lnTo>
                  <a:pt x="578" y="19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 sz="2400"/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89979EB0-2619-4076-8521-B08EEF71BBCC}"/>
              </a:ext>
            </a:extLst>
          </p:cNvPr>
          <p:cNvSpPr/>
          <p:nvPr/>
        </p:nvSpPr>
        <p:spPr bwMode="auto">
          <a:xfrm>
            <a:off x="9232168" y="3197219"/>
            <a:ext cx="2303634" cy="2185945"/>
          </a:xfrm>
          <a:custGeom>
            <a:avLst/>
            <a:gdLst>
              <a:gd name="T0" fmla="*/ 1057 w 1057"/>
              <a:gd name="T1" fmla="*/ 308 h 1003"/>
              <a:gd name="T2" fmla="*/ 802 w 1057"/>
              <a:gd name="T3" fmla="*/ 0 h 1003"/>
              <a:gd name="T4" fmla="*/ 547 w 1057"/>
              <a:gd name="T5" fmla="*/ 308 h 1003"/>
              <a:gd name="T6" fmla="*/ 707 w 1057"/>
              <a:gd name="T7" fmla="*/ 308 h 1003"/>
              <a:gd name="T8" fmla="*/ 707 w 1057"/>
              <a:gd name="T9" fmla="*/ 808 h 1003"/>
              <a:gd name="T10" fmla="*/ 0 w 1057"/>
              <a:gd name="T11" fmla="*/ 808 h 1003"/>
              <a:gd name="T12" fmla="*/ 123 w 1057"/>
              <a:gd name="T13" fmla="*/ 908 h 1003"/>
              <a:gd name="T14" fmla="*/ 6 w 1057"/>
              <a:gd name="T15" fmla="*/ 1003 h 1003"/>
              <a:gd name="T16" fmla="*/ 902 w 1057"/>
              <a:gd name="T17" fmla="*/ 1003 h 1003"/>
              <a:gd name="T18" fmla="*/ 902 w 1057"/>
              <a:gd name="T19" fmla="*/ 308 h 1003"/>
              <a:gd name="T20" fmla="*/ 1057 w 1057"/>
              <a:gd name="T21" fmla="*/ 308 h 10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57" h="1003">
                <a:moveTo>
                  <a:pt x="1057" y="308"/>
                </a:moveTo>
                <a:lnTo>
                  <a:pt x="802" y="0"/>
                </a:lnTo>
                <a:lnTo>
                  <a:pt x="547" y="308"/>
                </a:lnTo>
                <a:lnTo>
                  <a:pt x="707" y="308"/>
                </a:lnTo>
                <a:lnTo>
                  <a:pt x="707" y="808"/>
                </a:lnTo>
                <a:lnTo>
                  <a:pt x="0" y="808"/>
                </a:lnTo>
                <a:lnTo>
                  <a:pt x="123" y="908"/>
                </a:lnTo>
                <a:lnTo>
                  <a:pt x="6" y="1003"/>
                </a:lnTo>
                <a:lnTo>
                  <a:pt x="902" y="1003"/>
                </a:lnTo>
                <a:lnTo>
                  <a:pt x="902" y="308"/>
                </a:lnTo>
                <a:lnTo>
                  <a:pt x="1057" y="30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 sz="2400"/>
          </a:p>
        </p:txBody>
      </p:sp>
      <p:sp>
        <p:nvSpPr>
          <p:cNvPr id="37" name="任意多边形: 形状 36">
            <a:extLst>
              <a:ext uri="{FF2B5EF4-FFF2-40B4-BE49-F238E27FC236}">
                <a16:creationId xmlns:a16="http://schemas.microsoft.com/office/drawing/2014/main" id="{009EAEDE-A06F-4D1F-8CC4-347CCD6CA019}"/>
              </a:ext>
            </a:extLst>
          </p:cNvPr>
          <p:cNvSpPr/>
          <p:nvPr/>
        </p:nvSpPr>
        <p:spPr bwMode="auto">
          <a:xfrm>
            <a:off x="8728723" y="1543050"/>
            <a:ext cx="2469269" cy="1826344"/>
          </a:xfrm>
          <a:custGeom>
            <a:avLst/>
            <a:gdLst>
              <a:gd name="T0" fmla="*/ 1037 w 1133"/>
              <a:gd name="T1" fmla="*/ 157 h 838"/>
              <a:gd name="T2" fmla="*/ 1037 w 1133"/>
              <a:gd name="T3" fmla="*/ 157 h 838"/>
              <a:gd name="T4" fmla="*/ 309 w 1133"/>
              <a:gd name="T5" fmla="*/ 157 h 838"/>
              <a:gd name="T6" fmla="*/ 309 w 1133"/>
              <a:gd name="T7" fmla="*/ 0 h 838"/>
              <a:gd name="T8" fmla="*/ 0 w 1133"/>
              <a:gd name="T9" fmla="*/ 256 h 838"/>
              <a:gd name="T10" fmla="*/ 309 w 1133"/>
              <a:gd name="T11" fmla="*/ 512 h 838"/>
              <a:gd name="T12" fmla="*/ 309 w 1133"/>
              <a:gd name="T13" fmla="*/ 353 h 838"/>
              <a:gd name="T14" fmla="*/ 938 w 1133"/>
              <a:gd name="T15" fmla="*/ 353 h 838"/>
              <a:gd name="T16" fmla="*/ 938 w 1133"/>
              <a:gd name="T17" fmla="*/ 830 h 838"/>
              <a:gd name="T18" fmla="*/ 1033 w 1133"/>
              <a:gd name="T19" fmla="*/ 715 h 838"/>
              <a:gd name="T20" fmla="*/ 1133 w 1133"/>
              <a:gd name="T21" fmla="*/ 838 h 838"/>
              <a:gd name="T22" fmla="*/ 1133 w 1133"/>
              <a:gd name="T23" fmla="*/ 157 h 838"/>
              <a:gd name="T24" fmla="*/ 1037 w 1133"/>
              <a:gd name="T25" fmla="*/ 157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33" h="838">
                <a:moveTo>
                  <a:pt x="1037" y="157"/>
                </a:moveTo>
                <a:lnTo>
                  <a:pt x="1037" y="157"/>
                </a:lnTo>
                <a:lnTo>
                  <a:pt x="309" y="157"/>
                </a:lnTo>
                <a:lnTo>
                  <a:pt x="309" y="0"/>
                </a:lnTo>
                <a:lnTo>
                  <a:pt x="0" y="256"/>
                </a:lnTo>
                <a:lnTo>
                  <a:pt x="309" y="512"/>
                </a:lnTo>
                <a:lnTo>
                  <a:pt x="309" y="353"/>
                </a:lnTo>
                <a:lnTo>
                  <a:pt x="938" y="353"/>
                </a:lnTo>
                <a:lnTo>
                  <a:pt x="938" y="830"/>
                </a:lnTo>
                <a:lnTo>
                  <a:pt x="1033" y="715"/>
                </a:lnTo>
                <a:lnTo>
                  <a:pt x="1133" y="838"/>
                </a:lnTo>
                <a:lnTo>
                  <a:pt x="1133" y="157"/>
                </a:lnTo>
                <a:lnTo>
                  <a:pt x="1037" y="15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 sz="2400"/>
          </a:p>
        </p:txBody>
      </p:sp>
      <p:sp>
        <p:nvSpPr>
          <p:cNvPr id="38" name="任意多边形: 形状 37">
            <a:extLst>
              <a:ext uri="{FF2B5EF4-FFF2-40B4-BE49-F238E27FC236}">
                <a16:creationId xmlns:a16="http://schemas.microsoft.com/office/drawing/2014/main" id="{230C1D4B-C920-4647-B2C8-D4C75F4DA7D0}"/>
              </a:ext>
            </a:extLst>
          </p:cNvPr>
          <p:cNvSpPr/>
          <p:nvPr/>
        </p:nvSpPr>
        <p:spPr bwMode="auto">
          <a:xfrm>
            <a:off x="6165741" y="3694124"/>
            <a:ext cx="3236421" cy="2039925"/>
          </a:xfrm>
          <a:custGeom>
            <a:avLst/>
            <a:gdLst>
              <a:gd name="T0" fmla="*/ 1485 w 1485"/>
              <a:gd name="T1" fmla="*/ 680 h 936"/>
              <a:gd name="T2" fmla="*/ 1176 w 1485"/>
              <a:gd name="T3" fmla="*/ 425 h 936"/>
              <a:gd name="T4" fmla="*/ 1176 w 1485"/>
              <a:gd name="T5" fmla="*/ 580 h 936"/>
              <a:gd name="T6" fmla="*/ 671 w 1485"/>
              <a:gd name="T7" fmla="*/ 580 h 936"/>
              <a:gd name="T8" fmla="*/ 129 w 1485"/>
              <a:gd name="T9" fmla="*/ 0 h 936"/>
              <a:gd name="T10" fmla="*/ 147 w 1485"/>
              <a:gd name="T11" fmla="*/ 159 h 936"/>
              <a:gd name="T12" fmla="*/ 0 w 1485"/>
              <a:gd name="T13" fmla="*/ 149 h 936"/>
              <a:gd name="T14" fmla="*/ 587 w 1485"/>
              <a:gd name="T15" fmla="*/ 775 h 936"/>
              <a:gd name="T16" fmla="*/ 1176 w 1485"/>
              <a:gd name="T17" fmla="*/ 775 h 936"/>
              <a:gd name="T18" fmla="*/ 1176 w 1485"/>
              <a:gd name="T19" fmla="*/ 936 h 936"/>
              <a:gd name="T20" fmla="*/ 1485 w 1485"/>
              <a:gd name="T21" fmla="*/ 680 h 9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485" h="936">
                <a:moveTo>
                  <a:pt x="1485" y="680"/>
                </a:moveTo>
                <a:lnTo>
                  <a:pt x="1176" y="425"/>
                </a:lnTo>
                <a:lnTo>
                  <a:pt x="1176" y="580"/>
                </a:lnTo>
                <a:lnTo>
                  <a:pt x="671" y="580"/>
                </a:lnTo>
                <a:lnTo>
                  <a:pt x="129" y="0"/>
                </a:lnTo>
                <a:lnTo>
                  <a:pt x="147" y="159"/>
                </a:lnTo>
                <a:lnTo>
                  <a:pt x="0" y="149"/>
                </a:lnTo>
                <a:lnTo>
                  <a:pt x="587" y="775"/>
                </a:lnTo>
                <a:lnTo>
                  <a:pt x="1176" y="775"/>
                </a:lnTo>
                <a:lnTo>
                  <a:pt x="1176" y="936"/>
                </a:lnTo>
                <a:lnTo>
                  <a:pt x="1485" y="68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 sz="2400"/>
          </a:p>
        </p:txBody>
      </p:sp>
      <p:grpSp>
        <p:nvGrpSpPr>
          <p:cNvPr id="80" name="组合 79">
            <a:extLst>
              <a:ext uri="{FF2B5EF4-FFF2-40B4-BE49-F238E27FC236}">
                <a16:creationId xmlns:a16="http://schemas.microsoft.com/office/drawing/2014/main" id="{08ABFC87-C1A0-4D1B-B03F-2EC3F35F533E}"/>
              </a:ext>
            </a:extLst>
          </p:cNvPr>
          <p:cNvGrpSpPr/>
          <p:nvPr/>
        </p:nvGrpSpPr>
        <p:grpSpPr>
          <a:xfrm>
            <a:off x="2239066" y="3076294"/>
            <a:ext cx="2928736" cy="1124513"/>
            <a:chOff x="2982537" y="2663714"/>
            <a:chExt cx="2928736" cy="1124513"/>
          </a:xfrm>
        </p:grpSpPr>
        <p:sp>
          <p:nvSpPr>
            <p:cNvPr id="82" name="矩形 81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 flipH="1">
              <a:off x="2982537" y="3085429"/>
              <a:ext cx="2928736" cy="7027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83" name="文本框 82">
              <a:extLst>
                <a:ext uri="{FF2B5EF4-FFF2-40B4-BE49-F238E27FC236}">
                  <a16:creationId xmlns:a16="http://schemas.microsoft.com/office/drawing/2014/main" id="{3495B739-E5A7-4F4A-95FD-24BDFE4B18B1}"/>
                </a:ext>
              </a:extLst>
            </p:cNvPr>
            <p:cNvSpPr txBox="1"/>
            <p:nvPr/>
          </p:nvSpPr>
          <p:spPr bwMode="auto">
            <a:xfrm flipH="1">
              <a:off x="2982537" y="2663714"/>
              <a:ext cx="2928736" cy="421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  <a:spcBef>
                  <a:spcPct val="0"/>
                </a:spcBef>
              </a:pPr>
              <a:r>
                <a:rPr lang="en-US" altLang="zh-CN" b="1" dirty="0"/>
                <a:t>Text here</a:t>
              </a:r>
            </a:p>
          </p:txBody>
        </p:sp>
      </p:grpSp>
      <p:sp>
        <p:nvSpPr>
          <p:cNvPr id="81" name="任意多边形: 形状 80">
            <a:extLst>
              <a:ext uri="{FF2B5EF4-FFF2-40B4-BE49-F238E27FC236}">
                <a16:creationId xmlns:a16="http://schemas.microsoft.com/office/drawing/2014/main" id="{5085C254-2F2B-4233-B224-D37F11138C80}"/>
              </a:ext>
            </a:extLst>
          </p:cNvPr>
          <p:cNvSpPr/>
          <p:nvPr/>
        </p:nvSpPr>
        <p:spPr bwMode="auto">
          <a:xfrm>
            <a:off x="1784358" y="3444804"/>
            <a:ext cx="388033" cy="387493"/>
          </a:xfrm>
          <a:custGeom>
            <a:avLst/>
            <a:gdLst>
              <a:gd name="connsiteX0" fmla="*/ 366373 w 606933"/>
              <a:gd name="connsiteY0" fmla="*/ 246979 h 606087"/>
              <a:gd name="connsiteX1" fmla="*/ 422546 w 606933"/>
              <a:gd name="connsiteY1" fmla="*/ 303021 h 606087"/>
              <a:gd name="connsiteX2" fmla="*/ 366373 w 606933"/>
              <a:gd name="connsiteY2" fmla="*/ 358966 h 606087"/>
              <a:gd name="connsiteX3" fmla="*/ 348452 w 606933"/>
              <a:gd name="connsiteY3" fmla="*/ 341183 h 606087"/>
              <a:gd name="connsiteX4" fmla="*/ 386703 w 606933"/>
              <a:gd name="connsiteY4" fmla="*/ 303021 h 606087"/>
              <a:gd name="connsiteX5" fmla="*/ 348452 w 606933"/>
              <a:gd name="connsiteY5" fmla="*/ 264763 h 606087"/>
              <a:gd name="connsiteX6" fmla="*/ 240597 w 606933"/>
              <a:gd name="connsiteY6" fmla="*/ 246979 h 606087"/>
              <a:gd name="connsiteX7" fmla="*/ 258411 w 606933"/>
              <a:gd name="connsiteY7" fmla="*/ 264763 h 606087"/>
              <a:gd name="connsiteX8" fmla="*/ 220183 w 606933"/>
              <a:gd name="connsiteY8" fmla="*/ 303021 h 606087"/>
              <a:gd name="connsiteX9" fmla="*/ 258411 w 606933"/>
              <a:gd name="connsiteY9" fmla="*/ 341183 h 606087"/>
              <a:gd name="connsiteX10" fmla="*/ 240597 w 606933"/>
              <a:gd name="connsiteY10" fmla="*/ 358966 h 606087"/>
              <a:gd name="connsiteX11" fmla="*/ 184458 w 606933"/>
              <a:gd name="connsiteY11" fmla="*/ 303021 h 606087"/>
              <a:gd name="connsiteX12" fmla="*/ 318612 w 606933"/>
              <a:gd name="connsiteY12" fmla="*/ 231314 h 606087"/>
              <a:gd name="connsiteX13" fmla="*/ 342313 w 606933"/>
              <a:gd name="connsiteY13" fmla="*/ 239968 h 606087"/>
              <a:gd name="connsiteX14" fmla="*/ 287686 w 606933"/>
              <a:gd name="connsiteY14" fmla="*/ 389875 h 606087"/>
              <a:gd name="connsiteX15" fmla="*/ 263985 w 606933"/>
              <a:gd name="connsiteY15" fmla="*/ 381317 h 606087"/>
              <a:gd name="connsiteX16" fmla="*/ 303467 w 606933"/>
              <a:gd name="connsiteY16" fmla="*/ 138875 h 606087"/>
              <a:gd name="connsiteX17" fmla="*/ 139069 w 606933"/>
              <a:gd name="connsiteY17" fmla="*/ 303044 h 606087"/>
              <a:gd name="connsiteX18" fmla="*/ 303467 w 606933"/>
              <a:gd name="connsiteY18" fmla="*/ 467116 h 606087"/>
              <a:gd name="connsiteX19" fmla="*/ 467768 w 606933"/>
              <a:gd name="connsiteY19" fmla="*/ 303044 h 606087"/>
              <a:gd name="connsiteX20" fmla="*/ 303467 w 606933"/>
              <a:gd name="connsiteY20" fmla="*/ 138875 h 606087"/>
              <a:gd name="connsiteX21" fmla="*/ 254735 w 606933"/>
              <a:gd name="connsiteY21" fmla="*/ 0 h 606087"/>
              <a:gd name="connsiteX22" fmla="*/ 352102 w 606933"/>
              <a:gd name="connsiteY22" fmla="*/ 0 h 606087"/>
              <a:gd name="connsiteX23" fmla="*/ 363852 w 606933"/>
              <a:gd name="connsiteY23" fmla="*/ 70976 h 606087"/>
              <a:gd name="connsiteX24" fmla="*/ 424911 w 606933"/>
              <a:gd name="connsiteY24" fmla="*/ 96174 h 606087"/>
              <a:gd name="connsiteX25" fmla="*/ 483659 w 606933"/>
              <a:gd name="connsiteY25" fmla="*/ 54435 h 606087"/>
              <a:gd name="connsiteX26" fmla="*/ 552423 w 606933"/>
              <a:gd name="connsiteY26" fmla="*/ 123103 h 606087"/>
              <a:gd name="connsiteX27" fmla="*/ 510529 w 606933"/>
              <a:gd name="connsiteY27" fmla="*/ 181672 h 606087"/>
              <a:gd name="connsiteX28" fmla="*/ 535858 w 606933"/>
              <a:gd name="connsiteY28" fmla="*/ 242550 h 606087"/>
              <a:gd name="connsiteX29" fmla="*/ 606933 w 606933"/>
              <a:gd name="connsiteY29" fmla="*/ 254380 h 606087"/>
              <a:gd name="connsiteX30" fmla="*/ 606933 w 606933"/>
              <a:gd name="connsiteY30" fmla="*/ 351515 h 606087"/>
              <a:gd name="connsiteX31" fmla="*/ 535858 w 606933"/>
              <a:gd name="connsiteY31" fmla="*/ 363345 h 606087"/>
              <a:gd name="connsiteX32" fmla="*/ 510529 w 606933"/>
              <a:gd name="connsiteY32" fmla="*/ 424319 h 606087"/>
              <a:gd name="connsiteX33" fmla="*/ 552423 w 606933"/>
              <a:gd name="connsiteY33" fmla="*/ 482985 h 606087"/>
              <a:gd name="connsiteX34" fmla="*/ 483659 w 606933"/>
              <a:gd name="connsiteY34" fmla="*/ 551653 h 606087"/>
              <a:gd name="connsiteX35" fmla="*/ 424911 w 606933"/>
              <a:gd name="connsiteY35" fmla="*/ 509721 h 606087"/>
              <a:gd name="connsiteX36" fmla="*/ 363852 w 606933"/>
              <a:gd name="connsiteY36" fmla="*/ 535111 h 606087"/>
              <a:gd name="connsiteX37" fmla="*/ 352102 w 606933"/>
              <a:gd name="connsiteY37" fmla="*/ 606087 h 606087"/>
              <a:gd name="connsiteX38" fmla="*/ 254735 w 606933"/>
              <a:gd name="connsiteY38" fmla="*/ 606087 h 606087"/>
              <a:gd name="connsiteX39" fmla="*/ 242985 w 606933"/>
              <a:gd name="connsiteY39" fmla="*/ 535111 h 606087"/>
              <a:gd name="connsiteX40" fmla="*/ 181926 w 606933"/>
              <a:gd name="connsiteY40" fmla="*/ 509721 h 606087"/>
              <a:gd name="connsiteX41" fmla="*/ 123274 w 606933"/>
              <a:gd name="connsiteY41" fmla="*/ 551653 h 606087"/>
              <a:gd name="connsiteX42" fmla="*/ 54510 w 606933"/>
              <a:gd name="connsiteY42" fmla="*/ 482985 h 606087"/>
              <a:gd name="connsiteX43" fmla="*/ 96308 w 606933"/>
              <a:gd name="connsiteY43" fmla="*/ 424319 h 606087"/>
              <a:gd name="connsiteX44" fmla="*/ 71075 w 606933"/>
              <a:gd name="connsiteY44" fmla="*/ 363345 h 606087"/>
              <a:gd name="connsiteX45" fmla="*/ 0 w 606933"/>
              <a:gd name="connsiteY45" fmla="*/ 351515 h 606087"/>
              <a:gd name="connsiteX46" fmla="*/ 0 w 606933"/>
              <a:gd name="connsiteY46" fmla="*/ 254380 h 606087"/>
              <a:gd name="connsiteX47" fmla="*/ 71075 w 606933"/>
              <a:gd name="connsiteY47" fmla="*/ 242550 h 606087"/>
              <a:gd name="connsiteX48" fmla="*/ 96308 w 606933"/>
              <a:gd name="connsiteY48" fmla="*/ 181672 h 606087"/>
              <a:gd name="connsiteX49" fmla="*/ 54510 w 606933"/>
              <a:gd name="connsiteY49" fmla="*/ 123103 h 606087"/>
              <a:gd name="connsiteX50" fmla="*/ 123274 w 606933"/>
              <a:gd name="connsiteY50" fmla="*/ 54435 h 606087"/>
              <a:gd name="connsiteX51" fmla="*/ 181926 w 606933"/>
              <a:gd name="connsiteY51" fmla="*/ 96174 h 606087"/>
              <a:gd name="connsiteX52" fmla="*/ 242985 w 606933"/>
              <a:gd name="connsiteY52" fmla="*/ 70976 h 6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606933" h="606087">
                <a:moveTo>
                  <a:pt x="366373" y="246979"/>
                </a:moveTo>
                <a:lnTo>
                  <a:pt x="422546" y="303021"/>
                </a:lnTo>
                <a:lnTo>
                  <a:pt x="366373" y="358966"/>
                </a:lnTo>
                <a:lnTo>
                  <a:pt x="348452" y="341183"/>
                </a:lnTo>
                <a:lnTo>
                  <a:pt x="386703" y="303021"/>
                </a:lnTo>
                <a:lnTo>
                  <a:pt x="348452" y="264763"/>
                </a:lnTo>
                <a:close/>
                <a:moveTo>
                  <a:pt x="240597" y="246979"/>
                </a:moveTo>
                <a:lnTo>
                  <a:pt x="258411" y="264763"/>
                </a:lnTo>
                <a:lnTo>
                  <a:pt x="220183" y="303021"/>
                </a:lnTo>
                <a:lnTo>
                  <a:pt x="258411" y="341183"/>
                </a:lnTo>
                <a:lnTo>
                  <a:pt x="240597" y="358966"/>
                </a:lnTo>
                <a:lnTo>
                  <a:pt x="184458" y="303021"/>
                </a:lnTo>
                <a:close/>
                <a:moveTo>
                  <a:pt x="318612" y="231314"/>
                </a:moveTo>
                <a:lnTo>
                  <a:pt x="342313" y="239968"/>
                </a:lnTo>
                <a:lnTo>
                  <a:pt x="287686" y="389875"/>
                </a:lnTo>
                <a:lnTo>
                  <a:pt x="263985" y="381317"/>
                </a:lnTo>
                <a:close/>
                <a:moveTo>
                  <a:pt x="303467" y="138875"/>
                </a:moveTo>
                <a:cubicBezTo>
                  <a:pt x="212841" y="138875"/>
                  <a:pt x="139069" y="212544"/>
                  <a:pt x="139069" y="303044"/>
                </a:cubicBezTo>
                <a:cubicBezTo>
                  <a:pt x="139069" y="393543"/>
                  <a:pt x="212841" y="467116"/>
                  <a:pt x="303467" y="467116"/>
                </a:cubicBezTo>
                <a:cubicBezTo>
                  <a:pt x="394092" y="467116"/>
                  <a:pt x="467768" y="393543"/>
                  <a:pt x="467768" y="303044"/>
                </a:cubicBezTo>
                <a:cubicBezTo>
                  <a:pt x="467768" y="212544"/>
                  <a:pt x="394092" y="138875"/>
                  <a:pt x="303467" y="138875"/>
                </a:cubicBezTo>
                <a:close/>
                <a:moveTo>
                  <a:pt x="254735" y="0"/>
                </a:moveTo>
                <a:lnTo>
                  <a:pt x="352102" y="0"/>
                </a:lnTo>
                <a:lnTo>
                  <a:pt x="363852" y="70976"/>
                </a:lnTo>
                <a:cubicBezTo>
                  <a:pt x="385232" y="76555"/>
                  <a:pt x="405746" y="85018"/>
                  <a:pt x="424911" y="96174"/>
                </a:cubicBezTo>
                <a:lnTo>
                  <a:pt x="483659" y="54435"/>
                </a:lnTo>
                <a:lnTo>
                  <a:pt x="552423" y="123103"/>
                </a:lnTo>
                <a:lnTo>
                  <a:pt x="510529" y="181672"/>
                </a:lnTo>
                <a:cubicBezTo>
                  <a:pt x="521797" y="200907"/>
                  <a:pt x="530272" y="221200"/>
                  <a:pt x="535858" y="242550"/>
                </a:cubicBezTo>
                <a:lnTo>
                  <a:pt x="606933" y="254380"/>
                </a:lnTo>
                <a:lnTo>
                  <a:pt x="606933" y="351515"/>
                </a:lnTo>
                <a:lnTo>
                  <a:pt x="535858" y="363345"/>
                </a:lnTo>
                <a:cubicBezTo>
                  <a:pt x="530272" y="384695"/>
                  <a:pt x="521797" y="405180"/>
                  <a:pt x="510529" y="424319"/>
                </a:cubicBezTo>
                <a:lnTo>
                  <a:pt x="552423" y="482985"/>
                </a:lnTo>
                <a:lnTo>
                  <a:pt x="483659" y="551653"/>
                </a:lnTo>
                <a:lnTo>
                  <a:pt x="424911" y="509721"/>
                </a:lnTo>
                <a:cubicBezTo>
                  <a:pt x="405746" y="521070"/>
                  <a:pt x="385232" y="529533"/>
                  <a:pt x="363852" y="535111"/>
                </a:cubicBezTo>
                <a:lnTo>
                  <a:pt x="352102" y="606087"/>
                </a:lnTo>
                <a:lnTo>
                  <a:pt x="254735" y="606087"/>
                </a:lnTo>
                <a:lnTo>
                  <a:pt x="242985" y="535111"/>
                </a:lnTo>
                <a:cubicBezTo>
                  <a:pt x="221605" y="529533"/>
                  <a:pt x="201187" y="521070"/>
                  <a:pt x="181926" y="509721"/>
                </a:cubicBezTo>
                <a:lnTo>
                  <a:pt x="123274" y="551653"/>
                </a:lnTo>
                <a:lnTo>
                  <a:pt x="54510" y="482985"/>
                </a:lnTo>
                <a:lnTo>
                  <a:pt x="96308" y="424319"/>
                </a:lnTo>
                <a:cubicBezTo>
                  <a:pt x="85136" y="405180"/>
                  <a:pt x="76661" y="384695"/>
                  <a:pt x="71075" y="363345"/>
                </a:cubicBezTo>
                <a:lnTo>
                  <a:pt x="0" y="351515"/>
                </a:lnTo>
                <a:lnTo>
                  <a:pt x="0" y="254380"/>
                </a:lnTo>
                <a:lnTo>
                  <a:pt x="71075" y="242550"/>
                </a:lnTo>
                <a:cubicBezTo>
                  <a:pt x="76661" y="221200"/>
                  <a:pt x="85136" y="200907"/>
                  <a:pt x="96308" y="181672"/>
                </a:cubicBezTo>
                <a:lnTo>
                  <a:pt x="54510" y="123103"/>
                </a:lnTo>
                <a:lnTo>
                  <a:pt x="123274" y="54435"/>
                </a:lnTo>
                <a:lnTo>
                  <a:pt x="181926" y="96174"/>
                </a:lnTo>
                <a:cubicBezTo>
                  <a:pt x="201187" y="85018"/>
                  <a:pt x="221605" y="76555"/>
                  <a:pt x="242985" y="7097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grpSp>
        <p:nvGrpSpPr>
          <p:cNvPr id="76" name="组合 75">
            <a:extLst>
              <a:ext uri="{FF2B5EF4-FFF2-40B4-BE49-F238E27FC236}">
                <a16:creationId xmlns:a16="http://schemas.microsoft.com/office/drawing/2014/main" id="{B6A6566E-42EE-4013-84B0-56C1C9447A19}"/>
              </a:ext>
            </a:extLst>
          </p:cNvPr>
          <p:cNvGrpSpPr/>
          <p:nvPr/>
        </p:nvGrpSpPr>
        <p:grpSpPr>
          <a:xfrm>
            <a:off x="7553550" y="3076293"/>
            <a:ext cx="2928736" cy="1124513"/>
            <a:chOff x="2982537" y="2663714"/>
            <a:chExt cx="2928736" cy="1124513"/>
          </a:xfrm>
        </p:grpSpPr>
        <p:sp>
          <p:nvSpPr>
            <p:cNvPr id="78" name="矩形 77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 flipH="1">
              <a:off x="2982537" y="3085429"/>
              <a:ext cx="2928736" cy="7027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Copy paste fonts. Choose the only option to retain text.</a:t>
              </a:r>
            </a:p>
            <a:p>
              <a:pPr marL="171450" indent="-1714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79" name="文本框 78">
              <a:extLst>
                <a:ext uri="{FF2B5EF4-FFF2-40B4-BE49-F238E27FC236}">
                  <a16:creationId xmlns:a16="http://schemas.microsoft.com/office/drawing/2014/main" id="{3495B739-E5A7-4F4A-95FD-24BDFE4B18B1}"/>
                </a:ext>
              </a:extLst>
            </p:cNvPr>
            <p:cNvSpPr txBox="1"/>
            <p:nvPr/>
          </p:nvSpPr>
          <p:spPr bwMode="auto">
            <a:xfrm flipH="1">
              <a:off x="2982537" y="2663714"/>
              <a:ext cx="2928736" cy="421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  <a:spcBef>
                  <a:spcPct val="0"/>
                </a:spcBef>
              </a:pPr>
              <a:r>
                <a:rPr lang="en-US" altLang="zh-CN" b="1" dirty="0"/>
                <a:t>Text here</a:t>
              </a:r>
            </a:p>
          </p:txBody>
        </p:sp>
      </p:grpSp>
      <p:sp>
        <p:nvSpPr>
          <p:cNvPr id="77" name="任意多边形: 形状 76">
            <a:extLst>
              <a:ext uri="{FF2B5EF4-FFF2-40B4-BE49-F238E27FC236}">
                <a16:creationId xmlns:a16="http://schemas.microsoft.com/office/drawing/2014/main" id="{2A5A5061-EE4D-40A9-8F9C-05618C927A53}"/>
              </a:ext>
            </a:extLst>
          </p:cNvPr>
          <p:cNvSpPr/>
          <p:nvPr/>
        </p:nvSpPr>
        <p:spPr bwMode="auto">
          <a:xfrm>
            <a:off x="7069361" y="3439853"/>
            <a:ext cx="417514" cy="397392"/>
          </a:xfrm>
          <a:custGeom>
            <a:avLst/>
            <a:gdLst>
              <a:gd name="connsiteX0" fmla="*/ 210706 w 548059"/>
              <a:gd name="connsiteY0" fmla="*/ 208686 h 521647"/>
              <a:gd name="connsiteX1" fmla="*/ 178859 w 548059"/>
              <a:gd name="connsiteY1" fmla="*/ 217443 h 521647"/>
              <a:gd name="connsiteX2" fmla="*/ 136397 w 548059"/>
              <a:gd name="connsiteY2" fmla="*/ 269066 h 521647"/>
              <a:gd name="connsiteX3" fmla="*/ 300708 w 548059"/>
              <a:gd name="connsiteY3" fmla="*/ 322532 h 521647"/>
              <a:gd name="connsiteX4" fmla="*/ 295169 w 548059"/>
              <a:gd name="connsiteY4" fmla="*/ 252473 h 521647"/>
              <a:gd name="connsiteX5" fmla="*/ 245322 w 548059"/>
              <a:gd name="connsiteY5" fmla="*/ 213756 h 521647"/>
              <a:gd name="connsiteX6" fmla="*/ 210706 w 548059"/>
              <a:gd name="connsiteY6" fmla="*/ 208686 h 521647"/>
              <a:gd name="connsiteX7" fmla="*/ 181629 w 548059"/>
              <a:gd name="connsiteY7" fmla="*/ 129408 h 521647"/>
              <a:gd name="connsiteX8" fmla="*/ 260091 w 548059"/>
              <a:gd name="connsiteY8" fmla="*/ 141853 h 521647"/>
              <a:gd name="connsiteX9" fmla="*/ 391171 w 548059"/>
              <a:gd name="connsiteY9" fmla="*/ 239567 h 521647"/>
              <a:gd name="connsiteX10" fmla="*/ 391171 w 548059"/>
              <a:gd name="connsiteY10" fmla="*/ 412871 h 521647"/>
              <a:gd name="connsiteX11" fmla="*/ 116089 w 548059"/>
              <a:gd name="connsiteY11" fmla="*/ 324376 h 521647"/>
              <a:gd name="connsiteX12" fmla="*/ 121628 w 548059"/>
              <a:gd name="connsiteY12" fmla="*/ 396278 h 521647"/>
              <a:gd name="connsiteX13" fmla="*/ 178859 w 548059"/>
              <a:gd name="connsiteY13" fmla="*/ 438683 h 521647"/>
              <a:gd name="connsiteX14" fmla="*/ 322862 w 548059"/>
              <a:gd name="connsiteY14" fmla="*/ 444214 h 521647"/>
              <a:gd name="connsiteX15" fmla="*/ 369016 w 548059"/>
              <a:gd name="connsiteY15" fmla="*/ 462650 h 521647"/>
              <a:gd name="connsiteX16" fmla="*/ 276707 w 548059"/>
              <a:gd name="connsiteY16" fmla="*/ 517960 h 521647"/>
              <a:gd name="connsiteX17" fmla="*/ 154859 w 548059"/>
              <a:gd name="connsiteY17" fmla="*/ 506898 h 521647"/>
              <a:gd name="connsiteX18" fmla="*/ 12703 w 548059"/>
              <a:gd name="connsiteY18" fmla="*/ 396278 h 521647"/>
              <a:gd name="connsiteX19" fmla="*/ 10856 w 548059"/>
              <a:gd name="connsiteY19" fmla="*/ 263535 h 521647"/>
              <a:gd name="connsiteX20" fmla="*/ 108704 w 548059"/>
              <a:gd name="connsiteY20" fmla="*/ 147384 h 521647"/>
              <a:gd name="connsiteX21" fmla="*/ 181629 w 548059"/>
              <a:gd name="connsiteY21" fmla="*/ 129408 h 521647"/>
              <a:gd name="connsiteX22" fmla="*/ 437088 w 548059"/>
              <a:gd name="connsiteY22" fmla="*/ 31543 h 521647"/>
              <a:gd name="connsiteX23" fmla="*/ 548059 w 548059"/>
              <a:gd name="connsiteY23" fmla="*/ 51446 h 521647"/>
              <a:gd name="connsiteX24" fmla="*/ 296786 w 548059"/>
              <a:gd name="connsiteY24" fmla="*/ 138088 h 521647"/>
              <a:gd name="connsiteX25" fmla="*/ 437088 w 548059"/>
              <a:gd name="connsiteY25" fmla="*/ 31543 h 521647"/>
              <a:gd name="connsiteX26" fmla="*/ 191719 w 548059"/>
              <a:gd name="connsiteY26" fmla="*/ 0 h 521647"/>
              <a:gd name="connsiteX27" fmla="*/ 283908 w 548059"/>
              <a:gd name="connsiteY27" fmla="*/ 121511 h 521647"/>
              <a:gd name="connsiteX28" fmla="*/ 191719 w 548059"/>
              <a:gd name="connsiteY28" fmla="*/ 0 h 52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48059" h="521647">
                <a:moveTo>
                  <a:pt x="210706" y="208686"/>
                </a:moveTo>
                <a:cubicBezTo>
                  <a:pt x="199629" y="209146"/>
                  <a:pt x="189013" y="211912"/>
                  <a:pt x="178859" y="217443"/>
                </a:cubicBezTo>
                <a:cubicBezTo>
                  <a:pt x="158551" y="226661"/>
                  <a:pt x="143782" y="243254"/>
                  <a:pt x="136397" y="269066"/>
                </a:cubicBezTo>
                <a:lnTo>
                  <a:pt x="300708" y="322532"/>
                </a:lnTo>
                <a:cubicBezTo>
                  <a:pt x="308092" y="294877"/>
                  <a:pt x="306246" y="272753"/>
                  <a:pt x="295169" y="252473"/>
                </a:cubicBezTo>
                <a:cubicBezTo>
                  <a:pt x="284092" y="234036"/>
                  <a:pt x="267476" y="221130"/>
                  <a:pt x="245322" y="213756"/>
                </a:cubicBezTo>
                <a:cubicBezTo>
                  <a:pt x="233322" y="210068"/>
                  <a:pt x="221783" y="208225"/>
                  <a:pt x="210706" y="208686"/>
                </a:cubicBezTo>
                <a:close/>
                <a:moveTo>
                  <a:pt x="181629" y="129408"/>
                </a:moveTo>
                <a:cubicBezTo>
                  <a:pt x="207014" y="128486"/>
                  <a:pt x="233322" y="132634"/>
                  <a:pt x="260091" y="141853"/>
                </a:cubicBezTo>
                <a:cubicBezTo>
                  <a:pt x="322862" y="162133"/>
                  <a:pt x="365324" y="195319"/>
                  <a:pt x="391171" y="239567"/>
                </a:cubicBezTo>
                <a:cubicBezTo>
                  <a:pt x="415171" y="285659"/>
                  <a:pt x="415171" y="342812"/>
                  <a:pt x="391171" y="412871"/>
                </a:cubicBezTo>
                <a:lnTo>
                  <a:pt x="116089" y="324376"/>
                </a:lnTo>
                <a:cubicBezTo>
                  <a:pt x="108704" y="352031"/>
                  <a:pt x="110550" y="375998"/>
                  <a:pt x="121628" y="396278"/>
                </a:cubicBezTo>
                <a:cubicBezTo>
                  <a:pt x="134551" y="416559"/>
                  <a:pt x="136397" y="422090"/>
                  <a:pt x="178859" y="438683"/>
                </a:cubicBezTo>
                <a:cubicBezTo>
                  <a:pt x="195475" y="446057"/>
                  <a:pt x="258245" y="475556"/>
                  <a:pt x="322862" y="444214"/>
                </a:cubicBezTo>
                <a:lnTo>
                  <a:pt x="369016" y="462650"/>
                </a:lnTo>
                <a:cubicBezTo>
                  <a:pt x="343170" y="492149"/>
                  <a:pt x="313631" y="510586"/>
                  <a:pt x="276707" y="517960"/>
                </a:cubicBezTo>
                <a:cubicBezTo>
                  <a:pt x="241630" y="525335"/>
                  <a:pt x="201014" y="521648"/>
                  <a:pt x="154859" y="506898"/>
                </a:cubicBezTo>
                <a:cubicBezTo>
                  <a:pt x="82858" y="484774"/>
                  <a:pt x="34857" y="446057"/>
                  <a:pt x="12703" y="396278"/>
                </a:cubicBezTo>
                <a:cubicBezTo>
                  <a:pt x="-3913" y="355718"/>
                  <a:pt x="-3913" y="311470"/>
                  <a:pt x="10856" y="263535"/>
                </a:cubicBezTo>
                <a:cubicBezTo>
                  <a:pt x="29318" y="206381"/>
                  <a:pt x="62550" y="167664"/>
                  <a:pt x="108704" y="147384"/>
                </a:cubicBezTo>
                <a:cubicBezTo>
                  <a:pt x="131782" y="136322"/>
                  <a:pt x="156244" y="130330"/>
                  <a:pt x="181629" y="129408"/>
                </a:cubicBezTo>
                <a:close/>
                <a:moveTo>
                  <a:pt x="437088" y="31543"/>
                </a:moveTo>
                <a:cubicBezTo>
                  <a:pt x="468612" y="27136"/>
                  <a:pt x="505564" y="31630"/>
                  <a:pt x="548059" y="51446"/>
                </a:cubicBezTo>
                <a:cubicBezTo>
                  <a:pt x="548059" y="51446"/>
                  <a:pt x="450136" y="165739"/>
                  <a:pt x="296786" y="138088"/>
                </a:cubicBezTo>
                <a:cubicBezTo>
                  <a:pt x="296786" y="138088"/>
                  <a:pt x="342514" y="44764"/>
                  <a:pt x="437088" y="31543"/>
                </a:cubicBezTo>
                <a:close/>
                <a:moveTo>
                  <a:pt x="191719" y="0"/>
                </a:moveTo>
                <a:cubicBezTo>
                  <a:pt x="328158" y="20252"/>
                  <a:pt x="283908" y="121511"/>
                  <a:pt x="283908" y="121511"/>
                </a:cubicBezTo>
                <a:cubicBezTo>
                  <a:pt x="197250" y="125193"/>
                  <a:pt x="191719" y="0"/>
                  <a:pt x="191719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defTabSz="457200"/>
            <a:endParaRPr lang="zh-CN" altLang="en-US" sz="1400"/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 flipH="1">
            <a:off x="3458007" y="4953000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1</a:t>
            </a:r>
          </a:p>
        </p:txBody>
      </p:sp>
      <p:sp>
        <p:nvSpPr>
          <p:cNvPr id="67" name="文本框 66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 flipH="1">
            <a:off x="1552915" y="4953000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2</a:t>
            </a:r>
          </a:p>
        </p:txBody>
      </p:sp>
      <p:sp>
        <p:nvSpPr>
          <p:cNvPr id="68" name="文本框 67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 flipH="1">
            <a:off x="1552915" y="1880088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3</a:t>
            </a:r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 flipH="1">
            <a:off x="3458007" y="1880088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4</a:t>
            </a:r>
          </a:p>
        </p:txBody>
      </p:sp>
      <p:sp>
        <p:nvSpPr>
          <p:cNvPr id="70" name="文本框 69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 rot="2820000" flipH="1">
            <a:off x="4880419" y="2679725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5</a:t>
            </a:r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 rot="2820000" flipH="1">
            <a:off x="6391932" y="4301835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6</a:t>
            </a:r>
          </a:p>
        </p:txBody>
      </p:sp>
      <p:sp>
        <p:nvSpPr>
          <p:cNvPr id="72" name="文本框 71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 flipH="1">
            <a:off x="9585001" y="4953000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8</a:t>
            </a:r>
          </a:p>
        </p:txBody>
      </p:sp>
      <p:sp>
        <p:nvSpPr>
          <p:cNvPr id="73" name="文本框 72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 flipH="1">
            <a:off x="7679909" y="4953000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7</a:t>
            </a:r>
          </a:p>
        </p:txBody>
      </p:sp>
      <p:sp>
        <p:nvSpPr>
          <p:cNvPr id="74" name="文本框 73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 flipH="1">
            <a:off x="7679909" y="1880088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10</a:t>
            </a:r>
          </a:p>
        </p:txBody>
      </p:sp>
      <p:sp>
        <p:nvSpPr>
          <p:cNvPr id="75" name="文本框 74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 flipH="1">
            <a:off x="9585001" y="1880088"/>
            <a:ext cx="1066075" cy="43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09</a:t>
            </a:r>
          </a:p>
        </p:txBody>
      </p:sp>
    </p:spTree>
    <p:extLst>
      <p:ext uri="{BB962C8B-B14F-4D97-AF65-F5344CB8AC3E}">
        <p14:creationId xmlns:p14="http://schemas.microsoft.com/office/powerpoint/2010/main" val="37926714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/>
              <a:t>Supporting text here.</a:t>
            </a:r>
          </a:p>
          <a:p>
            <a:pPr lvl="0"/>
            <a:r>
              <a:rPr lang="en-US" altLang="zh-CN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683554" y="2759231"/>
            <a:ext cx="97032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3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72544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3AED464-CC42-4C74-9F0F-97DF11897A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4B8481F8-47F9-4104-9C09-43A771ED91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 </a:t>
            </a:r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75C489F-5C93-484D-8F3A-32DF49AAD5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6</a:t>
            </a:fld>
            <a:endParaRPr lang="zh-CN" altLang="en-US"/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219CD4D9-624B-41F0-80EE-77CFCD374D29}"/>
              </a:ext>
            </a:extLst>
          </p:cNvPr>
          <p:cNvSpPr/>
          <p:nvPr/>
        </p:nvSpPr>
        <p:spPr bwMode="auto">
          <a:xfrm>
            <a:off x="5291931" y="1931987"/>
            <a:ext cx="1701800" cy="1727200"/>
          </a:xfrm>
          <a:custGeom>
            <a:avLst/>
            <a:gdLst>
              <a:gd name="T0" fmla="*/ 415 w 453"/>
              <a:gd name="T1" fmla="*/ 229 h 459"/>
              <a:gd name="T2" fmla="*/ 444 w 453"/>
              <a:gd name="T3" fmla="*/ 195 h 459"/>
              <a:gd name="T4" fmla="*/ 449 w 453"/>
              <a:gd name="T5" fmla="*/ 174 h 459"/>
              <a:gd name="T6" fmla="*/ 432 w 453"/>
              <a:gd name="T7" fmla="*/ 165 h 459"/>
              <a:gd name="T8" fmla="*/ 398 w 453"/>
              <a:gd name="T9" fmla="*/ 151 h 459"/>
              <a:gd name="T10" fmla="*/ 387 w 453"/>
              <a:gd name="T11" fmla="*/ 131 h 459"/>
              <a:gd name="T12" fmla="*/ 406 w 453"/>
              <a:gd name="T13" fmla="*/ 86 h 459"/>
              <a:gd name="T14" fmla="*/ 388 w 453"/>
              <a:gd name="T15" fmla="*/ 81 h 459"/>
              <a:gd name="T16" fmla="*/ 345 w 453"/>
              <a:gd name="T17" fmla="*/ 83 h 459"/>
              <a:gd name="T18" fmla="*/ 331 w 453"/>
              <a:gd name="T19" fmla="*/ 61 h 459"/>
              <a:gd name="T20" fmla="*/ 334 w 453"/>
              <a:gd name="T21" fmla="*/ 26 h 459"/>
              <a:gd name="T22" fmla="*/ 308 w 453"/>
              <a:gd name="T23" fmla="*/ 25 h 459"/>
              <a:gd name="T24" fmla="*/ 276 w 453"/>
              <a:gd name="T25" fmla="*/ 48 h 459"/>
              <a:gd name="T26" fmla="*/ 255 w 453"/>
              <a:gd name="T27" fmla="*/ 43 h 459"/>
              <a:gd name="T28" fmla="*/ 238 w 453"/>
              <a:gd name="T29" fmla="*/ 0 h 459"/>
              <a:gd name="T30" fmla="*/ 214 w 453"/>
              <a:gd name="T31" fmla="*/ 0 h 459"/>
              <a:gd name="T32" fmla="*/ 188 w 453"/>
              <a:gd name="T33" fmla="*/ 45 h 459"/>
              <a:gd name="T34" fmla="*/ 172 w 453"/>
              <a:gd name="T35" fmla="*/ 49 h 459"/>
              <a:gd name="T36" fmla="*/ 138 w 453"/>
              <a:gd name="T37" fmla="*/ 17 h 459"/>
              <a:gd name="T38" fmla="*/ 117 w 453"/>
              <a:gd name="T39" fmla="*/ 28 h 459"/>
              <a:gd name="T40" fmla="*/ 125 w 453"/>
              <a:gd name="T41" fmla="*/ 71 h 459"/>
              <a:gd name="T42" fmla="*/ 106 w 453"/>
              <a:gd name="T43" fmla="*/ 84 h 459"/>
              <a:gd name="T44" fmla="*/ 57 w 453"/>
              <a:gd name="T45" fmla="*/ 78 h 459"/>
              <a:gd name="T46" fmla="*/ 42 w 453"/>
              <a:gd name="T47" fmla="*/ 93 h 459"/>
              <a:gd name="T48" fmla="*/ 64 w 453"/>
              <a:gd name="T49" fmla="*/ 133 h 459"/>
              <a:gd name="T50" fmla="*/ 51 w 453"/>
              <a:gd name="T51" fmla="*/ 160 h 459"/>
              <a:gd name="T52" fmla="*/ 16 w 453"/>
              <a:gd name="T53" fmla="*/ 166 h 459"/>
              <a:gd name="T54" fmla="*/ 3 w 453"/>
              <a:gd name="T55" fmla="*/ 178 h 459"/>
              <a:gd name="T56" fmla="*/ 30 w 453"/>
              <a:gd name="T57" fmla="*/ 206 h 459"/>
              <a:gd name="T58" fmla="*/ 38 w 453"/>
              <a:gd name="T59" fmla="*/ 233 h 459"/>
              <a:gd name="T60" fmla="*/ 0 w 453"/>
              <a:gd name="T61" fmla="*/ 268 h 459"/>
              <a:gd name="T62" fmla="*/ 4 w 453"/>
              <a:gd name="T63" fmla="*/ 287 h 459"/>
              <a:gd name="T64" fmla="*/ 27 w 453"/>
              <a:gd name="T65" fmla="*/ 293 h 459"/>
              <a:gd name="T66" fmla="*/ 57 w 453"/>
              <a:gd name="T67" fmla="*/ 311 h 459"/>
              <a:gd name="T68" fmla="*/ 59 w 453"/>
              <a:gd name="T69" fmla="*/ 336 h 459"/>
              <a:gd name="T70" fmla="*/ 50 w 453"/>
              <a:gd name="T71" fmla="*/ 376 h 459"/>
              <a:gd name="T72" fmla="*/ 85 w 453"/>
              <a:gd name="T73" fmla="*/ 369 h 459"/>
              <a:gd name="T74" fmla="*/ 109 w 453"/>
              <a:gd name="T75" fmla="*/ 377 h 459"/>
              <a:gd name="T76" fmla="*/ 120 w 453"/>
              <a:gd name="T77" fmla="*/ 410 h 459"/>
              <a:gd name="T78" fmla="*/ 127 w 453"/>
              <a:gd name="T79" fmla="*/ 436 h 459"/>
              <a:gd name="T80" fmla="*/ 152 w 453"/>
              <a:gd name="T81" fmla="*/ 426 h 459"/>
              <a:gd name="T82" fmla="*/ 179 w 453"/>
              <a:gd name="T83" fmla="*/ 412 h 459"/>
              <a:gd name="T84" fmla="*/ 204 w 453"/>
              <a:gd name="T85" fmla="*/ 416 h 459"/>
              <a:gd name="T86" fmla="*/ 218 w 453"/>
              <a:gd name="T87" fmla="*/ 459 h 459"/>
              <a:gd name="T88" fmla="*/ 242 w 453"/>
              <a:gd name="T89" fmla="*/ 449 h 459"/>
              <a:gd name="T90" fmla="*/ 268 w 453"/>
              <a:gd name="T91" fmla="*/ 413 h 459"/>
              <a:gd name="T92" fmla="*/ 287 w 453"/>
              <a:gd name="T93" fmla="*/ 408 h 459"/>
              <a:gd name="T94" fmla="*/ 316 w 453"/>
              <a:gd name="T95" fmla="*/ 441 h 459"/>
              <a:gd name="T96" fmla="*/ 337 w 453"/>
              <a:gd name="T97" fmla="*/ 431 h 459"/>
              <a:gd name="T98" fmla="*/ 333 w 453"/>
              <a:gd name="T99" fmla="*/ 385 h 459"/>
              <a:gd name="T100" fmla="*/ 354 w 453"/>
              <a:gd name="T101" fmla="*/ 368 h 459"/>
              <a:gd name="T102" fmla="*/ 398 w 453"/>
              <a:gd name="T103" fmla="*/ 382 h 459"/>
              <a:gd name="T104" fmla="*/ 413 w 453"/>
              <a:gd name="T105" fmla="*/ 363 h 459"/>
              <a:gd name="T106" fmla="*/ 390 w 453"/>
              <a:gd name="T107" fmla="*/ 323 h 459"/>
              <a:gd name="T108" fmla="*/ 404 w 453"/>
              <a:gd name="T109" fmla="*/ 293 h 459"/>
              <a:gd name="T110" fmla="*/ 447 w 453"/>
              <a:gd name="T111" fmla="*/ 292 h 459"/>
              <a:gd name="T112" fmla="*/ 451 w 453"/>
              <a:gd name="T113" fmla="*/ 276 h 459"/>
              <a:gd name="T114" fmla="*/ 226 w 453"/>
              <a:gd name="T115" fmla="*/ 368 h 4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53" h="459">
                <a:moveTo>
                  <a:pt x="423" y="253"/>
                </a:moveTo>
                <a:cubicBezTo>
                  <a:pt x="420" y="252"/>
                  <a:pt x="417" y="250"/>
                  <a:pt x="414" y="249"/>
                </a:cubicBezTo>
                <a:cubicBezTo>
                  <a:pt x="414" y="247"/>
                  <a:pt x="414" y="245"/>
                  <a:pt x="414" y="243"/>
                </a:cubicBezTo>
                <a:cubicBezTo>
                  <a:pt x="415" y="239"/>
                  <a:pt x="415" y="235"/>
                  <a:pt x="415" y="233"/>
                </a:cubicBezTo>
                <a:cubicBezTo>
                  <a:pt x="415" y="231"/>
                  <a:pt x="415" y="229"/>
                  <a:pt x="415" y="229"/>
                </a:cubicBezTo>
                <a:cubicBezTo>
                  <a:pt x="415" y="229"/>
                  <a:pt x="415" y="228"/>
                  <a:pt x="415" y="226"/>
                </a:cubicBezTo>
                <a:cubicBezTo>
                  <a:pt x="415" y="223"/>
                  <a:pt x="415" y="220"/>
                  <a:pt x="414" y="216"/>
                </a:cubicBezTo>
                <a:cubicBezTo>
                  <a:pt x="414" y="214"/>
                  <a:pt x="414" y="212"/>
                  <a:pt x="414" y="210"/>
                </a:cubicBezTo>
                <a:cubicBezTo>
                  <a:pt x="417" y="209"/>
                  <a:pt x="420" y="207"/>
                  <a:pt x="423" y="206"/>
                </a:cubicBezTo>
                <a:cubicBezTo>
                  <a:pt x="431" y="202"/>
                  <a:pt x="438" y="198"/>
                  <a:pt x="444" y="195"/>
                </a:cubicBezTo>
                <a:cubicBezTo>
                  <a:pt x="449" y="192"/>
                  <a:pt x="453" y="190"/>
                  <a:pt x="453" y="190"/>
                </a:cubicBezTo>
                <a:cubicBezTo>
                  <a:pt x="453" y="190"/>
                  <a:pt x="452" y="189"/>
                  <a:pt x="452" y="187"/>
                </a:cubicBezTo>
                <a:cubicBezTo>
                  <a:pt x="452" y="185"/>
                  <a:pt x="452" y="184"/>
                  <a:pt x="451" y="183"/>
                </a:cubicBezTo>
                <a:cubicBezTo>
                  <a:pt x="451" y="181"/>
                  <a:pt x="451" y="180"/>
                  <a:pt x="450" y="178"/>
                </a:cubicBezTo>
                <a:cubicBezTo>
                  <a:pt x="450" y="177"/>
                  <a:pt x="450" y="175"/>
                  <a:pt x="449" y="174"/>
                </a:cubicBezTo>
                <a:cubicBezTo>
                  <a:pt x="449" y="173"/>
                  <a:pt x="449" y="173"/>
                  <a:pt x="449" y="172"/>
                </a:cubicBezTo>
                <a:cubicBezTo>
                  <a:pt x="449" y="171"/>
                  <a:pt x="448" y="171"/>
                  <a:pt x="448" y="170"/>
                </a:cubicBezTo>
                <a:cubicBezTo>
                  <a:pt x="448" y="168"/>
                  <a:pt x="447" y="166"/>
                  <a:pt x="447" y="166"/>
                </a:cubicBezTo>
                <a:cubicBezTo>
                  <a:pt x="447" y="166"/>
                  <a:pt x="443" y="166"/>
                  <a:pt x="437" y="166"/>
                </a:cubicBezTo>
                <a:cubicBezTo>
                  <a:pt x="435" y="166"/>
                  <a:pt x="434" y="166"/>
                  <a:pt x="432" y="165"/>
                </a:cubicBezTo>
                <a:cubicBezTo>
                  <a:pt x="430" y="165"/>
                  <a:pt x="428" y="165"/>
                  <a:pt x="426" y="165"/>
                </a:cubicBezTo>
                <a:cubicBezTo>
                  <a:pt x="422" y="165"/>
                  <a:pt x="418" y="165"/>
                  <a:pt x="414" y="165"/>
                </a:cubicBezTo>
                <a:cubicBezTo>
                  <a:pt x="411" y="165"/>
                  <a:pt x="407" y="165"/>
                  <a:pt x="404" y="166"/>
                </a:cubicBezTo>
                <a:cubicBezTo>
                  <a:pt x="403" y="163"/>
                  <a:pt x="402" y="162"/>
                  <a:pt x="402" y="160"/>
                </a:cubicBezTo>
                <a:cubicBezTo>
                  <a:pt x="400" y="156"/>
                  <a:pt x="399" y="153"/>
                  <a:pt x="398" y="151"/>
                </a:cubicBezTo>
                <a:cubicBezTo>
                  <a:pt x="397" y="149"/>
                  <a:pt x="396" y="148"/>
                  <a:pt x="396" y="148"/>
                </a:cubicBezTo>
                <a:cubicBezTo>
                  <a:pt x="396" y="148"/>
                  <a:pt x="396" y="146"/>
                  <a:pt x="395" y="144"/>
                </a:cubicBezTo>
                <a:cubicBezTo>
                  <a:pt x="394" y="142"/>
                  <a:pt x="392" y="139"/>
                  <a:pt x="390" y="136"/>
                </a:cubicBezTo>
                <a:cubicBezTo>
                  <a:pt x="390" y="135"/>
                  <a:pt x="389" y="134"/>
                  <a:pt x="389" y="133"/>
                </a:cubicBezTo>
                <a:cubicBezTo>
                  <a:pt x="388" y="132"/>
                  <a:pt x="387" y="131"/>
                  <a:pt x="387" y="131"/>
                </a:cubicBezTo>
                <a:cubicBezTo>
                  <a:pt x="389" y="128"/>
                  <a:pt x="391" y="125"/>
                  <a:pt x="394" y="123"/>
                </a:cubicBezTo>
                <a:cubicBezTo>
                  <a:pt x="399" y="116"/>
                  <a:pt x="404" y="110"/>
                  <a:pt x="407" y="105"/>
                </a:cubicBezTo>
                <a:cubicBezTo>
                  <a:pt x="411" y="99"/>
                  <a:pt x="413" y="96"/>
                  <a:pt x="413" y="96"/>
                </a:cubicBezTo>
                <a:cubicBezTo>
                  <a:pt x="413" y="96"/>
                  <a:pt x="412" y="95"/>
                  <a:pt x="411" y="93"/>
                </a:cubicBezTo>
                <a:cubicBezTo>
                  <a:pt x="410" y="91"/>
                  <a:pt x="408" y="89"/>
                  <a:pt x="406" y="86"/>
                </a:cubicBezTo>
                <a:cubicBezTo>
                  <a:pt x="405" y="85"/>
                  <a:pt x="404" y="84"/>
                  <a:pt x="403" y="83"/>
                </a:cubicBezTo>
                <a:cubicBezTo>
                  <a:pt x="402" y="82"/>
                  <a:pt x="401" y="81"/>
                  <a:pt x="401" y="80"/>
                </a:cubicBezTo>
                <a:cubicBezTo>
                  <a:pt x="399" y="78"/>
                  <a:pt x="398" y="77"/>
                  <a:pt x="398" y="77"/>
                </a:cubicBezTo>
                <a:cubicBezTo>
                  <a:pt x="398" y="77"/>
                  <a:pt x="397" y="77"/>
                  <a:pt x="395" y="78"/>
                </a:cubicBezTo>
                <a:cubicBezTo>
                  <a:pt x="394" y="79"/>
                  <a:pt x="391" y="79"/>
                  <a:pt x="388" y="81"/>
                </a:cubicBezTo>
                <a:cubicBezTo>
                  <a:pt x="383" y="83"/>
                  <a:pt x="375" y="87"/>
                  <a:pt x="368" y="90"/>
                </a:cubicBezTo>
                <a:cubicBezTo>
                  <a:pt x="365" y="92"/>
                  <a:pt x="361" y="93"/>
                  <a:pt x="359" y="95"/>
                </a:cubicBezTo>
                <a:cubicBezTo>
                  <a:pt x="357" y="93"/>
                  <a:pt x="355" y="92"/>
                  <a:pt x="354" y="91"/>
                </a:cubicBezTo>
                <a:cubicBezTo>
                  <a:pt x="351" y="88"/>
                  <a:pt x="348" y="86"/>
                  <a:pt x="347" y="84"/>
                </a:cubicBezTo>
                <a:cubicBezTo>
                  <a:pt x="346" y="84"/>
                  <a:pt x="345" y="83"/>
                  <a:pt x="345" y="83"/>
                </a:cubicBezTo>
                <a:cubicBezTo>
                  <a:pt x="344" y="82"/>
                  <a:pt x="344" y="82"/>
                  <a:pt x="344" y="82"/>
                </a:cubicBezTo>
                <a:cubicBezTo>
                  <a:pt x="344" y="82"/>
                  <a:pt x="343" y="81"/>
                  <a:pt x="341" y="80"/>
                </a:cubicBezTo>
                <a:cubicBezTo>
                  <a:pt x="339" y="78"/>
                  <a:pt x="337" y="77"/>
                  <a:pt x="333" y="74"/>
                </a:cubicBezTo>
                <a:cubicBezTo>
                  <a:pt x="332" y="73"/>
                  <a:pt x="330" y="72"/>
                  <a:pt x="328" y="71"/>
                </a:cubicBezTo>
                <a:cubicBezTo>
                  <a:pt x="329" y="67"/>
                  <a:pt x="330" y="64"/>
                  <a:pt x="331" y="61"/>
                </a:cubicBezTo>
                <a:cubicBezTo>
                  <a:pt x="332" y="57"/>
                  <a:pt x="333" y="53"/>
                  <a:pt x="333" y="49"/>
                </a:cubicBezTo>
                <a:cubicBezTo>
                  <a:pt x="334" y="45"/>
                  <a:pt x="335" y="41"/>
                  <a:pt x="335" y="38"/>
                </a:cubicBezTo>
                <a:cubicBezTo>
                  <a:pt x="336" y="32"/>
                  <a:pt x="337" y="28"/>
                  <a:pt x="337" y="28"/>
                </a:cubicBezTo>
                <a:cubicBezTo>
                  <a:pt x="337" y="28"/>
                  <a:pt x="337" y="28"/>
                  <a:pt x="336" y="28"/>
                </a:cubicBezTo>
                <a:cubicBezTo>
                  <a:pt x="335" y="27"/>
                  <a:pt x="335" y="27"/>
                  <a:pt x="334" y="26"/>
                </a:cubicBezTo>
                <a:cubicBezTo>
                  <a:pt x="332" y="25"/>
                  <a:pt x="329" y="24"/>
                  <a:pt x="326" y="22"/>
                </a:cubicBezTo>
                <a:cubicBezTo>
                  <a:pt x="323" y="21"/>
                  <a:pt x="321" y="20"/>
                  <a:pt x="318" y="19"/>
                </a:cubicBezTo>
                <a:cubicBezTo>
                  <a:pt x="317" y="18"/>
                  <a:pt x="317" y="18"/>
                  <a:pt x="316" y="18"/>
                </a:cubicBezTo>
                <a:cubicBezTo>
                  <a:pt x="315" y="18"/>
                  <a:pt x="315" y="17"/>
                  <a:pt x="315" y="17"/>
                </a:cubicBezTo>
                <a:cubicBezTo>
                  <a:pt x="315" y="17"/>
                  <a:pt x="312" y="20"/>
                  <a:pt x="308" y="25"/>
                </a:cubicBezTo>
                <a:cubicBezTo>
                  <a:pt x="306" y="28"/>
                  <a:pt x="303" y="30"/>
                  <a:pt x="301" y="33"/>
                </a:cubicBezTo>
                <a:cubicBezTo>
                  <a:pt x="298" y="36"/>
                  <a:pt x="296" y="39"/>
                  <a:pt x="293" y="43"/>
                </a:cubicBezTo>
                <a:cubicBezTo>
                  <a:pt x="291" y="45"/>
                  <a:pt x="289" y="48"/>
                  <a:pt x="287" y="51"/>
                </a:cubicBezTo>
                <a:cubicBezTo>
                  <a:pt x="285" y="50"/>
                  <a:pt x="283" y="50"/>
                  <a:pt x="281" y="49"/>
                </a:cubicBezTo>
                <a:cubicBezTo>
                  <a:pt x="279" y="48"/>
                  <a:pt x="277" y="48"/>
                  <a:pt x="276" y="48"/>
                </a:cubicBezTo>
                <a:cubicBezTo>
                  <a:pt x="275" y="47"/>
                  <a:pt x="274" y="47"/>
                  <a:pt x="274" y="47"/>
                </a:cubicBezTo>
                <a:cubicBezTo>
                  <a:pt x="273" y="47"/>
                  <a:pt x="272" y="47"/>
                  <a:pt x="272" y="47"/>
                </a:cubicBezTo>
                <a:cubicBezTo>
                  <a:pt x="270" y="46"/>
                  <a:pt x="268" y="46"/>
                  <a:pt x="268" y="46"/>
                </a:cubicBezTo>
                <a:cubicBezTo>
                  <a:pt x="268" y="46"/>
                  <a:pt x="267" y="45"/>
                  <a:pt x="265" y="45"/>
                </a:cubicBezTo>
                <a:cubicBezTo>
                  <a:pt x="263" y="44"/>
                  <a:pt x="259" y="44"/>
                  <a:pt x="255" y="43"/>
                </a:cubicBezTo>
                <a:cubicBezTo>
                  <a:pt x="253" y="43"/>
                  <a:pt x="251" y="43"/>
                  <a:pt x="249" y="42"/>
                </a:cubicBezTo>
                <a:cubicBezTo>
                  <a:pt x="249" y="39"/>
                  <a:pt x="248" y="36"/>
                  <a:pt x="247" y="32"/>
                </a:cubicBezTo>
                <a:cubicBezTo>
                  <a:pt x="245" y="24"/>
                  <a:pt x="243" y="16"/>
                  <a:pt x="242" y="10"/>
                </a:cubicBezTo>
                <a:cubicBezTo>
                  <a:pt x="240" y="4"/>
                  <a:pt x="239" y="0"/>
                  <a:pt x="239" y="0"/>
                </a:cubicBezTo>
                <a:cubicBezTo>
                  <a:pt x="239" y="0"/>
                  <a:pt x="238" y="0"/>
                  <a:pt x="238" y="0"/>
                </a:cubicBezTo>
                <a:cubicBezTo>
                  <a:pt x="237" y="0"/>
                  <a:pt x="236" y="0"/>
                  <a:pt x="235" y="0"/>
                </a:cubicBezTo>
                <a:cubicBezTo>
                  <a:pt x="233" y="0"/>
                  <a:pt x="229" y="0"/>
                  <a:pt x="226" y="0"/>
                </a:cubicBezTo>
                <a:cubicBezTo>
                  <a:pt x="223" y="0"/>
                  <a:pt x="220" y="0"/>
                  <a:pt x="218" y="0"/>
                </a:cubicBezTo>
                <a:cubicBezTo>
                  <a:pt x="217" y="0"/>
                  <a:pt x="216" y="0"/>
                  <a:pt x="215" y="0"/>
                </a:cubicBezTo>
                <a:cubicBezTo>
                  <a:pt x="215" y="0"/>
                  <a:pt x="214" y="0"/>
                  <a:pt x="214" y="0"/>
                </a:cubicBezTo>
                <a:cubicBezTo>
                  <a:pt x="214" y="0"/>
                  <a:pt x="213" y="4"/>
                  <a:pt x="211" y="10"/>
                </a:cubicBezTo>
                <a:cubicBezTo>
                  <a:pt x="210" y="16"/>
                  <a:pt x="207" y="24"/>
                  <a:pt x="206" y="32"/>
                </a:cubicBezTo>
                <a:cubicBezTo>
                  <a:pt x="205" y="36"/>
                  <a:pt x="204" y="39"/>
                  <a:pt x="204" y="42"/>
                </a:cubicBezTo>
                <a:cubicBezTo>
                  <a:pt x="202" y="43"/>
                  <a:pt x="199" y="43"/>
                  <a:pt x="197" y="43"/>
                </a:cubicBezTo>
                <a:cubicBezTo>
                  <a:pt x="194" y="44"/>
                  <a:pt x="190" y="44"/>
                  <a:pt x="188" y="45"/>
                </a:cubicBezTo>
                <a:cubicBezTo>
                  <a:pt x="186" y="45"/>
                  <a:pt x="185" y="46"/>
                  <a:pt x="185" y="46"/>
                </a:cubicBezTo>
                <a:cubicBezTo>
                  <a:pt x="185" y="46"/>
                  <a:pt x="183" y="46"/>
                  <a:pt x="181" y="47"/>
                </a:cubicBezTo>
                <a:cubicBezTo>
                  <a:pt x="180" y="47"/>
                  <a:pt x="180" y="47"/>
                  <a:pt x="179" y="47"/>
                </a:cubicBezTo>
                <a:cubicBezTo>
                  <a:pt x="178" y="47"/>
                  <a:pt x="178" y="47"/>
                  <a:pt x="177" y="48"/>
                </a:cubicBezTo>
                <a:cubicBezTo>
                  <a:pt x="175" y="48"/>
                  <a:pt x="174" y="48"/>
                  <a:pt x="172" y="49"/>
                </a:cubicBezTo>
                <a:cubicBezTo>
                  <a:pt x="170" y="50"/>
                  <a:pt x="168" y="50"/>
                  <a:pt x="166" y="51"/>
                </a:cubicBezTo>
                <a:cubicBezTo>
                  <a:pt x="164" y="48"/>
                  <a:pt x="162" y="45"/>
                  <a:pt x="160" y="43"/>
                </a:cubicBezTo>
                <a:cubicBezTo>
                  <a:pt x="157" y="39"/>
                  <a:pt x="154" y="36"/>
                  <a:pt x="152" y="33"/>
                </a:cubicBezTo>
                <a:cubicBezTo>
                  <a:pt x="149" y="30"/>
                  <a:pt x="147" y="28"/>
                  <a:pt x="145" y="25"/>
                </a:cubicBezTo>
                <a:cubicBezTo>
                  <a:pt x="141" y="20"/>
                  <a:pt x="138" y="17"/>
                  <a:pt x="138" y="17"/>
                </a:cubicBezTo>
                <a:cubicBezTo>
                  <a:pt x="138" y="17"/>
                  <a:pt x="138" y="18"/>
                  <a:pt x="137" y="18"/>
                </a:cubicBezTo>
                <a:cubicBezTo>
                  <a:pt x="136" y="18"/>
                  <a:pt x="135" y="18"/>
                  <a:pt x="134" y="19"/>
                </a:cubicBezTo>
                <a:cubicBezTo>
                  <a:pt x="132" y="20"/>
                  <a:pt x="130" y="21"/>
                  <a:pt x="127" y="22"/>
                </a:cubicBezTo>
                <a:cubicBezTo>
                  <a:pt x="124" y="24"/>
                  <a:pt x="121" y="25"/>
                  <a:pt x="119" y="26"/>
                </a:cubicBezTo>
                <a:cubicBezTo>
                  <a:pt x="118" y="27"/>
                  <a:pt x="117" y="27"/>
                  <a:pt x="117" y="28"/>
                </a:cubicBezTo>
                <a:cubicBezTo>
                  <a:pt x="116" y="28"/>
                  <a:pt x="116" y="28"/>
                  <a:pt x="116" y="28"/>
                </a:cubicBezTo>
                <a:cubicBezTo>
                  <a:pt x="116" y="28"/>
                  <a:pt x="116" y="32"/>
                  <a:pt x="118" y="38"/>
                </a:cubicBezTo>
                <a:cubicBezTo>
                  <a:pt x="118" y="41"/>
                  <a:pt x="119" y="45"/>
                  <a:pt x="120" y="49"/>
                </a:cubicBezTo>
                <a:cubicBezTo>
                  <a:pt x="120" y="53"/>
                  <a:pt x="121" y="57"/>
                  <a:pt x="122" y="61"/>
                </a:cubicBezTo>
                <a:cubicBezTo>
                  <a:pt x="123" y="64"/>
                  <a:pt x="124" y="67"/>
                  <a:pt x="125" y="71"/>
                </a:cubicBezTo>
                <a:cubicBezTo>
                  <a:pt x="123" y="72"/>
                  <a:pt x="121" y="73"/>
                  <a:pt x="120" y="74"/>
                </a:cubicBezTo>
                <a:cubicBezTo>
                  <a:pt x="116" y="77"/>
                  <a:pt x="114" y="78"/>
                  <a:pt x="112" y="80"/>
                </a:cubicBezTo>
                <a:cubicBezTo>
                  <a:pt x="110" y="81"/>
                  <a:pt x="109" y="82"/>
                  <a:pt x="109" y="82"/>
                </a:cubicBezTo>
                <a:cubicBezTo>
                  <a:pt x="109" y="82"/>
                  <a:pt x="109" y="82"/>
                  <a:pt x="108" y="83"/>
                </a:cubicBezTo>
                <a:cubicBezTo>
                  <a:pt x="108" y="83"/>
                  <a:pt x="107" y="84"/>
                  <a:pt x="106" y="84"/>
                </a:cubicBezTo>
                <a:cubicBezTo>
                  <a:pt x="104" y="86"/>
                  <a:pt x="102" y="88"/>
                  <a:pt x="99" y="91"/>
                </a:cubicBezTo>
                <a:cubicBezTo>
                  <a:pt x="98" y="92"/>
                  <a:pt x="96" y="93"/>
                  <a:pt x="94" y="95"/>
                </a:cubicBezTo>
                <a:cubicBezTo>
                  <a:pt x="91" y="93"/>
                  <a:pt x="88" y="92"/>
                  <a:pt x="85" y="90"/>
                </a:cubicBezTo>
                <a:cubicBezTo>
                  <a:pt x="78" y="87"/>
                  <a:pt x="70" y="83"/>
                  <a:pt x="64" y="81"/>
                </a:cubicBezTo>
                <a:cubicBezTo>
                  <a:pt x="62" y="79"/>
                  <a:pt x="59" y="79"/>
                  <a:pt x="57" y="78"/>
                </a:cubicBezTo>
                <a:cubicBezTo>
                  <a:pt x="56" y="77"/>
                  <a:pt x="55" y="77"/>
                  <a:pt x="55" y="77"/>
                </a:cubicBezTo>
                <a:cubicBezTo>
                  <a:pt x="55" y="77"/>
                  <a:pt x="54" y="78"/>
                  <a:pt x="52" y="80"/>
                </a:cubicBezTo>
                <a:cubicBezTo>
                  <a:pt x="52" y="81"/>
                  <a:pt x="51" y="82"/>
                  <a:pt x="50" y="83"/>
                </a:cubicBezTo>
                <a:cubicBezTo>
                  <a:pt x="49" y="84"/>
                  <a:pt x="48" y="85"/>
                  <a:pt x="47" y="86"/>
                </a:cubicBezTo>
                <a:cubicBezTo>
                  <a:pt x="45" y="89"/>
                  <a:pt x="43" y="91"/>
                  <a:pt x="42" y="93"/>
                </a:cubicBezTo>
                <a:cubicBezTo>
                  <a:pt x="40" y="95"/>
                  <a:pt x="40" y="96"/>
                  <a:pt x="40" y="96"/>
                </a:cubicBezTo>
                <a:cubicBezTo>
                  <a:pt x="40" y="96"/>
                  <a:pt x="42" y="99"/>
                  <a:pt x="46" y="105"/>
                </a:cubicBezTo>
                <a:cubicBezTo>
                  <a:pt x="49" y="110"/>
                  <a:pt x="54" y="116"/>
                  <a:pt x="59" y="123"/>
                </a:cubicBezTo>
                <a:cubicBezTo>
                  <a:pt x="62" y="125"/>
                  <a:pt x="64" y="128"/>
                  <a:pt x="66" y="131"/>
                </a:cubicBezTo>
                <a:cubicBezTo>
                  <a:pt x="65" y="131"/>
                  <a:pt x="65" y="132"/>
                  <a:pt x="64" y="133"/>
                </a:cubicBezTo>
                <a:cubicBezTo>
                  <a:pt x="64" y="134"/>
                  <a:pt x="63" y="135"/>
                  <a:pt x="63" y="136"/>
                </a:cubicBezTo>
                <a:cubicBezTo>
                  <a:pt x="61" y="139"/>
                  <a:pt x="59" y="142"/>
                  <a:pt x="58" y="144"/>
                </a:cubicBezTo>
                <a:cubicBezTo>
                  <a:pt x="57" y="146"/>
                  <a:pt x="57" y="148"/>
                  <a:pt x="57" y="148"/>
                </a:cubicBezTo>
                <a:cubicBezTo>
                  <a:pt x="57" y="148"/>
                  <a:pt x="56" y="149"/>
                  <a:pt x="55" y="151"/>
                </a:cubicBezTo>
                <a:cubicBezTo>
                  <a:pt x="54" y="153"/>
                  <a:pt x="53" y="156"/>
                  <a:pt x="51" y="160"/>
                </a:cubicBezTo>
                <a:cubicBezTo>
                  <a:pt x="51" y="162"/>
                  <a:pt x="50" y="163"/>
                  <a:pt x="49" y="166"/>
                </a:cubicBezTo>
                <a:cubicBezTo>
                  <a:pt x="46" y="165"/>
                  <a:pt x="42" y="165"/>
                  <a:pt x="39" y="165"/>
                </a:cubicBezTo>
                <a:cubicBezTo>
                  <a:pt x="35" y="165"/>
                  <a:pt x="31" y="165"/>
                  <a:pt x="27" y="165"/>
                </a:cubicBezTo>
                <a:cubicBezTo>
                  <a:pt x="25" y="165"/>
                  <a:pt x="23" y="165"/>
                  <a:pt x="21" y="165"/>
                </a:cubicBezTo>
                <a:cubicBezTo>
                  <a:pt x="19" y="166"/>
                  <a:pt x="18" y="166"/>
                  <a:pt x="16" y="166"/>
                </a:cubicBezTo>
                <a:cubicBezTo>
                  <a:pt x="10" y="166"/>
                  <a:pt x="6" y="166"/>
                  <a:pt x="6" y="166"/>
                </a:cubicBezTo>
                <a:cubicBezTo>
                  <a:pt x="6" y="166"/>
                  <a:pt x="5" y="168"/>
                  <a:pt x="5" y="170"/>
                </a:cubicBezTo>
                <a:cubicBezTo>
                  <a:pt x="4" y="171"/>
                  <a:pt x="4" y="171"/>
                  <a:pt x="4" y="172"/>
                </a:cubicBezTo>
                <a:cubicBezTo>
                  <a:pt x="4" y="173"/>
                  <a:pt x="4" y="173"/>
                  <a:pt x="4" y="174"/>
                </a:cubicBezTo>
                <a:cubicBezTo>
                  <a:pt x="3" y="175"/>
                  <a:pt x="3" y="177"/>
                  <a:pt x="3" y="178"/>
                </a:cubicBezTo>
                <a:cubicBezTo>
                  <a:pt x="2" y="180"/>
                  <a:pt x="2" y="181"/>
                  <a:pt x="2" y="183"/>
                </a:cubicBezTo>
                <a:cubicBezTo>
                  <a:pt x="1" y="184"/>
                  <a:pt x="1" y="185"/>
                  <a:pt x="1" y="187"/>
                </a:cubicBezTo>
                <a:cubicBezTo>
                  <a:pt x="0" y="189"/>
                  <a:pt x="0" y="190"/>
                  <a:pt x="0" y="190"/>
                </a:cubicBezTo>
                <a:cubicBezTo>
                  <a:pt x="0" y="190"/>
                  <a:pt x="4" y="192"/>
                  <a:pt x="9" y="195"/>
                </a:cubicBezTo>
                <a:cubicBezTo>
                  <a:pt x="15" y="198"/>
                  <a:pt x="22" y="202"/>
                  <a:pt x="30" y="206"/>
                </a:cubicBezTo>
                <a:cubicBezTo>
                  <a:pt x="33" y="207"/>
                  <a:pt x="36" y="209"/>
                  <a:pt x="39" y="210"/>
                </a:cubicBezTo>
                <a:cubicBezTo>
                  <a:pt x="39" y="212"/>
                  <a:pt x="39" y="214"/>
                  <a:pt x="39" y="216"/>
                </a:cubicBezTo>
                <a:cubicBezTo>
                  <a:pt x="38" y="220"/>
                  <a:pt x="38" y="223"/>
                  <a:pt x="38" y="226"/>
                </a:cubicBezTo>
                <a:cubicBezTo>
                  <a:pt x="38" y="228"/>
                  <a:pt x="38" y="229"/>
                  <a:pt x="38" y="229"/>
                </a:cubicBezTo>
                <a:cubicBezTo>
                  <a:pt x="38" y="229"/>
                  <a:pt x="38" y="231"/>
                  <a:pt x="38" y="233"/>
                </a:cubicBezTo>
                <a:cubicBezTo>
                  <a:pt x="38" y="235"/>
                  <a:pt x="38" y="239"/>
                  <a:pt x="39" y="243"/>
                </a:cubicBezTo>
                <a:cubicBezTo>
                  <a:pt x="39" y="245"/>
                  <a:pt x="39" y="247"/>
                  <a:pt x="39" y="249"/>
                </a:cubicBezTo>
                <a:cubicBezTo>
                  <a:pt x="36" y="250"/>
                  <a:pt x="33" y="252"/>
                  <a:pt x="30" y="253"/>
                </a:cubicBezTo>
                <a:cubicBezTo>
                  <a:pt x="22" y="257"/>
                  <a:pt x="15" y="260"/>
                  <a:pt x="9" y="263"/>
                </a:cubicBezTo>
                <a:cubicBezTo>
                  <a:pt x="4" y="266"/>
                  <a:pt x="0" y="268"/>
                  <a:pt x="0" y="268"/>
                </a:cubicBezTo>
                <a:cubicBezTo>
                  <a:pt x="0" y="268"/>
                  <a:pt x="0" y="270"/>
                  <a:pt x="1" y="272"/>
                </a:cubicBezTo>
                <a:cubicBezTo>
                  <a:pt x="1" y="273"/>
                  <a:pt x="1" y="275"/>
                  <a:pt x="2" y="276"/>
                </a:cubicBezTo>
                <a:cubicBezTo>
                  <a:pt x="2" y="277"/>
                  <a:pt x="2" y="279"/>
                  <a:pt x="3" y="280"/>
                </a:cubicBezTo>
                <a:cubicBezTo>
                  <a:pt x="3" y="282"/>
                  <a:pt x="3" y="283"/>
                  <a:pt x="4" y="285"/>
                </a:cubicBezTo>
                <a:cubicBezTo>
                  <a:pt x="4" y="286"/>
                  <a:pt x="4" y="286"/>
                  <a:pt x="4" y="287"/>
                </a:cubicBezTo>
                <a:cubicBezTo>
                  <a:pt x="4" y="287"/>
                  <a:pt x="4" y="288"/>
                  <a:pt x="5" y="289"/>
                </a:cubicBezTo>
                <a:cubicBezTo>
                  <a:pt x="5" y="291"/>
                  <a:pt x="6" y="292"/>
                  <a:pt x="6" y="292"/>
                </a:cubicBezTo>
                <a:cubicBezTo>
                  <a:pt x="6" y="292"/>
                  <a:pt x="10" y="293"/>
                  <a:pt x="16" y="293"/>
                </a:cubicBezTo>
                <a:cubicBezTo>
                  <a:pt x="18" y="293"/>
                  <a:pt x="19" y="293"/>
                  <a:pt x="21" y="293"/>
                </a:cubicBezTo>
                <a:cubicBezTo>
                  <a:pt x="23" y="293"/>
                  <a:pt x="25" y="293"/>
                  <a:pt x="27" y="293"/>
                </a:cubicBezTo>
                <a:cubicBezTo>
                  <a:pt x="31" y="293"/>
                  <a:pt x="35" y="294"/>
                  <a:pt x="39" y="293"/>
                </a:cubicBezTo>
                <a:cubicBezTo>
                  <a:pt x="42" y="293"/>
                  <a:pt x="46" y="293"/>
                  <a:pt x="49" y="293"/>
                </a:cubicBezTo>
                <a:cubicBezTo>
                  <a:pt x="50" y="295"/>
                  <a:pt x="51" y="297"/>
                  <a:pt x="51" y="299"/>
                </a:cubicBezTo>
                <a:cubicBezTo>
                  <a:pt x="53" y="303"/>
                  <a:pt x="54" y="306"/>
                  <a:pt x="55" y="308"/>
                </a:cubicBezTo>
                <a:cubicBezTo>
                  <a:pt x="56" y="310"/>
                  <a:pt x="57" y="311"/>
                  <a:pt x="57" y="311"/>
                </a:cubicBezTo>
                <a:cubicBezTo>
                  <a:pt x="57" y="311"/>
                  <a:pt x="57" y="312"/>
                  <a:pt x="58" y="314"/>
                </a:cubicBezTo>
                <a:cubicBezTo>
                  <a:pt x="59" y="316"/>
                  <a:pt x="61" y="319"/>
                  <a:pt x="63" y="323"/>
                </a:cubicBezTo>
                <a:cubicBezTo>
                  <a:pt x="63" y="324"/>
                  <a:pt x="64" y="325"/>
                  <a:pt x="64" y="325"/>
                </a:cubicBezTo>
                <a:cubicBezTo>
                  <a:pt x="65" y="326"/>
                  <a:pt x="65" y="327"/>
                  <a:pt x="66" y="328"/>
                </a:cubicBezTo>
                <a:cubicBezTo>
                  <a:pt x="64" y="331"/>
                  <a:pt x="62" y="333"/>
                  <a:pt x="59" y="336"/>
                </a:cubicBezTo>
                <a:cubicBezTo>
                  <a:pt x="54" y="342"/>
                  <a:pt x="49" y="349"/>
                  <a:pt x="46" y="354"/>
                </a:cubicBezTo>
                <a:cubicBezTo>
                  <a:pt x="42" y="359"/>
                  <a:pt x="40" y="363"/>
                  <a:pt x="40" y="363"/>
                </a:cubicBezTo>
                <a:cubicBezTo>
                  <a:pt x="40" y="363"/>
                  <a:pt x="40" y="364"/>
                  <a:pt x="42" y="366"/>
                </a:cubicBezTo>
                <a:cubicBezTo>
                  <a:pt x="43" y="368"/>
                  <a:pt x="45" y="370"/>
                  <a:pt x="47" y="373"/>
                </a:cubicBezTo>
                <a:cubicBezTo>
                  <a:pt x="48" y="374"/>
                  <a:pt x="49" y="375"/>
                  <a:pt x="50" y="376"/>
                </a:cubicBezTo>
                <a:cubicBezTo>
                  <a:pt x="51" y="377"/>
                  <a:pt x="52" y="378"/>
                  <a:pt x="52" y="379"/>
                </a:cubicBezTo>
                <a:cubicBezTo>
                  <a:pt x="54" y="381"/>
                  <a:pt x="55" y="382"/>
                  <a:pt x="55" y="382"/>
                </a:cubicBezTo>
                <a:cubicBezTo>
                  <a:pt x="55" y="382"/>
                  <a:pt x="56" y="382"/>
                  <a:pt x="57" y="381"/>
                </a:cubicBezTo>
                <a:cubicBezTo>
                  <a:pt x="59" y="380"/>
                  <a:pt x="62" y="379"/>
                  <a:pt x="64" y="378"/>
                </a:cubicBezTo>
                <a:cubicBezTo>
                  <a:pt x="70" y="376"/>
                  <a:pt x="78" y="372"/>
                  <a:pt x="85" y="369"/>
                </a:cubicBezTo>
                <a:cubicBezTo>
                  <a:pt x="88" y="367"/>
                  <a:pt x="91" y="365"/>
                  <a:pt x="94" y="364"/>
                </a:cubicBezTo>
                <a:cubicBezTo>
                  <a:pt x="96" y="365"/>
                  <a:pt x="98" y="367"/>
                  <a:pt x="99" y="368"/>
                </a:cubicBezTo>
                <a:cubicBezTo>
                  <a:pt x="102" y="371"/>
                  <a:pt x="104" y="373"/>
                  <a:pt x="106" y="374"/>
                </a:cubicBezTo>
                <a:cubicBezTo>
                  <a:pt x="107" y="375"/>
                  <a:pt x="108" y="376"/>
                  <a:pt x="108" y="376"/>
                </a:cubicBezTo>
                <a:cubicBezTo>
                  <a:pt x="109" y="376"/>
                  <a:pt x="109" y="377"/>
                  <a:pt x="109" y="377"/>
                </a:cubicBezTo>
                <a:cubicBezTo>
                  <a:pt x="109" y="377"/>
                  <a:pt x="110" y="377"/>
                  <a:pt x="112" y="379"/>
                </a:cubicBezTo>
                <a:cubicBezTo>
                  <a:pt x="114" y="380"/>
                  <a:pt x="116" y="382"/>
                  <a:pt x="120" y="385"/>
                </a:cubicBezTo>
                <a:cubicBezTo>
                  <a:pt x="121" y="386"/>
                  <a:pt x="123" y="387"/>
                  <a:pt x="125" y="388"/>
                </a:cubicBezTo>
                <a:cubicBezTo>
                  <a:pt x="124" y="391"/>
                  <a:pt x="123" y="395"/>
                  <a:pt x="122" y="398"/>
                </a:cubicBezTo>
                <a:cubicBezTo>
                  <a:pt x="121" y="402"/>
                  <a:pt x="120" y="406"/>
                  <a:pt x="120" y="410"/>
                </a:cubicBezTo>
                <a:cubicBezTo>
                  <a:pt x="119" y="414"/>
                  <a:pt x="118" y="417"/>
                  <a:pt x="118" y="420"/>
                </a:cubicBezTo>
                <a:cubicBezTo>
                  <a:pt x="116" y="427"/>
                  <a:pt x="116" y="431"/>
                  <a:pt x="116" y="431"/>
                </a:cubicBezTo>
                <a:cubicBezTo>
                  <a:pt x="116" y="431"/>
                  <a:pt x="116" y="431"/>
                  <a:pt x="117" y="431"/>
                </a:cubicBezTo>
                <a:cubicBezTo>
                  <a:pt x="117" y="432"/>
                  <a:pt x="118" y="432"/>
                  <a:pt x="119" y="432"/>
                </a:cubicBezTo>
                <a:cubicBezTo>
                  <a:pt x="121" y="434"/>
                  <a:pt x="124" y="435"/>
                  <a:pt x="127" y="436"/>
                </a:cubicBezTo>
                <a:cubicBezTo>
                  <a:pt x="130" y="438"/>
                  <a:pt x="132" y="439"/>
                  <a:pt x="134" y="440"/>
                </a:cubicBezTo>
                <a:cubicBezTo>
                  <a:pt x="135" y="440"/>
                  <a:pt x="136" y="441"/>
                  <a:pt x="137" y="441"/>
                </a:cubicBezTo>
                <a:cubicBezTo>
                  <a:pt x="138" y="441"/>
                  <a:pt x="138" y="441"/>
                  <a:pt x="138" y="441"/>
                </a:cubicBezTo>
                <a:cubicBezTo>
                  <a:pt x="138" y="441"/>
                  <a:pt x="141" y="438"/>
                  <a:pt x="145" y="434"/>
                </a:cubicBezTo>
                <a:cubicBezTo>
                  <a:pt x="147" y="431"/>
                  <a:pt x="149" y="428"/>
                  <a:pt x="152" y="426"/>
                </a:cubicBezTo>
                <a:cubicBezTo>
                  <a:pt x="154" y="423"/>
                  <a:pt x="157" y="419"/>
                  <a:pt x="160" y="416"/>
                </a:cubicBezTo>
                <a:cubicBezTo>
                  <a:pt x="162" y="413"/>
                  <a:pt x="164" y="410"/>
                  <a:pt x="166" y="408"/>
                </a:cubicBezTo>
                <a:cubicBezTo>
                  <a:pt x="168" y="408"/>
                  <a:pt x="170" y="409"/>
                  <a:pt x="172" y="410"/>
                </a:cubicBezTo>
                <a:cubicBezTo>
                  <a:pt x="174" y="410"/>
                  <a:pt x="175" y="411"/>
                  <a:pt x="177" y="411"/>
                </a:cubicBezTo>
                <a:cubicBezTo>
                  <a:pt x="178" y="411"/>
                  <a:pt x="178" y="412"/>
                  <a:pt x="179" y="412"/>
                </a:cubicBezTo>
                <a:cubicBezTo>
                  <a:pt x="180" y="412"/>
                  <a:pt x="180" y="412"/>
                  <a:pt x="181" y="412"/>
                </a:cubicBezTo>
                <a:cubicBezTo>
                  <a:pt x="183" y="413"/>
                  <a:pt x="185" y="413"/>
                  <a:pt x="185" y="413"/>
                </a:cubicBezTo>
                <a:cubicBezTo>
                  <a:pt x="185" y="413"/>
                  <a:pt x="186" y="413"/>
                  <a:pt x="188" y="414"/>
                </a:cubicBezTo>
                <a:cubicBezTo>
                  <a:pt x="190" y="414"/>
                  <a:pt x="194" y="415"/>
                  <a:pt x="197" y="416"/>
                </a:cubicBezTo>
                <a:cubicBezTo>
                  <a:pt x="199" y="416"/>
                  <a:pt x="202" y="416"/>
                  <a:pt x="204" y="416"/>
                </a:cubicBezTo>
                <a:cubicBezTo>
                  <a:pt x="204" y="420"/>
                  <a:pt x="205" y="423"/>
                  <a:pt x="206" y="427"/>
                </a:cubicBezTo>
                <a:cubicBezTo>
                  <a:pt x="207" y="435"/>
                  <a:pt x="210" y="443"/>
                  <a:pt x="211" y="449"/>
                </a:cubicBezTo>
                <a:cubicBezTo>
                  <a:pt x="213" y="455"/>
                  <a:pt x="214" y="459"/>
                  <a:pt x="214" y="459"/>
                </a:cubicBezTo>
                <a:cubicBezTo>
                  <a:pt x="214" y="459"/>
                  <a:pt x="215" y="459"/>
                  <a:pt x="215" y="459"/>
                </a:cubicBezTo>
                <a:cubicBezTo>
                  <a:pt x="216" y="459"/>
                  <a:pt x="217" y="459"/>
                  <a:pt x="218" y="459"/>
                </a:cubicBezTo>
                <a:cubicBezTo>
                  <a:pt x="220" y="459"/>
                  <a:pt x="223" y="459"/>
                  <a:pt x="226" y="459"/>
                </a:cubicBezTo>
                <a:cubicBezTo>
                  <a:pt x="229" y="459"/>
                  <a:pt x="233" y="459"/>
                  <a:pt x="235" y="459"/>
                </a:cubicBezTo>
                <a:cubicBezTo>
                  <a:pt x="236" y="459"/>
                  <a:pt x="237" y="459"/>
                  <a:pt x="238" y="459"/>
                </a:cubicBezTo>
                <a:cubicBezTo>
                  <a:pt x="238" y="459"/>
                  <a:pt x="239" y="459"/>
                  <a:pt x="239" y="459"/>
                </a:cubicBezTo>
                <a:cubicBezTo>
                  <a:pt x="239" y="459"/>
                  <a:pt x="240" y="455"/>
                  <a:pt x="242" y="449"/>
                </a:cubicBezTo>
                <a:cubicBezTo>
                  <a:pt x="243" y="443"/>
                  <a:pt x="245" y="435"/>
                  <a:pt x="247" y="427"/>
                </a:cubicBezTo>
                <a:cubicBezTo>
                  <a:pt x="248" y="423"/>
                  <a:pt x="249" y="420"/>
                  <a:pt x="249" y="416"/>
                </a:cubicBezTo>
                <a:cubicBezTo>
                  <a:pt x="251" y="416"/>
                  <a:pt x="253" y="416"/>
                  <a:pt x="255" y="416"/>
                </a:cubicBezTo>
                <a:cubicBezTo>
                  <a:pt x="259" y="415"/>
                  <a:pt x="263" y="414"/>
                  <a:pt x="265" y="414"/>
                </a:cubicBezTo>
                <a:cubicBezTo>
                  <a:pt x="267" y="413"/>
                  <a:pt x="268" y="413"/>
                  <a:pt x="268" y="413"/>
                </a:cubicBezTo>
                <a:cubicBezTo>
                  <a:pt x="268" y="413"/>
                  <a:pt x="270" y="413"/>
                  <a:pt x="272" y="412"/>
                </a:cubicBezTo>
                <a:cubicBezTo>
                  <a:pt x="272" y="412"/>
                  <a:pt x="273" y="412"/>
                  <a:pt x="274" y="412"/>
                </a:cubicBezTo>
                <a:cubicBezTo>
                  <a:pt x="274" y="412"/>
                  <a:pt x="275" y="411"/>
                  <a:pt x="276" y="411"/>
                </a:cubicBezTo>
                <a:cubicBezTo>
                  <a:pt x="277" y="411"/>
                  <a:pt x="279" y="410"/>
                  <a:pt x="281" y="410"/>
                </a:cubicBezTo>
                <a:cubicBezTo>
                  <a:pt x="283" y="409"/>
                  <a:pt x="285" y="408"/>
                  <a:pt x="287" y="408"/>
                </a:cubicBezTo>
                <a:cubicBezTo>
                  <a:pt x="289" y="410"/>
                  <a:pt x="291" y="413"/>
                  <a:pt x="293" y="416"/>
                </a:cubicBezTo>
                <a:cubicBezTo>
                  <a:pt x="296" y="419"/>
                  <a:pt x="298" y="423"/>
                  <a:pt x="301" y="426"/>
                </a:cubicBezTo>
                <a:cubicBezTo>
                  <a:pt x="303" y="428"/>
                  <a:pt x="306" y="431"/>
                  <a:pt x="308" y="434"/>
                </a:cubicBezTo>
                <a:cubicBezTo>
                  <a:pt x="312" y="438"/>
                  <a:pt x="315" y="441"/>
                  <a:pt x="315" y="441"/>
                </a:cubicBezTo>
                <a:cubicBezTo>
                  <a:pt x="315" y="441"/>
                  <a:pt x="315" y="441"/>
                  <a:pt x="316" y="441"/>
                </a:cubicBezTo>
                <a:cubicBezTo>
                  <a:pt x="317" y="441"/>
                  <a:pt x="317" y="440"/>
                  <a:pt x="318" y="440"/>
                </a:cubicBezTo>
                <a:cubicBezTo>
                  <a:pt x="321" y="439"/>
                  <a:pt x="323" y="438"/>
                  <a:pt x="326" y="436"/>
                </a:cubicBezTo>
                <a:cubicBezTo>
                  <a:pt x="329" y="435"/>
                  <a:pt x="332" y="434"/>
                  <a:pt x="334" y="432"/>
                </a:cubicBezTo>
                <a:cubicBezTo>
                  <a:pt x="335" y="432"/>
                  <a:pt x="335" y="432"/>
                  <a:pt x="336" y="431"/>
                </a:cubicBezTo>
                <a:cubicBezTo>
                  <a:pt x="337" y="431"/>
                  <a:pt x="337" y="431"/>
                  <a:pt x="337" y="431"/>
                </a:cubicBezTo>
                <a:cubicBezTo>
                  <a:pt x="337" y="431"/>
                  <a:pt x="336" y="427"/>
                  <a:pt x="335" y="420"/>
                </a:cubicBezTo>
                <a:cubicBezTo>
                  <a:pt x="335" y="417"/>
                  <a:pt x="334" y="414"/>
                  <a:pt x="333" y="410"/>
                </a:cubicBezTo>
                <a:cubicBezTo>
                  <a:pt x="333" y="406"/>
                  <a:pt x="332" y="402"/>
                  <a:pt x="331" y="398"/>
                </a:cubicBezTo>
                <a:cubicBezTo>
                  <a:pt x="330" y="395"/>
                  <a:pt x="329" y="391"/>
                  <a:pt x="328" y="388"/>
                </a:cubicBezTo>
                <a:cubicBezTo>
                  <a:pt x="330" y="387"/>
                  <a:pt x="332" y="386"/>
                  <a:pt x="333" y="385"/>
                </a:cubicBezTo>
                <a:cubicBezTo>
                  <a:pt x="337" y="382"/>
                  <a:pt x="339" y="380"/>
                  <a:pt x="341" y="379"/>
                </a:cubicBezTo>
                <a:cubicBezTo>
                  <a:pt x="343" y="377"/>
                  <a:pt x="344" y="377"/>
                  <a:pt x="344" y="377"/>
                </a:cubicBezTo>
                <a:cubicBezTo>
                  <a:pt x="344" y="377"/>
                  <a:pt x="344" y="376"/>
                  <a:pt x="345" y="376"/>
                </a:cubicBezTo>
                <a:cubicBezTo>
                  <a:pt x="345" y="376"/>
                  <a:pt x="346" y="375"/>
                  <a:pt x="347" y="374"/>
                </a:cubicBezTo>
                <a:cubicBezTo>
                  <a:pt x="348" y="373"/>
                  <a:pt x="351" y="371"/>
                  <a:pt x="354" y="368"/>
                </a:cubicBezTo>
                <a:cubicBezTo>
                  <a:pt x="355" y="367"/>
                  <a:pt x="357" y="365"/>
                  <a:pt x="359" y="364"/>
                </a:cubicBezTo>
                <a:cubicBezTo>
                  <a:pt x="361" y="365"/>
                  <a:pt x="365" y="367"/>
                  <a:pt x="368" y="369"/>
                </a:cubicBezTo>
                <a:cubicBezTo>
                  <a:pt x="375" y="372"/>
                  <a:pt x="383" y="376"/>
                  <a:pt x="388" y="378"/>
                </a:cubicBezTo>
                <a:cubicBezTo>
                  <a:pt x="391" y="379"/>
                  <a:pt x="394" y="380"/>
                  <a:pt x="395" y="381"/>
                </a:cubicBezTo>
                <a:cubicBezTo>
                  <a:pt x="397" y="382"/>
                  <a:pt x="398" y="382"/>
                  <a:pt x="398" y="382"/>
                </a:cubicBezTo>
                <a:cubicBezTo>
                  <a:pt x="398" y="382"/>
                  <a:pt x="399" y="381"/>
                  <a:pt x="401" y="379"/>
                </a:cubicBezTo>
                <a:cubicBezTo>
                  <a:pt x="401" y="378"/>
                  <a:pt x="402" y="377"/>
                  <a:pt x="403" y="376"/>
                </a:cubicBezTo>
                <a:cubicBezTo>
                  <a:pt x="404" y="375"/>
                  <a:pt x="405" y="374"/>
                  <a:pt x="406" y="373"/>
                </a:cubicBezTo>
                <a:cubicBezTo>
                  <a:pt x="408" y="370"/>
                  <a:pt x="410" y="368"/>
                  <a:pt x="411" y="366"/>
                </a:cubicBezTo>
                <a:cubicBezTo>
                  <a:pt x="412" y="364"/>
                  <a:pt x="413" y="363"/>
                  <a:pt x="413" y="363"/>
                </a:cubicBezTo>
                <a:cubicBezTo>
                  <a:pt x="413" y="363"/>
                  <a:pt x="411" y="359"/>
                  <a:pt x="407" y="354"/>
                </a:cubicBezTo>
                <a:cubicBezTo>
                  <a:pt x="404" y="349"/>
                  <a:pt x="399" y="342"/>
                  <a:pt x="394" y="336"/>
                </a:cubicBezTo>
                <a:cubicBezTo>
                  <a:pt x="391" y="333"/>
                  <a:pt x="389" y="331"/>
                  <a:pt x="387" y="328"/>
                </a:cubicBezTo>
                <a:cubicBezTo>
                  <a:pt x="387" y="327"/>
                  <a:pt x="388" y="326"/>
                  <a:pt x="389" y="325"/>
                </a:cubicBezTo>
                <a:cubicBezTo>
                  <a:pt x="389" y="325"/>
                  <a:pt x="390" y="324"/>
                  <a:pt x="390" y="323"/>
                </a:cubicBezTo>
                <a:cubicBezTo>
                  <a:pt x="392" y="319"/>
                  <a:pt x="394" y="316"/>
                  <a:pt x="395" y="314"/>
                </a:cubicBezTo>
                <a:cubicBezTo>
                  <a:pt x="396" y="312"/>
                  <a:pt x="396" y="311"/>
                  <a:pt x="396" y="311"/>
                </a:cubicBezTo>
                <a:cubicBezTo>
                  <a:pt x="396" y="311"/>
                  <a:pt x="397" y="310"/>
                  <a:pt x="398" y="308"/>
                </a:cubicBezTo>
                <a:cubicBezTo>
                  <a:pt x="399" y="306"/>
                  <a:pt x="400" y="303"/>
                  <a:pt x="402" y="299"/>
                </a:cubicBezTo>
                <a:cubicBezTo>
                  <a:pt x="402" y="297"/>
                  <a:pt x="403" y="295"/>
                  <a:pt x="404" y="293"/>
                </a:cubicBezTo>
                <a:cubicBezTo>
                  <a:pt x="407" y="293"/>
                  <a:pt x="411" y="293"/>
                  <a:pt x="414" y="293"/>
                </a:cubicBezTo>
                <a:cubicBezTo>
                  <a:pt x="418" y="294"/>
                  <a:pt x="422" y="293"/>
                  <a:pt x="426" y="293"/>
                </a:cubicBezTo>
                <a:cubicBezTo>
                  <a:pt x="428" y="293"/>
                  <a:pt x="430" y="293"/>
                  <a:pt x="432" y="293"/>
                </a:cubicBezTo>
                <a:cubicBezTo>
                  <a:pt x="434" y="293"/>
                  <a:pt x="435" y="293"/>
                  <a:pt x="437" y="293"/>
                </a:cubicBezTo>
                <a:cubicBezTo>
                  <a:pt x="443" y="293"/>
                  <a:pt x="447" y="292"/>
                  <a:pt x="447" y="292"/>
                </a:cubicBezTo>
                <a:cubicBezTo>
                  <a:pt x="447" y="292"/>
                  <a:pt x="448" y="291"/>
                  <a:pt x="448" y="289"/>
                </a:cubicBezTo>
                <a:cubicBezTo>
                  <a:pt x="448" y="288"/>
                  <a:pt x="449" y="287"/>
                  <a:pt x="449" y="287"/>
                </a:cubicBezTo>
                <a:cubicBezTo>
                  <a:pt x="449" y="286"/>
                  <a:pt x="449" y="286"/>
                  <a:pt x="449" y="285"/>
                </a:cubicBezTo>
                <a:cubicBezTo>
                  <a:pt x="450" y="283"/>
                  <a:pt x="450" y="282"/>
                  <a:pt x="450" y="280"/>
                </a:cubicBezTo>
                <a:cubicBezTo>
                  <a:pt x="451" y="279"/>
                  <a:pt x="451" y="277"/>
                  <a:pt x="451" y="276"/>
                </a:cubicBezTo>
                <a:cubicBezTo>
                  <a:pt x="452" y="275"/>
                  <a:pt x="452" y="273"/>
                  <a:pt x="452" y="272"/>
                </a:cubicBezTo>
                <a:cubicBezTo>
                  <a:pt x="452" y="270"/>
                  <a:pt x="453" y="268"/>
                  <a:pt x="453" y="268"/>
                </a:cubicBezTo>
                <a:cubicBezTo>
                  <a:pt x="453" y="268"/>
                  <a:pt x="449" y="266"/>
                  <a:pt x="444" y="263"/>
                </a:cubicBezTo>
                <a:cubicBezTo>
                  <a:pt x="438" y="260"/>
                  <a:pt x="431" y="257"/>
                  <a:pt x="423" y="253"/>
                </a:cubicBezTo>
                <a:close/>
                <a:moveTo>
                  <a:pt x="226" y="368"/>
                </a:moveTo>
                <a:cubicBezTo>
                  <a:pt x="150" y="368"/>
                  <a:pt x="88" y="306"/>
                  <a:pt x="88" y="229"/>
                </a:cubicBezTo>
                <a:cubicBezTo>
                  <a:pt x="88" y="153"/>
                  <a:pt x="150" y="91"/>
                  <a:pt x="226" y="91"/>
                </a:cubicBezTo>
                <a:cubicBezTo>
                  <a:pt x="303" y="91"/>
                  <a:pt x="365" y="153"/>
                  <a:pt x="365" y="229"/>
                </a:cubicBezTo>
                <a:cubicBezTo>
                  <a:pt x="365" y="306"/>
                  <a:pt x="303" y="368"/>
                  <a:pt x="226" y="36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02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E529C6BB-4E5C-4E77-A3BF-F5CE5EC2608F}"/>
              </a:ext>
            </a:extLst>
          </p:cNvPr>
          <p:cNvSpPr/>
          <p:nvPr/>
        </p:nvSpPr>
        <p:spPr bwMode="auto">
          <a:xfrm>
            <a:off x="5784057" y="3568699"/>
            <a:ext cx="1885951" cy="1912939"/>
          </a:xfrm>
          <a:custGeom>
            <a:avLst/>
            <a:gdLst>
              <a:gd name="T0" fmla="*/ 460 w 502"/>
              <a:gd name="T1" fmla="*/ 254 h 509"/>
              <a:gd name="T2" fmla="*/ 492 w 502"/>
              <a:gd name="T3" fmla="*/ 217 h 509"/>
              <a:gd name="T4" fmla="*/ 498 w 502"/>
              <a:gd name="T5" fmla="*/ 193 h 509"/>
              <a:gd name="T6" fmla="*/ 479 w 502"/>
              <a:gd name="T7" fmla="*/ 183 h 509"/>
              <a:gd name="T8" fmla="*/ 441 w 502"/>
              <a:gd name="T9" fmla="*/ 167 h 509"/>
              <a:gd name="T10" fmla="*/ 429 w 502"/>
              <a:gd name="T11" fmla="*/ 145 h 509"/>
              <a:gd name="T12" fmla="*/ 450 w 502"/>
              <a:gd name="T13" fmla="*/ 95 h 509"/>
              <a:gd name="T14" fmla="*/ 431 w 502"/>
              <a:gd name="T15" fmla="*/ 89 h 509"/>
              <a:gd name="T16" fmla="*/ 382 w 502"/>
              <a:gd name="T17" fmla="*/ 92 h 509"/>
              <a:gd name="T18" fmla="*/ 367 w 502"/>
              <a:gd name="T19" fmla="*/ 67 h 509"/>
              <a:gd name="T20" fmla="*/ 370 w 502"/>
              <a:gd name="T21" fmla="*/ 29 h 509"/>
              <a:gd name="T22" fmla="*/ 341 w 502"/>
              <a:gd name="T23" fmla="*/ 28 h 509"/>
              <a:gd name="T24" fmla="*/ 306 w 502"/>
              <a:gd name="T25" fmla="*/ 53 h 509"/>
              <a:gd name="T26" fmla="*/ 283 w 502"/>
              <a:gd name="T27" fmla="*/ 48 h 509"/>
              <a:gd name="T28" fmla="*/ 263 w 502"/>
              <a:gd name="T29" fmla="*/ 0 h 509"/>
              <a:gd name="T30" fmla="*/ 238 w 502"/>
              <a:gd name="T31" fmla="*/ 0 h 509"/>
              <a:gd name="T32" fmla="*/ 209 w 502"/>
              <a:gd name="T33" fmla="*/ 50 h 509"/>
              <a:gd name="T34" fmla="*/ 191 w 502"/>
              <a:gd name="T35" fmla="*/ 54 h 509"/>
              <a:gd name="T36" fmla="*/ 153 w 502"/>
              <a:gd name="T37" fmla="*/ 19 h 509"/>
              <a:gd name="T38" fmla="*/ 130 w 502"/>
              <a:gd name="T39" fmla="*/ 31 h 509"/>
              <a:gd name="T40" fmla="*/ 139 w 502"/>
              <a:gd name="T41" fmla="*/ 78 h 509"/>
              <a:gd name="T42" fmla="*/ 118 w 502"/>
              <a:gd name="T43" fmla="*/ 93 h 509"/>
              <a:gd name="T44" fmla="*/ 64 w 502"/>
              <a:gd name="T45" fmla="*/ 86 h 509"/>
              <a:gd name="T46" fmla="*/ 47 w 502"/>
              <a:gd name="T47" fmla="*/ 103 h 509"/>
              <a:gd name="T48" fmla="*/ 72 w 502"/>
              <a:gd name="T49" fmla="*/ 148 h 509"/>
              <a:gd name="T50" fmla="*/ 57 w 502"/>
              <a:gd name="T51" fmla="*/ 177 h 509"/>
              <a:gd name="T52" fmla="*/ 18 w 502"/>
              <a:gd name="T53" fmla="*/ 184 h 509"/>
              <a:gd name="T54" fmla="*/ 3 w 502"/>
              <a:gd name="T55" fmla="*/ 198 h 509"/>
              <a:gd name="T56" fmla="*/ 33 w 502"/>
              <a:gd name="T57" fmla="*/ 228 h 509"/>
              <a:gd name="T58" fmla="*/ 42 w 502"/>
              <a:gd name="T59" fmla="*/ 258 h 509"/>
              <a:gd name="T60" fmla="*/ 0 w 502"/>
              <a:gd name="T61" fmla="*/ 297 h 509"/>
              <a:gd name="T62" fmla="*/ 5 w 502"/>
              <a:gd name="T63" fmla="*/ 318 h 509"/>
              <a:gd name="T64" fmla="*/ 30 w 502"/>
              <a:gd name="T65" fmla="*/ 325 h 509"/>
              <a:gd name="T66" fmla="*/ 63 w 502"/>
              <a:gd name="T67" fmla="*/ 345 h 509"/>
              <a:gd name="T68" fmla="*/ 66 w 502"/>
              <a:gd name="T69" fmla="*/ 372 h 509"/>
              <a:gd name="T70" fmla="*/ 55 w 502"/>
              <a:gd name="T71" fmla="*/ 417 h 509"/>
              <a:gd name="T72" fmla="*/ 95 w 502"/>
              <a:gd name="T73" fmla="*/ 408 h 509"/>
              <a:gd name="T74" fmla="*/ 121 w 502"/>
              <a:gd name="T75" fmla="*/ 417 h 509"/>
              <a:gd name="T76" fmla="*/ 133 w 502"/>
              <a:gd name="T77" fmla="*/ 454 h 509"/>
              <a:gd name="T78" fmla="*/ 141 w 502"/>
              <a:gd name="T79" fmla="*/ 483 h 509"/>
              <a:gd name="T80" fmla="*/ 169 w 502"/>
              <a:gd name="T81" fmla="*/ 471 h 509"/>
              <a:gd name="T82" fmla="*/ 199 w 502"/>
              <a:gd name="T83" fmla="*/ 456 h 509"/>
              <a:gd name="T84" fmla="*/ 226 w 502"/>
              <a:gd name="T85" fmla="*/ 461 h 509"/>
              <a:gd name="T86" fmla="*/ 242 w 502"/>
              <a:gd name="T87" fmla="*/ 508 h 509"/>
              <a:gd name="T88" fmla="*/ 268 w 502"/>
              <a:gd name="T89" fmla="*/ 497 h 509"/>
              <a:gd name="T90" fmla="*/ 298 w 502"/>
              <a:gd name="T91" fmla="*/ 458 h 509"/>
              <a:gd name="T92" fmla="*/ 318 w 502"/>
              <a:gd name="T93" fmla="*/ 452 h 509"/>
              <a:gd name="T94" fmla="*/ 350 w 502"/>
              <a:gd name="T95" fmla="*/ 489 h 509"/>
              <a:gd name="T96" fmla="*/ 374 w 502"/>
              <a:gd name="T97" fmla="*/ 477 h 509"/>
              <a:gd name="T98" fmla="*/ 370 w 502"/>
              <a:gd name="T99" fmla="*/ 426 h 509"/>
              <a:gd name="T100" fmla="*/ 392 w 502"/>
              <a:gd name="T101" fmla="*/ 408 h 509"/>
              <a:gd name="T102" fmla="*/ 441 w 502"/>
              <a:gd name="T103" fmla="*/ 423 h 509"/>
              <a:gd name="T104" fmla="*/ 458 w 502"/>
              <a:gd name="T105" fmla="*/ 402 h 509"/>
              <a:gd name="T106" fmla="*/ 432 w 502"/>
              <a:gd name="T107" fmla="*/ 358 h 509"/>
              <a:gd name="T108" fmla="*/ 448 w 502"/>
              <a:gd name="T109" fmla="*/ 325 h 509"/>
              <a:gd name="T110" fmla="*/ 496 w 502"/>
              <a:gd name="T111" fmla="*/ 324 h 509"/>
              <a:gd name="T112" fmla="*/ 500 w 502"/>
              <a:gd name="T113" fmla="*/ 306 h 509"/>
              <a:gd name="T114" fmla="*/ 251 w 502"/>
              <a:gd name="T115" fmla="*/ 408 h 5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02" h="509">
                <a:moveTo>
                  <a:pt x="469" y="280"/>
                </a:moveTo>
                <a:cubicBezTo>
                  <a:pt x="466" y="279"/>
                  <a:pt x="462" y="277"/>
                  <a:pt x="459" y="276"/>
                </a:cubicBezTo>
                <a:cubicBezTo>
                  <a:pt x="459" y="273"/>
                  <a:pt x="459" y="271"/>
                  <a:pt x="459" y="269"/>
                </a:cubicBezTo>
                <a:cubicBezTo>
                  <a:pt x="460" y="264"/>
                  <a:pt x="460" y="261"/>
                  <a:pt x="460" y="258"/>
                </a:cubicBezTo>
                <a:cubicBezTo>
                  <a:pt x="460" y="256"/>
                  <a:pt x="460" y="254"/>
                  <a:pt x="460" y="254"/>
                </a:cubicBezTo>
                <a:cubicBezTo>
                  <a:pt x="460" y="254"/>
                  <a:pt x="460" y="253"/>
                  <a:pt x="460" y="250"/>
                </a:cubicBezTo>
                <a:cubicBezTo>
                  <a:pt x="460" y="248"/>
                  <a:pt x="460" y="244"/>
                  <a:pt x="459" y="239"/>
                </a:cubicBezTo>
                <a:cubicBezTo>
                  <a:pt x="459" y="237"/>
                  <a:pt x="459" y="235"/>
                  <a:pt x="459" y="233"/>
                </a:cubicBezTo>
                <a:cubicBezTo>
                  <a:pt x="462" y="231"/>
                  <a:pt x="466" y="230"/>
                  <a:pt x="469" y="228"/>
                </a:cubicBezTo>
                <a:cubicBezTo>
                  <a:pt x="477" y="224"/>
                  <a:pt x="486" y="220"/>
                  <a:pt x="492" y="217"/>
                </a:cubicBezTo>
                <a:cubicBezTo>
                  <a:pt x="498" y="213"/>
                  <a:pt x="502" y="211"/>
                  <a:pt x="502" y="211"/>
                </a:cubicBezTo>
                <a:cubicBezTo>
                  <a:pt x="502" y="211"/>
                  <a:pt x="502" y="209"/>
                  <a:pt x="501" y="207"/>
                </a:cubicBezTo>
                <a:cubicBezTo>
                  <a:pt x="501" y="205"/>
                  <a:pt x="501" y="204"/>
                  <a:pt x="500" y="202"/>
                </a:cubicBezTo>
                <a:cubicBezTo>
                  <a:pt x="500" y="201"/>
                  <a:pt x="500" y="199"/>
                  <a:pt x="499" y="198"/>
                </a:cubicBezTo>
                <a:cubicBezTo>
                  <a:pt x="499" y="196"/>
                  <a:pt x="498" y="194"/>
                  <a:pt x="498" y="193"/>
                </a:cubicBezTo>
                <a:cubicBezTo>
                  <a:pt x="498" y="192"/>
                  <a:pt x="498" y="191"/>
                  <a:pt x="498" y="190"/>
                </a:cubicBezTo>
                <a:cubicBezTo>
                  <a:pt x="497" y="190"/>
                  <a:pt x="497" y="189"/>
                  <a:pt x="497" y="188"/>
                </a:cubicBezTo>
                <a:cubicBezTo>
                  <a:pt x="496" y="186"/>
                  <a:pt x="496" y="184"/>
                  <a:pt x="496" y="184"/>
                </a:cubicBezTo>
                <a:cubicBezTo>
                  <a:pt x="496" y="184"/>
                  <a:pt x="491" y="184"/>
                  <a:pt x="484" y="184"/>
                </a:cubicBezTo>
                <a:cubicBezTo>
                  <a:pt x="483" y="184"/>
                  <a:pt x="481" y="183"/>
                  <a:pt x="479" y="183"/>
                </a:cubicBezTo>
                <a:cubicBezTo>
                  <a:pt x="477" y="183"/>
                  <a:pt x="475" y="183"/>
                  <a:pt x="473" y="183"/>
                </a:cubicBezTo>
                <a:cubicBezTo>
                  <a:pt x="468" y="183"/>
                  <a:pt x="464" y="183"/>
                  <a:pt x="459" y="183"/>
                </a:cubicBezTo>
                <a:cubicBezTo>
                  <a:pt x="455" y="183"/>
                  <a:pt x="451" y="183"/>
                  <a:pt x="448" y="183"/>
                </a:cubicBezTo>
                <a:cubicBezTo>
                  <a:pt x="447" y="181"/>
                  <a:pt x="446" y="179"/>
                  <a:pt x="445" y="177"/>
                </a:cubicBezTo>
                <a:cubicBezTo>
                  <a:pt x="444" y="173"/>
                  <a:pt x="442" y="170"/>
                  <a:pt x="441" y="167"/>
                </a:cubicBezTo>
                <a:cubicBezTo>
                  <a:pt x="440" y="165"/>
                  <a:pt x="439" y="164"/>
                  <a:pt x="439" y="164"/>
                </a:cubicBezTo>
                <a:cubicBezTo>
                  <a:pt x="439" y="164"/>
                  <a:pt x="439" y="162"/>
                  <a:pt x="437" y="160"/>
                </a:cubicBezTo>
                <a:cubicBezTo>
                  <a:pt x="436" y="158"/>
                  <a:pt x="435" y="154"/>
                  <a:pt x="432" y="151"/>
                </a:cubicBezTo>
                <a:cubicBezTo>
                  <a:pt x="432" y="150"/>
                  <a:pt x="431" y="149"/>
                  <a:pt x="431" y="148"/>
                </a:cubicBezTo>
                <a:cubicBezTo>
                  <a:pt x="430" y="147"/>
                  <a:pt x="430" y="146"/>
                  <a:pt x="429" y="145"/>
                </a:cubicBezTo>
                <a:cubicBezTo>
                  <a:pt x="431" y="142"/>
                  <a:pt x="434" y="139"/>
                  <a:pt x="436" y="136"/>
                </a:cubicBezTo>
                <a:cubicBezTo>
                  <a:pt x="442" y="129"/>
                  <a:pt x="448" y="121"/>
                  <a:pt x="452" y="116"/>
                </a:cubicBezTo>
                <a:cubicBezTo>
                  <a:pt x="456" y="110"/>
                  <a:pt x="458" y="106"/>
                  <a:pt x="458" y="106"/>
                </a:cubicBezTo>
                <a:cubicBezTo>
                  <a:pt x="458" y="106"/>
                  <a:pt x="457" y="105"/>
                  <a:pt x="456" y="103"/>
                </a:cubicBezTo>
                <a:cubicBezTo>
                  <a:pt x="454" y="101"/>
                  <a:pt x="452" y="98"/>
                  <a:pt x="450" y="95"/>
                </a:cubicBezTo>
                <a:cubicBezTo>
                  <a:pt x="449" y="94"/>
                  <a:pt x="448" y="93"/>
                  <a:pt x="447" y="92"/>
                </a:cubicBezTo>
                <a:cubicBezTo>
                  <a:pt x="446" y="90"/>
                  <a:pt x="445" y="89"/>
                  <a:pt x="444" y="88"/>
                </a:cubicBezTo>
                <a:cubicBezTo>
                  <a:pt x="442" y="86"/>
                  <a:pt x="441" y="85"/>
                  <a:pt x="441" y="85"/>
                </a:cubicBezTo>
                <a:cubicBezTo>
                  <a:pt x="441" y="85"/>
                  <a:pt x="440" y="86"/>
                  <a:pt x="438" y="86"/>
                </a:cubicBezTo>
                <a:cubicBezTo>
                  <a:pt x="436" y="87"/>
                  <a:pt x="434" y="88"/>
                  <a:pt x="431" y="89"/>
                </a:cubicBezTo>
                <a:cubicBezTo>
                  <a:pt x="424" y="92"/>
                  <a:pt x="416" y="96"/>
                  <a:pt x="408" y="100"/>
                </a:cubicBezTo>
                <a:cubicBezTo>
                  <a:pt x="404" y="102"/>
                  <a:pt x="401" y="103"/>
                  <a:pt x="397" y="105"/>
                </a:cubicBezTo>
                <a:cubicBezTo>
                  <a:pt x="396" y="104"/>
                  <a:pt x="394" y="102"/>
                  <a:pt x="392" y="100"/>
                </a:cubicBezTo>
                <a:cubicBezTo>
                  <a:pt x="389" y="97"/>
                  <a:pt x="386" y="95"/>
                  <a:pt x="384" y="93"/>
                </a:cubicBezTo>
                <a:cubicBezTo>
                  <a:pt x="383" y="93"/>
                  <a:pt x="383" y="92"/>
                  <a:pt x="382" y="92"/>
                </a:cubicBezTo>
                <a:cubicBezTo>
                  <a:pt x="382" y="91"/>
                  <a:pt x="381" y="91"/>
                  <a:pt x="381" y="91"/>
                </a:cubicBezTo>
                <a:cubicBezTo>
                  <a:pt x="381" y="91"/>
                  <a:pt x="380" y="90"/>
                  <a:pt x="378" y="88"/>
                </a:cubicBezTo>
                <a:cubicBezTo>
                  <a:pt x="376" y="87"/>
                  <a:pt x="373" y="85"/>
                  <a:pt x="370" y="82"/>
                </a:cubicBezTo>
                <a:cubicBezTo>
                  <a:pt x="368" y="81"/>
                  <a:pt x="366" y="80"/>
                  <a:pt x="364" y="78"/>
                </a:cubicBezTo>
                <a:cubicBezTo>
                  <a:pt x="365" y="75"/>
                  <a:pt x="366" y="71"/>
                  <a:pt x="367" y="67"/>
                </a:cubicBezTo>
                <a:cubicBezTo>
                  <a:pt x="368" y="63"/>
                  <a:pt x="369" y="58"/>
                  <a:pt x="370" y="54"/>
                </a:cubicBezTo>
                <a:cubicBezTo>
                  <a:pt x="370" y="50"/>
                  <a:pt x="371" y="46"/>
                  <a:pt x="372" y="43"/>
                </a:cubicBezTo>
                <a:cubicBezTo>
                  <a:pt x="373" y="36"/>
                  <a:pt x="374" y="31"/>
                  <a:pt x="374" y="31"/>
                </a:cubicBezTo>
                <a:cubicBezTo>
                  <a:pt x="374" y="31"/>
                  <a:pt x="373" y="31"/>
                  <a:pt x="373" y="31"/>
                </a:cubicBezTo>
                <a:cubicBezTo>
                  <a:pt x="372" y="30"/>
                  <a:pt x="371" y="30"/>
                  <a:pt x="370" y="29"/>
                </a:cubicBezTo>
                <a:cubicBezTo>
                  <a:pt x="368" y="28"/>
                  <a:pt x="365" y="26"/>
                  <a:pt x="362" y="25"/>
                </a:cubicBezTo>
                <a:cubicBezTo>
                  <a:pt x="358" y="23"/>
                  <a:pt x="355" y="22"/>
                  <a:pt x="353" y="21"/>
                </a:cubicBezTo>
                <a:cubicBezTo>
                  <a:pt x="352" y="20"/>
                  <a:pt x="351" y="20"/>
                  <a:pt x="350" y="20"/>
                </a:cubicBezTo>
                <a:cubicBezTo>
                  <a:pt x="350" y="19"/>
                  <a:pt x="349" y="19"/>
                  <a:pt x="349" y="19"/>
                </a:cubicBezTo>
                <a:cubicBezTo>
                  <a:pt x="349" y="19"/>
                  <a:pt x="346" y="23"/>
                  <a:pt x="341" y="28"/>
                </a:cubicBezTo>
                <a:cubicBezTo>
                  <a:pt x="339" y="30"/>
                  <a:pt x="336" y="34"/>
                  <a:pt x="334" y="37"/>
                </a:cubicBezTo>
                <a:cubicBezTo>
                  <a:pt x="331" y="40"/>
                  <a:pt x="328" y="44"/>
                  <a:pt x="325" y="47"/>
                </a:cubicBezTo>
                <a:cubicBezTo>
                  <a:pt x="323" y="50"/>
                  <a:pt x="321" y="53"/>
                  <a:pt x="318" y="56"/>
                </a:cubicBezTo>
                <a:cubicBezTo>
                  <a:pt x="316" y="56"/>
                  <a:pt x="314" y="55"/>
                  <a:pt x="312" y="54"/>
                </a:cubicBezTo>
                <a:cubicBezTo>
                  <a:pt x="310" y="54"/>
                  <a:pt x="308" y="53"/>
                  <a:pt x="306" y="53"/>
                </a:cubicBezTo>
                <a:cubicBezTo>
                  <a:pt x="305" y="52"/>
                  <a:pt x="304" y="52"/>
                  <a:pt x="304" y="52"/>
                </a:cubicBezTo>
                <a:cubicBezTo>
                  <a:pt x="303" y="52"/>
                  <a:pt x="302" y="52"/>
                  <a:pt x="302" y="52"/>
                </a:cubicBezTo>
                <a:cubicBezTo>
                  <a:pt x="299" y="51"/>
                  <a:pt x="298" y="51"/>
                  <a:pt x="298" y="51"/>
                </a:cubicBezTo>
                <a:cubicBezTo>
                  <a:pt x="298" y="51"/>
                  <a:pt x="296" y="50"/>
                  <a:pt x="294" y="50"/>
                </a:cubicBezTo>
                <a:cubicBezTo>
                  <a:pt x="291" y="49"/>
                  <a:pt x="288" y="49"/>
                  <a:pt x="283" y="48"/>
                </a:cubicBezTo>
                <a:cubicBezTo>
                  <a:pt x="281" y="48"/>
                  <a:pt x="279" y="47"/>
                  <a:pt x="276" y="47"/>
                </a:cubicBezTo>
                <a:cubicBezTo>
                  <a:pt x="276" y="43"/>
                  <a:pt x="275" y="39"/>
                  <a:pt x="274" y="36"/>
                </a:cubicBezTo>
                <a:cubicBezTo>
                  <a:pt x="272" y="27"/>
                  <a:pt x="270" y="18"/>
                  <a:pt x="268" y="11"/>
                </a:cubicBezTo>
                <a:cubicBezTo>
                  <a:pt x="266" y="4"/>
                  <a:pt x="265" y="0"/>
                  <a:pt x="265" y="0"/>
                </a:cubicBezTo>
                <a:cubicBezTo>
                  <a:pt x="265" y="0"/>
                  <a:pt x="264" y="0"/>
                  <a:pt x="263" y="0"/>
                </a:cubicBezTo>
                <a:cubicBezTo>
                  <a:pt x="263" y="0"/>
                  <a:pt x="262" y="0"/>
                  <a:pt x="260" y="0"/>
                </a:cubicBezTo>
                <a:cubicBezTo>
                  <a:pt x="258" y="0"/>
                  <a:pt x="255" y="0"/>
                  <a:pt x="251" y="0"/>
                </a:cubicBezTo>
                <a:cubicBezTo>
                  <a:pt x="248" y="0"/>
                  <a:pt x="244" y="0"/>
                  <a:pt x="242" y="0"/>
                </a:cubicBezTo>
                <a:cubicBezTo>
                  <a:pt x="241" y="0"/>
                  <a:pt x="240" y="0"/>
                  <a:pt x="239" y="0"/>
                </a:cubicBezTo>
                <a:cubicBezTo>
                  <a:pt x="238" y="0"/>
                  <a:pt x="238" y="0"/>
                  <a:pt x="238" y="0"/>
                </a:cubicBezTo>
                <a:cubicBezTo>
                  <a:pt x="238" y="0"/>
                  <a:pt x="236" y="4"/>
                  <a:pt x="234" y="11"/>
                </a:cubicBezTo>
                <a:cubicBezTo>
                  <a:pt x="232" y="18"/>
                  <a:pt x="230" y="27"/>
                  <a:pt x="228" y="36"/>
                </a:cubicBezTo>
                <a:cubicBezTo>
                  <a:pt x="227" y="39"/>
                  <a:pt x="227" y="43"/>
                  <a:pt x="226" y="47"/>
                </a:cubicBezTo>
                <a:cubicBezTo>
                  <a:pt x="224" y="47"/>
                  <a:pt x="221" y="48"/>
                  <a:pt x="219" y="48"/>
                </a:cubicBezTo>
                <a:cubicBezTo>
                  <a:pt x="215" y="49"/>
                  <a:pt x="211" y="49"/>
                  <a:pt x="209" y="50"/>
                </a:cubicBezTo>
                <a:cubicBezTo>
                  <a:pt x="206" y="50"/>
                  <a:pt x="205" y="51"/>
                  <a:pt x="205" y="51"/>
                </a:cubicBezTo>
                <a:cubicBezTo>
                  <a:pt x="205" y="51"/>
                  <a:pt x="203" y="51"/>
                  <a:pt x="201" y="52"/>
                </a:cubicBezTo>
                <a:cubicBezTo>
                  <a:pt x="200" y="52"/>
                  <a:pt x="199" y="52"/>
                  <a:pt x="199" y="52"/>
                </a:cubicBezTo>
                <a:cubicBezTo>
                  <a:pt x="198" y="52"/>
                  <a:pt x="197" y="52"/>
                  <a:pt x="196" y="53"/>
                </a:cubicBezTo>
                <a:cubicBezTo>
                  <a:pt x="195" y="53"/>
                  <a:pt x="193" y="54"/>
                  <a:pt x="191" y="54"/>
                </a:cubicBezTo>
                <a:cubicBezTo>
                  <a:pt x="188" y="55"/>
                  <a:pt x="186" y="56"/>
                  <a:pt x="184" y="56"/>
                </a:cubicBezTo>
                <a:cubicBezTo>
                  <a:pt x="182" y="53"/>
                  <a:pt x="179" y="50"/>
                  <a:pt x="177" y="47"/>
                </a:cubicBezTo>
                <a:cubicBezTo>
                  <a:pt x="174" y="44"/>
                  <a:pt x="171" y="40"/>
                  <a:pt x="169" y="37"/>
                </a:cubicBezTo>
                <a:cubicBezTo>
                  <a:pt x="166" y="34"/>
                  <a:pt x="163" y="30"/>
                  <a:pt x="161" y="28"/>
                </a:cubicBezTo>
                <a:cubicBezTo>
                  <a:pt x="156" y="23"/>
                  <a:pt x="153" y="19"/>
                  <a:pt x="153" y="19"/>
                </a:cubicBezTo>
                <a:cubicBezTo>
                  <a:pt x="153" y="19"/>
                  <a:pt x="153" y="19"/>
                  <a:pt x="152" y="20"/>
                </a:cubicBezTo>
                <a:cubicBezTo>
                  <a:pt x="151" y="20"/>
                  <a:pt x="150" y="20"/>
                  <a:pt x="149" y="21"/>
                </a:cubicBezTo>
                <a:cubicBezTo>
                  <a:pt x="147" y="22"/>
                  <a:pt x="144" y="23"/>
                  <a:pt x="141" y="25"/>
                </a:cubicBezTo>
                <a:cubicBezTo>
                  <a:pt x="138" y="26"/>
                  <a:pt x="135" y="28"/>
                  <a:pt x="132" y="29"/>
                </a:cubicBezTo>
                <a:cubicBezTo>
                  <a:pt x="131" y="30"/>
                  <a:pt x="130" y="30"/>
                  <a:pt x="130" y="31"/>
                </a:cubicBezTo>
                <a:cubicBezTo>
                  <a:pt x="129" y="31"/>
                  <a:pt x="129" y="31"/>
                  <a:pt x="129" y="31"/>
                </a:cubicBezTo>
                <a:cubicBezTo>
                  <a:pt x="129" y="31"/>
                  <a:pt x="129" y="36"/>
                  <a:pt x="130" y="43"/>
                </a:cubicBezTo>
                <a:cubicBezTo>
                  <a:pt x="131" y="46"/>
                  <a:pt x="132" y="50"/>
                  <a:pt x="133" y="54"/>
                </a:cubicBezTo>
                <a:cubicBezTo>
                  <a:pt x="134" y="58"/>
                  <a:pt x="135" y="63"/>
                  <a:pt x="136" y="67"/>
                </a:cubicBezTo>
                <a:cubicBezTo>
                  <a:pt x="137" y="71"/>
                  <a:pt x="138" y="75"/>
                  <a:pt x="139" y="78"/>
                </a:cubicBezTo>
                <a:cubicBezTo>
                  <a:pt x="136" y="80"/>
                  <a:pt x="135" y="81"/>
                  <a:pt x="133" y="82"/>
                </a:cubicBezTo>
                <a:cubicBezTo>
                  <a:pt x="129" y="85"/>
                  <a:pt x="126" y="87"/>
                  <a:pt x="124" y="88"/>
                </a:cubicBezTo>
                <a:cubicBezTo>
                  <a:pt x="122" y="90"/>
                  <a:pt x="121" y="91"/>
                  <a:pt x="121" y="91"/>
                </a:cubicBezTo>
                <a:cubicBezTo>
                  <a:pt x="121" y="91"/>
                  <a:pt x="121" y="91"/>
                  <a:pt x="120" y="92"/>
                </a:cubicBezTo>
                <a:cubicBezTo>
                  <a:pt x="120" y="92"/>
                  <a:pt x="119" y="93"/>
                  <a:pt x="118" y="93"/>
                </a:cubicBezTo>
                <a:cubicBezTo>
                  <a:pt x="116" y="95"/>
                  <a:pt x="113" y="97"/>
                  <a:pt x="110" y="100"/>
                </a:cubicBezTo>
                <a:cubicBezTo>
                  <a:pt x="108" y="102"/>
                  <a:pt x="107" y="104"/>
                  <a:pt x="105" y="105"/>
                </a:cubicBezTo>
                <a:cubicBezTo>
                  <a:pt x="102" y="103"/>
                  <a:pt x="98" y="102"/>
                  <a:pt x="95" y="100"/>
                </a:cubicBezTo>
                <a:cubicBezTo>
                  <a:pt x="86" y="96"/>
                  <a:pt x="78" y="92"/>
                  <a:pt x="72" y="89"/>
                </a:cubicBezTo>
                <a:cubicBezTo>
                  <a:pt x="68" y="88"/>
                  <a:pt x="66" y="87"/>
                  <a:pt x="64" y="86"/>
                </a:cubicBezTo>
                <a:cubicBezTo>
                  <a:pt x="62" y="86"/>
                  <a:pt x="61" y="85"/>
                  <a:pt x="61" y="85"/>
                </a:cubicBezTo>
                <a:cubicBezTo>
                  <a:pt x="61" y="85"/>
                  <a:pt x="60" y="86"/>
                  <a:pt x="58" y="88"/>
                </a:cubicBezTo>
                <a:cubicBezTo>
                  <a:pt x="57" y="89"/>
                  <a:pt x="56" y="90"/>
                  <a:pt x="55" y="92"/>
                </a:cubicBezTo>
                <a:cubicBezTo>
                  <a:pt x="54" y="93"/>
                  <a:pt x="53" y="94"/>
                  <a:pt x="52" y="95"/>
                </a:cubicBezTo>
                <a:cubicBezTo>
                  <a:pt x="50" y="98"/>
                  <a:pt x="48" y="101"/>
                  <a:pt x="47" y="103"/>
                </a:cubicBezTo>
                <a:cubicBezTo>
                  <a:pt x="45" y="105"/>
                  <a:pt x="44" y="106"/>
                  <a:pt x="44" y="106"/>
                </a:cubicBezTo>
                <a:cubicBezTo>
                  <a:pt x="44" y="106"/>
                  <a:pt x="47" y="110"/>
                  <a:pt x="51" y="116"/>
                </a:cubicBezTo>
                <a:cubicBezTo>
                  <a:pt x="55" y="121"/>
                  <a:pt x="60" y="129"/>
                  <a:pt x="66" y="136"/>
                </a:cubicBezTo>
                <a:cubicBezTo>
                  <a:pt x="68" y="139"/>
                  <a:pt x="71" y="142"/>
                  <a:pt x="73" y="145"/>
                </a:cubicBezTo>
                <a:cubicBezTo>
                  <a:pt x="73" y="146"/>
                  <a:pt x="72" y="147"/>
                  <a:pt x="72" y="148"/>
                </a:cubicBezTo>
                <a:cubicBezTo>
                  <a:pt x="71" y="149"/>
                  <a:pt x="70" y="150"/>
                  <a:pt x="70" y="151"/>
                </a:cubicBezTo>
                <a:cubicBezTo>
                  <a:pt x="68" y="154"/>
                  <a:pt x="66" y="158"/>
                  <a:pt x="65" y="160"/>
                </a:cubicBezTo>
                <a:cubicBezTo>
                  <a:pt x="64" y="162"/>
                  <a:pt x="63" y="164"/>
                  <a:pt x="63" y="164"/>
                </a:cubicBezTo>
                <a:cubicBezTo>
                  <a:pt x="63" y="164"/>
                  <a:pt x="62" y="165"/>
                  <a:pt x="61" y="167"/>
                </a:cubicBezTo>
                <a:cubicBezTo>
                  <a:pt x="60" y="170"/>
                  <a:pt x="59" y="173"/>
                  <a:pt x="57" y="177"/>
                </a:cubicBezTo>
                <a:cubicBezTo>
                  <a:pt x="56" y="179"/>
                  <a:pt x="55" y="181"/>
                  <a:pt x="55" y="183"/>
                </a:cubicBezTo>
                <a:cubicBezTo>
                  <a:pt x="51" y="183"/>
                  <a:pt x="47" y="183"/>
                  <a:pt x="43" y="183"/>
                </a:cubicBezTo>
                <a:cubicBezTo>
                  <a:pt x="39" y="183"/>
                  <a:pt x="34" y="183"/>
                  <a:pt x="30" y="183"/>
                </a:cubicBezTo>
                <a:cubicBezTo>
                  <a:pt x="28" y="183"/>
                  <a:pt x="25" y="183"/>
                  <a:pt x="23" y="183"/>
                </a:cubicBezTo>
                <a:cubicBezTo>
                  <a:pt x="22" y="183"/>
                  <a:pt x="20" y="184"/>
                  <a:pt x="18" y="184"/>
                </a:cubicBezTo>
                <a:cubicBezTo>
                  <a:pt x="11" y="184"/>
                  <a:pt x="6" y="184"/>
                  <a:pt x="6" y="184"/>
                </a:cubicBezTo>
                <a:cubicBezTo>
                  <a:pt x="6" y="184"/>
                  <a:pt x="6" y="186"/>
                  <a:pt x="5" y="188"/>
                </a:cubicBezTo>
                <a:cubicBezTo>
                  <a:pt x="5" y="189"/>
                  <a:pt x="5" y="190"/>
                  <a:pt x="5" y="190"/>
                </a:cubicBezTo>
                <a:cubicBezTo>
                  <a:pt x="5" y="191"/>
                  <a:pt x="4" y="192"/>
                  <a:pt x="4" y="193"/>
                </a:cubicBezTo>
                <a:cubicBezTo>
                  <a:pt x="4" y="194"/>
                  <a:pt x="3" y="196"/>
                  <a:pt x="3" y="198"/>
                </a:cubicBezTo>
                <a:cubicBezTo>
                  <a:pt x="3" y="199"/>
                  <a:pt x="2" y="201"/>
                  <a:pt x="2" y="202"/>
                </a:cubicBezTo>
                <a:cubicBezTo>
                  <a:pt x="2" y="204"/>
                  <a:pt x="1" y="205"/>
                  <a:pt x="1" y="207"/>
                </a:cubicBezTo>
                <a:cubicBezTo>
                  <a:pt x="1" y="209"/>
                  <a:pt x="0" y="211"/>
                  <a:pt x="0" y="211"/>
                </a:cubicBezTo>
                <a:cubicBezTo>
                  <a:pt x="0" y="211"/>
                  <a:pt x="4" y="213"/>
                  <a:pt x="10" y="217"/>
                </a:cubicBezTo>
                <a:cubicBezTo>
                  <a:pt x="17" y="220"/>
                  <a:pt x="25" y="224"/>
                  <a:pt x="33" y="228"/>
                </a:cubicBezTo>
                <a:cubicBezTo>
                  <a:pt x="37" y="230"/>
                  <a:pt x="40" y="231"/>
                  <a:pt x="43" y="233"/>
                </a:cubicBezTo>
                <a:cubicBezTo>
                  <a:pt x="43" y="235"/>
                  <a:pt x="43" y="237"/>
                  <a:pt x="43" y="239"/>
                </a:cubicBezTo>
                <a:cubicBezTo>
                  <a:pt x="43" y="244"/>
                  <a:pt x="43" y="248"/>
                  <a:pt x="42" y="250"/>
                </a:cubicBezTo>
                <a:cubicBezTo>
                  <a:pt x="42" y="253"/>
                  <a:pt x="42" y="254"/>
                  <a:pt x="42" y="254"/>
                </a:cubicBezTo>
                <a:cubicBezTo>
                  <a:pt x="42" y="254"/>
                  <a:pt x="42" y="256"/>
                  <a:pt x="42" y="258"/>
                </a:cubicBezTo>
                <a:cubicBezTo>
                  <a:pt x="43" y="261"/>
                  <a:pt x="43" y="264"/>
                  <a:pt x="43" y="269"/>
                </a:cubicBezTo>
                <a:cubicBezTo>
                  <a:pt x="43" y="271"/>
                  <a:pt x="43" y="273"/>
                  <a:pt x="43" y="276"/>
                </a:cubicBezTo>
                <a:cubicBezTo>
                  <a:pt x="40" y="277"/>
                  <a:pt x="37" y="279"/>
                  <a:pt x="33" y="280"/>
                </a:cubicBezTo>
                <a:cubicBezTo>
                  <a:pt x="25" y="284"/>
                  <a:pt x="17" y="288"/>
                  <a:pt x="10" y="292"/>
                </a:cubicBezTo>
                <a:cubicBezTo>
                  <a:pt x="4" y="295"/>
                  <a:pt x="0" y="297"/>
                  <a:pt x="0" y="297"/>
                </a:cubicBezTo>
                <a:cubicBezTo>
                  <a:pt x="0" y="297"/>
                  <a:pt x="1" y="299"/>
                  <a:pt x="1" y="302"/>
                </a:cubicBezTo>
                <a:cubicBezTo>
                  <a:pt x="1" y="303"/>
                  <a:pt x="2" y="304"/>
                  <a:pt x="2" y="306"/>
                </a:cubicBezTo>
                <a:cubicBezTo>
                  <a:pt x="2" y="307"/>
                  <a:pt x="3" y="309"/>
                  <a:pt x="3" y="311"/>
                </a:cubicBezTo>
                <a:cubicBezTo>
                  <a:pt x="3" y="312"/>
                  <a:pt x="4" y="314"/>
                  <a:pt x="4" y="316"/>
                </a:cubicBezTo>
                <a:cubicBezTo>
                  <a:pt x="4" y="316"/>
                  <a:pt x="5" y="317"/>
                  <a:pt x="5" y="318"/>
                </a:cubicBezTo>
                <a:cubicBezTo>
                  <a:pt x="5" y="318"/>
                  <a:pt x="5" y="319"/>
                  <a:pt x="5" y="320"/>
                </a:cubicBezTo>
                <a:cubicBezTo>
                  <a:pt x="6" y="322"/>
                  <a:pt x="6" y="324"/>
                  <a:pt x="6" y="324"/>
                </a:cubicBezTo>
                <a:cubicBezTo>
                  <a:pt x="6" y="324"/>
                  <a:pt x="11" y="324"/>
                  <a:pt x="18" y="325"/>
                </a:cubicBezTo>
                <a:cubicBezTo>
                  <a:pt x="20" y="325"/>
                  <a:pt x="22" y="325"/>
                  <a:pt x="23" y="325"/>
                </a:cubicBezTo>
                <a:cubicBezTo>
                  <a:pt x="25" y="325"/>
                  <a:pt x="28" y="325"/>
                  <a:pt x="30" y="325"/>
                </a:cubicBezTo>
                <a:cubicBezTo>
                  <a:pt x="34" y="325"/>
                  <a:pt x="39" y="325"/>
                  <a:pt x="43" y="325"/>
                </a:cubicBezTo>
                <a:cubicBezTo>
                  <a:pt x="47" y="325"/>
                  <a:pt x="51" y="325"/>
                  <a:pt x="55" y="325"/>
                </a:cubicBezTo>
                <a:cubicBezTo>
                  <a:pt x="55" y="327"/>
                  <a:pt x="56" y="329"/>
                  <a:pt x="57" y="331"/>
                </a:cubicBezTo>
                <a:cubicBezTo>
                  <a:pt x="59" y="335"/>
                  <a:pt x="60" y="339"/>
                  <a:pt x="61" y="341"/>
                </a:cubicBezTo>
                <a:cubicBezTo>
                  <a:pt x="62" y="343"/>
                  <a:pt x="63" y="345"/>
                  <a:pt x="63" y="345"/>
                </a:cubicBezTo>
                <a:cubicBezTo>
                  <a:pt x="63" y="345"/>
                  <a:pt x="64" y="346"/>
                  <a:pt x="65" y="348"/>
                </a:cubicBezTo>
                <a:cubicBezTo>
                  <a:pt x="66" y="351"/>
                  <a:pt x="68" y="354"/>
                  <a:pt x="70" y="358"/>
                </a:cubicBezTo>
                <a:cubicBezTo>
                  <a:pt x="70" y="359"/>
                  <a:pt x="71" y="360"/>
                  <a:pt x="72" y="361"/>
                </a:cubicBezTo>
                <a:cubicBezTo>
                  <a:pt x="72" y="362"/>
                  <a:pt x="73" y="363"/>
                  <a:pt x="73" y="364"/>
                </a:cubicBezTo>
                <a:cubicBezTo>
                  <a:pt x="71" y="366"/>
                  <a:pt x="68" y="369"/>
                  <a:pt x="66" y="372"/>
                </a:cubicBezTo>
                <a:cubicBezTo>
                  <a:pt x="60" y="379"/>
                  <a:pt x="55" y="387"/>
                  <a:pt x="51" y="392"/>
                </a:cubicBezTo>
                <a:cubicBezTo>
                  <a:pt x="47" y="398"/>
                  <a:pt x="44" y="402"/>
                  <a:pt x="44" y="402"/>
                </a:cubicBezTo>
                <a:cubicBezTo>
                  <a:pt x="44" y="402"/>
                  <a:pt x="45" y="403"/>
                  <a:pt x="47" y="405"/>
                </a:cubicBezTo>
                <a:cubicBezTo>
                  <a:pt x="48" y="407"/>
                  <a:pt x="50" y="410"/>
                  <a:pt x="52" y="413"/>
                </a:cubicBezTo>
                <a:cubicBezTo>
                  <a:pt x="53" y="414"/>
                  <a:pt x="54" y="415"/>
                  <a:pt x="55" y="417"/>
                </a:cubicBezTo>
                <a:cubicBezTo>
                  <a:pt x="56" y="418"/>
                  <a:pt x="57" y="419"/>
                  <a:pt x="58" y="420"/>
                </a:cubicBezTo>
                <a:cubicBezTo>
                  <a:pt x="60" y="422"/>
                  <a:pt x="61" y="423"/>
                  <a:pt x="61" y="423"/>
                </a:cubicBezTo>
                <a:cubicBezTo>
                  <a:pt x="61" y="423"/>
                  <a:pt x="62" y="423"/>
                  <a:pt x="64" y="422"/>
                </a:cubicBezTo>
                <a:cubicBezTo>
                  <a:pt x="66" y="421"/>
                  <a:pt x="68" y="420"/>
                  <a:pt x="72" y="419"/>
                </a:cubicBezTo>
                <a:cubicBezTo>
                  <a:pt x="78" y="416"/>
                  <a:pt x="86" y="412"/>
                  <a:pt x="95" y="408"/>
                </a:cubicBezTo>
                <a:cubicBezTo>
                  <a:pt x="98" y="407"/>
                  <a:pt x="102" y="405"/>
                  <a:pt x="105" y="403"/>
                </a:cubicBezTo>
                <a:cubicBezTo>
                  <a:pt x="107" y="405"/>
                  <a:pt x="108" y="406"/>
                  <a:pt x="110" y="408"/>
                </a:cubicBezTo>
                <a:cubicBezTo>
                  <a:pt x="113" y="411"/>
                  <a:pt x="116" y="413"/>
                  <a:pt x="118" y="415"/>
                </a:cubicBezTo>
                <a:cubicBezTo>
                  <a:pt x="119" y="416"/>
                  <a:pt x="120" y="416"/>
                  <a:pt x="120" y="417"/>
                </a:cubicBezTo>
                <a:cubicBezTo>
                  <a:pt x="121" y="417"/>
                  <a:pt x="121" y="417"/>
                  <a:pt x="121" y="417"/>
                </a:cubicBezTo>
                <a:cubicBezTo>
                  <a:pt x="121" y="417"/>
                  <a:pt x="122" y="418"/>
                  <a:pt x="124" y="420"/>
                </a:cubicBezTo>
                <a:cubicBezTo>
                  <a:pt x="126" y="421"/>
                  <a:pt x="129" y="423"/>
                  <a:pt x="133" y="426"/>
                </a:cubicBezTo>
                <a:cubicBezTo>
                  <a:pt x="135" y="427"/>
                  <a:pt x="136" y="429"/>
                  <a:pt x="139" y="430"/>
                </a:cubicBezTo>
                <a:cubicBezTo>
                  <a:pt x="138" y="433"/>
                  <a:pt x="137" y="437"/>
                  <a:pt x="136" y="441"/>
                </a:cubicBezTo>
                <a:cubicBezTo>
                  <a:pt x="135" y="446"/>
                  <a:pt x="134" y="450"/>
                  <a:pt x="133" y="454"/>
                </a:cubicBezTo>
                <a:cubicBezTo>
                  <a:pt x="132" y="458"/>
                  <a:pt x="131" y="462"/>
                  <a:pt x="130" y="466"/>
                </a:cubicBezTo>
                <a:cubicBezTo>
                  <a:pt x="129" y="473"/>
                  <a:pt x="129" y="477"/>
                  <a:pt x="129" y="477"/>
                </a:cubicBezTo>
                <a:cubicBezTo>
                  <a:pt x="129" y="477"/>
                  <a:pt x="129" y="477"/>
                  <a:pt x="130" y="478"/>
                </a:cubicBezTo>
                <a:cubicBezTo>
                  <a:pt x="130" y="478"/>
                  <a:pt x="131" y="479"/>
                  <a:pt x="132" y="479"/>
                </a:cubicBezTo>
                <a:cubicBezTo>
                  <a:pt x="135" y="480"/>
                  <a:pt x="138" y="482"/>
                  <a:pt x="141" y="483"/>
                </a:cubicBezTo>
                <a:cubicBezTo>
                  <a:pt x="144" y="485"/>
                  <a:pt x="147" y="486"/>
                  <a:pt x="149" y="487"/>
                </a:cubicBezTo>
                <a:cubicBezTo>
                  <a:pt x="150" y="488"/>
                  <a:pt x="151" y="488"/>
                  <a:pt x="152" y="489"/>
                </a:cubicBezTo>
                <a:cubicBezTo>
                  <a:pt x="153" y="489"/>
                  <a:pt x="153" y="489"/>
                  <a:pt x="153" y="489"/>
                </a:cubicBezTo>
                <a:cubicBezTo>
                  <a:pt x="153" y="489"/>
                  <a:pt x="156" y="486"/>
                  <a:pt x="161" y="480"/>
                </a:cubicBezTo>
                <a:cubicBezTo>
                  <a:pt x="163" y="478"/>
                  <a:pt x="166" y="475"/>
                  <a:pt x="169" y="471"/>
                </a:cubicBezTo>
                <a:cubicBezTo>
                  <a:pt x="171" y="468"/>
                  <a:pt x="174" y="465"/>
                  <a:pt x="177" y="461"/>
                </a:cubicBezTo>
                <a:cubicBezTo>
                  <a:pt x="179" y="458"/>
                  <a:pt x="182" y="455"/>
                  <a:pt x="184" y="452"/>
                </a:cubicBezTo>
                <a:cubicBezTo>
                  <a:pt x="186" y="453"/>
                  <a:pt x="188" y="453"/>
                  <a:pt x="191" y="454"/>
                </a:cubicBezTo>
                <a:cubicBezTo>
                  <a:pt x="193" y="455"/>
                  <a:pt x="195" y="455"/>
                  <a:pt x="196" y="456"/>
                </a:cubicBezTo>
                <a:cubicBezTo>
                  <a:pt x="197" y="456"/>
                  <a:pt x="198" y="456"/>
                  <a:pt x="199" y="456"/>
                </a:cubicBezTo>
                <a:cubicBezTo>
                  <a:pt x="199" y="456"/>
                  <a:pt x="200" y="457"/>
                  <a:pt x="201" y="457"/>
                </a:cubicBezTo>
                <a:cubicBezTo>
                  <a:pt x="203" y="457"/>
                  <a:pt x="205" y="458"/>
                  <a:pt x="205" y="458"/>
                </a:cubicBezTo>
                <a:cubicBezTo>
                  <a:pt x="205" y="458"/>
                  <a:pt x="206" y="458"/>
                  <a:pt x="209" y="459"/>
                </a:cubicBezTo>
                <a:cubicBezTo>
                  <a:pt x="211" y="459"/>
                  <a:pt x="215" y="460"/>
                  <a:pt x="219" y="460"/>
                </a:cubicBezTo>
                <a:cubicBezTo>
                  <a:pt x="221" y="461"/>
                  <a:pt x="224" y="461"/>
                  <a:pt x="226" y="461"/>
                </a:cubicBezTo>
                <a:cubicBezTo>
                  <a:pt x="227" y="465"/>
                  <a:pt x="227" y="469"/>
                  <a:pt x="228" y="473"/>
                </a:cubicBezTo>
                <a:cubicBezTo>
                  <a:pt x="230" y="482"/>
                  <a:pt x="232" y="490"/>
                  <a:pt x="234" y="497"/>
                </a:cubicBezTo>
                <a:cubicBezTo>
                  <a:pt x="236" y="504"/>
                  <a:pt x="238" y="508"/>
                  <a:pt x="238" y="508"/>
                </a:cubicBezTo>
                <a:cubicBezTo>
                  <a:pt x="238" y="508"/>
                  <a:pt x="238" y="508"/>
                  <a:pt x="239" y="508"/>
                </a:cubicBezTo>
                <a:cubicBezTo>
                  <a:pt x="240" y="508"/>
                  <a:pt x="241" y="508"/>
                  <a:pt x="242" y="508"/>
                </a:cubicBezTo>
                <a:cubicBezTo>
                  <a:pt x="244" y="508"/>
                  <a:pt x="248" y="508"/>
                  <a:pt x="251" y="509"/>
                </a:cubicBezTo>
                <a:cubicBezTo>
                  <a:pt x="255" y="508"/>
                  <a:pt x="258" y="508"/>
                  <a:pt x="260" y="508"/>
                </a:cubicBezTo>
                <a:cubicBezTo>
                  <a:pt x="262" y="508"/>
                  <a:pt x="263" y="508"/>
                  <a:pt x="263" y="508"/>
                </a:cubicBezTo>
                <a:cubicBezTo>
                  <a:pt x="264" y="508"/>
                  <a:pt x="265" y="508"/>
                  <a:pt x="265" y="508"/>
                </a:cubicBezTo>
                <a:cubicBezTo>
                  <a:pt x="265" y="508"/>
                  <a:pt x="266" y="504"/>
                  <a:pt x="268" y="497"/>
                </a:cubicBezTo>
                <a:cubicBezTo>
                  <a:pt x="270" y="490"/>
                  <a:pt x="272" y="482"/>
                  <a:pt x="274" y="473"/>
                </a:cubicBezTo>
                <a:cubicBezTo>
                  <a:pt x="275" y="469"/>
                  <a:pt x="276" y="465"/>
                  <a:pt x="276" y="461"/>
                </a:cubicBezTo>
                <a:cubicBezTo>
                  <a:pt x="279" y="461"/>
                  <a:pt x="281" y="461"/>
                  <a:pt x="283" y="460"/>
                </a:cubicBezTo>
                <a:cubicBezTo>
                  <a:pt x="288" y="460"/>
                  <a:pt x="291" y="459"/>
                  <a:pt x="294" y="459"/>
                </a:cubicBezTo>
                <a:cubicBezTo>
                  <a:pt x="296" y="458"/>
                  <a:pt x="298" y="458"/>
                  <a:pt x="298" y="458"/>
                </a:cubicBezTo>
                <a:cubicBezTo>
                  <a:pt x="298" y="458"/>
                  <a:pt x="299" y="457"/>
                  <a:pt x="302" y="457"/>
                </a:cubicBezTo>
                <a:cubicBezTo>
                  <a:pt x="302" y="457"/>
                  <a:pt x="303" y="456"/>
                  <a:pt x="304" y="456"/>
                </a:cubicBezTo>
                <a:cubicBezTo>
                  <a:pt x="304" y="456"/>
                  <a:pt x="305" y="456"/>
                  <a:pt x="306" y="456"/>
                </a:cubicBezTo>
                <a:cubicBezTo>
                  <a:pt x="308" y="455"/>
                  <a:pt x="310" y="455"/>
                  <a:pt x="312" y="454"/>
                </a:cubicBezTo>
                <a:cubicBezTo>
                  <a:pt x="314" y="453"/>
                  <a:pt x="316" y="453"/>
                  <a:pt x="318" y="452"/>
                </a:cubicBezTo>
                <a:cubicBezTo>
                  <a:pt x="321" y="455"/>
                  <a:pt x="323" y="458"/>
                  <a:pt x="325" y="461"/>
                </a:cubicBezTo>
                <a:cubicBezTo>
                  <a:pt x="328" y="465"/>
                  <a:pt x="331" y="468"/>
                  <a:pt x="334" y="471"/>
                </a:cubicBezTo>
                <a:cubicBezTo>
                  <a:pt x="336" y="475"/>
                  <a:pt x="339" y="478"/>
                  <a:pt x="341" y="480"/>
                </a:cubicBezTo>
                <a:cubicBezTo>
                  <a:pt x="346" y="486"/>
                  <a:pt x="349" y="489"/>
                  <a:pt x="349" y="489"/>
                </a:cubicBezTo>
                <a:cubicBezTo>
                  <a:pt x="349" y="489"/>
                  <a:pt x="350" y="489"/>
                  <a:pt x="350" y="489"/>
                </a:cubicBezTo>
                <a:cubicBezTo>
                  <a:pt x="351" y="488"/>
                  <a:pt x="352" y="488"/>
                  <a:pt x="353" y="487"/>
                </a:cubicBezTo>
                <a:cubicBezTo>
                  <a:pt x="355" y="486"/>
                  <a:pt x="358" y="485"/>
                  <a:pt x="362" y="483"/>
                </a:cubicBezTo>
                <a:cubicBezTo>
                  <a:pt x="365" y="482"/>
                  <a:pt x="368" y="480"/>
                  <a:pt x="370" y="479"/>
                </a:cubicBezTo>
                <a:cubicBezTo>
                  <a:pt x="371" y="479"/>
                  <a:pt x="372" y="478"/>
                  <a:pt x="373" y="478"/>
                </a:cubicBezTo>
                <a:cubicBezTo>
                  <a:pt x="373" y="477"/>
                  <a:pt x="374" y="477"/>
                  <a:pt x="374" y="477"/>
                </a:cubicBezTo>
                <a:cubicBezTo>
                  <a:pt x="374" y="477"/>
                  <a:pt x="373" y="473"/>
                  <a:pt x="372" y="466"/>
                </a:cubicBezTo>
                <a:cubicBezTo>
                  <a:pt x="371" y="462"/>
                  <a:pt x="370" y="458"/>
                  <a:pt x="370" y="454"/>
                </a:cubicBezTo>
                <a:cubicBezTo>
                  <a:pt x="369" y="450"/>
                  <a:pt x="368" y="446"/>
                  <a:pt x="367" y="441"/>
                </a:cubicBezTo>
                <a:cubicBezTo>
                  <a:pt x="366" y="437"/>
                  <a:pt x="365" y="433"/>
                  <a:pt x="364" y="430"/>
                </a:cubicBezTo>
                <a:cubicBezTo>
                  <a:pt x="366" y="429"/>
                  <a:pt x="368" y="427"/>
                  <a:pt x="370" y="426"/>
                </a:cubicBezTo>
                <a:cubicBezTo>
                  <a:pt x="373" y="423"/>
                  <a:pt x="376" y="421"/>
                  <a:pt x="378" y="420"/>
                </a:cubicBezTo>
                <a:cubicBezTo>
                  <a:pt x="380" y="418"/>
                  <a:pt x="381" y="417"/>
                  <a:pt x="381" y="417"/>
                </a:cubicBezTo>
                <a:cubicBezTo>
                  <a:pt x="381" y="417"/>
                  <a:pt x="382" y="417"/>
                  <a:pt x="382" y="417"/>
                </a:cubicBezTo>
                <a:cubicBezTo>
                  <a:pt x="383" y="416"/>
                  <a:pt x="383" y="416"/>
                  <a:pt x="384" y="415"/>
                </a:cubicBezTo>
                <a:cubicBezTo>
                  <a:pt x="386" y="413"/>
                  <a:pt x="389" y="411"/>
                  <a:pt x="392" y="408"/>
                </a:cubicBezTo>
                <a:cubicBezTo>
                  <a:pt x="394" y="406"/>
                  <a:pt x="396" y="405"/>
                  <a:pt x="397" y="403"/>
                </a:cubicBezTo>
                <a:cubicBezTo>
                  <a:pt x="401" y="405"/>
                  <a:pt x="404" y="407"/>
                  <a:pt x="408" y="408"/>
                </a:cubicBezTo>
                <a:cubicBezTo>
                  <a:pt x="416" y="412"/>
                  <a:pt x="424" y="416"/>
                  <a:pt x="431" y="419"/>
                </a:cubicBezTo>
                <a:cubicBezTo>
                  <a:pt x="434" y="420"/>
                  <a:pt x="436" y="421"/>
                  <a:pt x="438" y="422"/>
                </a:cubicBezTo>
                <a:cubicBezTo>
                  <a:pt x="440" y="423"/>
                  <a:pt x="441" y="423"/>
                  <a:pt x="441" y="423"/>
                </a:cubicBezTo>
                <a:cubicBezTo>
                  <a:pt x="441" y="423"/>
                  <a:pt x="442" y="422"/>
                  <a:pt x="444" y="420"/>
                </a:cubicBezTo>
                <a:cubicBezTo>
                  <a:pt x="445" y="419"/>
                  <a:pt x="446" y="418"/>
                  <a:pt x="447" y="417"/>
                </a:cubicBezTo>
                <a:cubicBezTo>
                  <a:pt x="448" y="415"/>
                  <a:pt x="449" y="414"/>
                  <a:pt x="450" y="413"/>
                </a:cubicBezTo>
                <a:cubicBezTo>
                  <a:pt x="452" y="410"/>
                  <a:pt x="454" y="407"/>
                  <a:pt x="456" y="405"/>
                </a:cubicBezTo>
                <a:cubicBezTo>
                  <a:pt x="457" y="403"/>
                  <a:pt x="458" y="402"/>
                  <a:pt x="458" y="402"/>
                </a:cubicBezTo>
                <a:cubicBezTo>
                  <a:pt x="458" y="402"/>
                  <a:pt x="456" y="398"/>
                  <a:pt x="452" y="392"/>
                </a:cubicBezTo>
                <a:cubicBezTo>
                  <a:pt x="448" y="387"/>
                  <a:pt x="442" y="379"/>
                  <a:pt x="436" y="372"/>
                </a:cubicBezTo>
                <a:cubicBezTo>
                  <a:pt x="434" y="369"/>
                  <a:pt x="431" y="366"/>
                  <a:pt x="429" y="364"/>
                </a:cubicBezTo>
                <a:cubicBezTo>
                  <a:pt x="430" y="363"/>
                  <a:pt x="430" y="362"/>
                  <a:pt x="431" y="361"/>
                </a:cubicBezTo>
                <a:cubicBezTo>
                  <a:pt x="431" y="360"/>
                  <a:pt x="432" y="359"/>
                  <a:pt x="432" y="358"/>
                </a:cubicBezTo>
                <a:cubicBezTo>
                  <a:pt x="435" y="354"/>
                  <a:pt x="436" y="351"/>
                  <a:pt x="437" y="348"/>
                </a:cubicBezTo>
                <a:cubicBezTo>
                  <a:pt x="439" y="346"/>
                  <a:pt x="439" y="345"/>
                  <a:pt x="439" y="345"/>
                </a:cubicBezTo>
                <a:cubicBezTo>
                  <a:pt x="439" y="345"/>
                  <a:pt x="440" y="343"/>
                  <a:pt x="441" y="341"/>
                </a:cubicBezTo>
                <a:cubicBezTo>
                  <a:pt x="442" y="339"/>
                  <a:pt x="444" y="335"/>
                  <a:pt x="445" y="331"/>
                </a:cubicBezTo>
                <a:cubicBezTo>
                  <a:pt x="446" y="329"/>
                  <a:pt x="447" y="327"/>
                  <a:pt x="448" y="325"/>
                </a:cubicBezTo>
                <a:cubicBezTo>
                  <a:pt x="451" y="325"/>
                  <a:pt x="455" y="325"/>
                  <a:pt x="459" y="325"/>
                </a:cubicBezTo>
                <a:cubicBezTo>
                  <a:pt x="464" y="325"/>
                  <a:pt x="468" y="325"/>
                  <a:pt x="473" y="325"/>
                </a:cubicBezTo>
                <a:cubicBezTo>
                  <a:pt x="475" y="325"/>
                  <a:pt x="477" y="325"/>
                  <a:pt x="479" y="325"/>
                </a:cubicBezTo>
                <a:cubicBezTo>
                  <a:pt x="481" y="325"/>
                  <a:pt x="483" y="325"/>
                  <a:pt x="484" y="325"/>
                </a:cubicBezTo>
                <a:cubicBezTo>
                  <a:pt x="491" y="324"/>
                  <a:pt x="496" y="324"/>
                  <a:pt x="496" y="324"/>
                </a:cubicBezTo>
                <a:cubicBezTo>
                  <a:pt x="496" y="324"/>
                  <a:pt x="496" y="322"/>
                  <a:pt x="497" y="320"/>
                </a:cubicBezTo>
                <a:cubicBezTo>
                  <a:pt x="497" y="319"/>
                  <a:pt x="497" y="318"/>
                  <a:pt x="498" y="318"/>
                </a:cubicBezTo>
                <a:cubicBezTo>
                  <a:pt x="498" y="317"/>
                  <a:pt x="498" y="316"/>
                  <a:pt x="498" y="316"/>
                </a:cubicBezTo>
                <a:cubicBezTo>
                  <a:pt x="498" y="314"/>
                  <a:pt x="499" y="312"/>
                  <a:pt x="499" y="311"/>
                </a:cubicBezTo>
                <a:cubicBezTo>
                  <a:pt x="500" y="309"/>
                  <a:pt x="500" y="307"/>
                  <a:pt x="500" y="306"/>
                </a:cubicBezTo>
                <a:cubicBezTo>
                  <a:pt x="501" y="304"/>
                  <a:pt x="501" y="303"/>
                  <a:pt x="501" y="302"/>
                </a:cubicBezTo>
                <a:cubicBezTo>
                  <a:pt x="502" y="299"/>
                  <a:pt x="502" y="297"/>
                  <a:pt x="502" y="297"/>
                </a:cubicBezTo>
                <a:cubicBezTo>
                  <a:pt x="502" y="297"/>
                  <a:pt x="498" y="295"/>
                  <a:pt x="492" y="292"/>
                </a:cubicBezTo>
                <a:cubicBezTo>
                  <a:pt x="486" y="288"/>
                  <a:pt x="477" y="284"/>
                  <a:pt x="469" y="280"/>
                </a:cubicBezTo>
                <a:close/>
                <a:moveTo>
                  <a:pt x="251" y="408"/>
                </a:moveTo>
                <a:cubicBezTo>
                  <a:pt x="166" y="408"/>
                  <a:pt x="98" y="339"/>
                  <a:pt x="98" y="254"/>
                </a:cubicBezTo>
                <a:cubicBezTo>
                  <a:pt x="98" y="169"/>
                  <a:pt x="166" y="101"/>
                  <a:pt x="251" y="101"/>
                </a:cubicBezTo>
                <a:cubicBezTo>
                  <a:pt x="336" y="101"/>
                  <a:pt x="405" y="169"/>
                  <a:pt x="405" y="254"/>
                </a:cubicBezTo>
                <a:cubicBezTo>
                  <a:pt x="405" y="339"/>
                  <a:pt x="336" y="408"/>
                  <a:pt x="251" y="40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03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6C34C7B3-5FD5-4AB7-AA2C-FA089A3A01FD}"/>
              </a:ext>
            </a:extLst>
          </p:cNvPr>
          <p:cNvSpPr/>
          <p:nvPr/>
        </p:nvSpPr>
        <p:spPr bwMode="auto">
          <a:xfrm>
            <a:off x="4529932" y="3403600"/>
            <a:ext cx="1239837" cy="1255713"/>
          </a:xfrm>
          <a:custGeom>
            <a:avLst/>
            <a:gdLst>
              <a:gd name="T0" fmla="*/ 302 w 330"/>
              <a:gd name="T1" fmla="*/ 167 h 334"/>
              <a:gd name="T2" fmla="*/ 323 w 330"/>
              <a:gd name="T3" fmla="*/ 143 h 334"/>
              <a:gd name="T4" fmla="*/ 327 w 330"/>
              <a:gd name="T5" fmla="*/ 127 h 334"/>
              <a:gd name="T6" fmla="*/ 314 w 330"/>
              <a:gd name="T7" fmla="*/ 121 h 334"/>
              <a:gd name="T8" fmla="*/ 290 w 330"/>
              <a:gd name="T9" fmla="*/ 110 h 334"/>
              <a:gd name="T10" fmla="*/ 282 w 330"/>
              <a:gd name="T11" fmla="*/ 95 h 334"/>
              <a:gd name="T12" fmla="*/ 296 w 330"/>
              <a:gd name="T13" fmla="*/ 63 h 334"/>
              <a:gd name="T14" fmla="*/ 283 w 330"/>
              <a:gd name="T15" fmla="*/ 59 h 334"/>
              <a:gd name="T16" fmla="*/ 251 w 330"/>
              <a:gd name="T17" fmla="*/ 60 h 334"/>
              <a:gd name="T18" fmla="*/ 241 w 330"/>
              <a:gd name="T19" fmla="*/ 44 h 334"/>
              <a:gd name="T20" fmla="*/ 243 w 330"/>
              <a:gd name="T21" fmla="*/ 19 h 334"/>
              <a:gd name="T22" fmla="*/ 224 w 330"/>
              <a:gd name="T23" fmla="*/ 19 h 334"/>
              <a:gd name="T24" fmla="*/ 201 w 330"/>
              <a:gd name="T25" fmla="*/ 35 h 334"/>
              <a:gd name="T26" fmla="*/ 186 w 330"/>
              <a:gd name="T27" fmla="*/ 32 h 334"/>
              <a:gd name="T28" fmla="*/ 173 w 330"/>
              <a:gd name="T29" fmla="*/ 0 h 334"/>
              <a:gd name="T30" fmla="*/ 156 w 330"/>
              <a:gd name="T31" fmla="*/ 0 h 334"/>
              <a:gd name="T32" fmla="*/ 137 w 330"/>
              <a:gd name="T33" fmla="*/ 33 h 334"/>
              <a:gd name="T34" fmla="*/ 125 w 330"/>
              <a:gd name="T35" fmla="*/ 36 h 334"/>
              <a:gd name="T36" fmla="*/ 101 w 330"/>
              <a:gd name="T37" fmla="*/ 13 h 334"/>
              <a:gd name="T38" fmla="*/ 85 w 330"/>
              <a:gd name="T39" fmla="*/ 20 h 334"/>
              <a:gd name="T40" fmla="*/ 91 w 330"/>
              <a:gd name="T41" fmla="*/ 52 h 334"/>
              <a:gd name="T42" fmla="*/ 77 w 330"/>
              <a:gd name="T43" fmla="*/ 62 h 334"/>
              <a:gd name="T44" fmla="*/ 42 w 330"/>
              <a:gd name="T45" fmla="*/ 57 h 334"/>
              <a:gd name="T46" fmla="*/ 31 w 330"/>
              <a:gd name="T47" fmla="*/ 68 h 334"/>
              <a:gd name="T48" fmla="*/ 47 w 330"/>
              <a:gd name="T49" fmla="*/ 97 h 334"/>
              <a:gd name="T50" fmla="*/ 38 w 330"/>
              <a:gd name="T51" fmla="*/ 117 h 334"/>
              <a:gd name="T52" fmla="*/ 12 w 330"/>
              <a:gd name="T53" fmla="*/ 121 h 334"/>
              <a:gd name="T54" fmla="*/ 2 w 330"/>
              <a:gd name="T55" fmla="*/ 130 h 334"/>
              <a:gd name="T56" fmla="*/ 22 w 330"/>
              <a:gd name="T57" fmla="*/ 150 h 334"/>
              <a:gd name="T58" fmla="*/ 28 w 330"/>
              <a:gd name="T59" fmla="*/ 170 h 334"/>
              <a:gd name="T60" fmla="*/ 0 w 330"/>
              <a:gd name="T61" fmla="*/ 196 h 334"/>
              <a:gd name="T62" fmla="*/ 3 w 330"/>
              <a:gd name="T63" fmla="*/ 209 h 334"/>
              <a:gd name="T64" fmla="*/ 19 w 330"/>
              <a:gd name="T65" fmla="*/ 214 h 334"/>
              <a:gd name="T66" fmla="*/ 41 w 330"/>
              <a:gd name="T67" fmla="*/ 227 h 334"/>
              <a:gd name="T68" fmla="*/ 43 w 330"/>
              <a:gd name="T69" fmla="*/ 245 h 334"/>
              <a:gd name="T70" fmla="*/ 36 w 330"/>
              <a:gd name="T71" fmla="*/ 274 h 334"/>
              <a:gd name="T72" fmla="*/ 62 w 330"/>
              <a:gd name="T73" fmla="*/ 268 h 334"/>
              <a:gd name="T74" fmla="*/ 79 w 330"/>
              <a:gd name="T75" fmla="*/ 274 h 334"/>
              <a:gd name="T76" fmla="*/ 87 w 330"/>
              <a:gd name="T77" fmla="*/ 299 h 334"/>
              <a:gd name="T78" fmla="*/ 92 w 330"/>
              <a:gd name="T79" fmla="*/ 318 h 334"/>
              <a:gd name="T80" fmla="*/ 111 w 330"/>
              <a:gd name="T81" fmla="*/ 310 h 334"/>
              <a:gd name="T82" fmla="*/ 130 w 330"/>
              <a:gd name="T83" fmla="*/ 300 h 334"/>
              <a:gd name="T84" fmla="*/ 148 w 330"/>
              <a:gd name="T85" fmla="*/ 303 h 334"/>
              <a:gd name="T86" fmla="*/ 159 w 330"/>
              <a:gd name="T87" fmla="*/ 334 h 334"/>
              <a:gd name="T88" fmla="*/ 176 w 330"/>
              <a:gd name="T89" fmla="*/ 327 h 334"/>
              <a:gd name="T90" fmla="*/ 195 w 330"/>
              <a:gd name="T91" fmla="*/ 301 h 334"/>
              <a:gd name="T92" fmla="*/ 209 w 330"/>
              <a:gd name="T93" fmla="*/ 297 h 334"/>
              <a:gd name="T94" fmla="*/ 230 w 330"/>
              <a:gd name="T95" fmla="*/ 321 h 334"/>
              <a:gd name="T96" fmla="*/ 245 w 330"/>
              <a:gd name="T97" fmla="*/ 314 h 334"/>
              <a:gd name="T98" fmla="*/ 243 w 330"/>
              <a:gd name="T99" fmla="*/ 280 h 334"/>
              <a:gd name="T100" fmla="*/ 258 w 330"/>
              <a:gd name="T101" fmla="*/ 268 h 334"/>
              <a:gd name="T102" fmla="*/ 290 w 330"/>
              <a:gd name="T103" fmla="*/ 278 h 334"/>
              <a:gd name="T104" fmla="*/ 301 w 330"/>
              <a:gd name="T105" fmla="*/ 264 h 334"/>
              <a:gd name="T106" fmla="*/ 284 w 330"/>
              <a:gd name="T107" fmla="*/ 235 h 334"/>
              <a:gd name="T108" fmla="*/ 294 w 330"/>
              <a:gd name="T109" fmla="*/ 214 h 334"/>
              <a:gd name="T110" fmla="*/ 326 w 330"/>
              <a:gd name="T111" fmla="*/ 213 h 334"/>
              <a:gd name="T112" fmla="*/ 329 w 330"/>
              <a:gd name="T113" fmla="*/ 201 h 334"/>
              <a:gd name="T114" fmla="*/ 165 w 330"/>
              <a:gd name="T115" fmla="*/ 268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30" h="334">
                <a:moveTo>
                  <a:pt x="308" y="184"/>
                </a:moveTo>
                <a:cubicBezTo>
                  <a:pt x="306" y="183"/>
                  <a:pt x="304" y="182"/>
                  <a:pt x="301" y="181"/>
                </a:cubicBezTo>
                <a:cubicBezTo>
                  <a:pt x="301" y="180"/>
                  <a:pt x="302" y="178"/>
                  <a:pt x="302" y="177"/>
                </a:cubicBezTo>
                <a:cubicBezTo>
                  <a:pt x="302" y="174"/>
                  <a:pt x="302" y="172"/>
                  <a:pt x="302" y="170"/>
                </a:cubicBezTo>
                <a:cubicBezTo>
                  <a:pt x="302" y="168"/>
                  <a:pt x="302" y="167"/>
                  <a:pt x="302" y="167"/>
                </a:cubicBezTo>
                <a:cubicBezTo>
                  <a:pt x="302" y="167"/>
                  <a:pt x="302" y="166"/>
                  <a:pt x="302" y="165"/>
                </a:cubicBezTo>
                <a:cubicBezTo>
                  <a:pt x="302" y="163"/>
                  <a:pt x="302" y="161"/>
                  <a:pt x="302" y="158"/>
                </a:cubicBezTo>
                <a:cubicBezTo>
                  <a:pt x="302" y="156"/>
                  <a:pt x="301" y="155"/>
                  <a:pt x="301" y="153"/>
                </a:cubicBezTo>
                <a:cubicBezTo>
                  <a:pt x="304" y="152"/>
                  <a:pt x="306" y="151"/>
                  <a:pt x="308" y="150"/>
                </a:cubicBezTo>
                <a:cubicBezTo>
                  <a:pt x="314" y="147"/>
                  <a:pt x="319" y="145"/>
                  <a:pt x="323" y="143"/>
                </a:cubicBezTo>
                <a:cubicBezTo>
                  <a:pt x="327" y="140"/>
                  <a:pt x="330" y="139"/>
                  <a:pt x="330" y="139"/>
                </a:cubicBezTo>
                <a:cubicBezTo>
                  <a:pt x="330" y="139"/>
                  <a:pt x="329" y="138"/>
                  <a:pt x="329" y="136"/>
                </a:cubicBezTo>
                <a:cubicBezTo>
                  <a:pt x="329" y="135"/>
                  <a:pt x="329" y="134"/>
                  <a:pt x="329" y="133"/>
                </a:cubicBezTo>
                <a:cubicBezTo>
                  <a:pt x="328" y="132"/>
                  <a:pt x="328" y="131"/>
                  <a:pt x="328" y="130"/>
                </a:cubicBezTo>
                <a:cubicBezTo>
                  <a:pt x="328" y="129"/>
                  <a:pt x="327" y="128"/>
                  <a:pt x="327" y="127"/>
                </a:cubicBezTo>
                <a:cubicBezTo>
                  <a:pt x="327" y="126"/>
                  <a:pt x="327" y="126"/>
                  <a:pt x="327" y="125"/>
                </a:cubicBezTo>
                <a:cubicBezTo>
                  <a:pt x="327" y="125"/>
                  <a:pt x="327" y="125"/>
                  <a:pt x="326" y="124"/>
                </a:cubicBezTo>
                <a:cubicBezTo>
                  <a:pt x="326" y="123"/>
                  <a:pt x="326" y="121"/>
                  <a:pt x="326" y="121"/>
                </a:cubicBezTo>
                <a:cubicBezTo>
                  <a:pt x="326" y="121"/>
                  <a:pt x="323" y="121"/>
                  <a:pt x="318" y="121"/>
                </a:cubicBezTo>
                <a:cubicBezTo>
                  <a:pt x="317" y="121"/>
                  <a:pt x="316" y="121"/>
                  <a:pt x="314" y="121"/>
                </a:cubicBezTo>
                <a:cubicBezTo>
                  <a:pt x="313" y="121"/>
                  <a:pt x="312" y="121"/>
                  <a:pt x="310" y="121"/>
                </a:cubicBezTo>
                <a:cubicBezTo>
                  <a:pt x="308" y="121"/>
                  <a:pt x="304" y="121"/>
                  <a:pt x="301" y="121"/>
                </a:cubicBezTo>
                <a:cubicBezTo>
                  <a:pt x="299" y="121"/>
                  <a:pt x="296" y="121"/>
                  <a:pt x="294" y="121"/>
                </a:cubicBezTo>
                <a:cubicBezTo>
                  <a:pt x="293" y="119"/>
                  <a:pt x="293" y="118"/>
                  <a:pt x="292" y="117"/>
                </a:cubicBezTo>
                <a:cubicBezTo>
                  <a:pt x="291" y="114"/>
                  <a:pt x="290" y="112"/>
                  <a:pt x="290" y="110"/>
                </a:cubicBezTo>
                <a:cubicBezTo>
                  <a:pt x="289" y="109"/>
                  <a:pt x="288" y="108"/>
                  <a:pt x="288" y="108"/>
                </a:cubicBezTo>
                <a:cubicBezTo>
                  <a:pt x="288" y="108"/>
                  <a:pt x="288" y="107"/>
                  <a:pt x="287" y="105"/>
                </a:cubicBezTo>
                <a:cubicBezTo>
                  <a:pt x="287" y="104"/>
                  <a:pt x="285" y="102"/>
                  <a:pt x="284" y="99"/>
                </a:cubicBezTo>
                <a:cubicBezTo>
                  <a:pt x="284" y="99"/>
                  <a:pt x="283" y="98"/>
                  <a:pt x="283" y="97"/>
                </a:cubicBezTo>
                <a:cubicBezTo>
                  <a:pt x="282" y="97"/>
                  <a:pt x="282" y="96"/>
                  <a:pt x="282" y="95"/>
                </a:cubicBezTo>
                <a:cubicBezTo>
                  <a:pt x="283" y="93"/>
                  <a:pt x="285" y="92"/>
                  <a:pt x="287" y="90"/>
                </a:cubicBezTo>
                <a:cubicBezTo>
                  <a:pt x="290" y="85"/>
                  <a:pt x="294" y="80"/>
                  <a:pt x="297" y="76"/>
                </a:cubicBezTo>
                <a:cubicBezTo>
                  <a:pt x="299" y="73"/>
                  <a:pt x="301" y="70"/>
                  <a:pt x="301" y="70"/>
                </a:cubicBezTo>
                <a:cubicBezTo>
                  <a:pt x="301" y="70"/>
                  <a:pt x="300" y="69"/>
                  <a:pt x="299" y="68"/>
                </a:cubicBezTo>
                <a:cubicBezTo>
                  <a:pt x="298" y="67"/>
                  <a:pt x="297" y="65"/>
                  <a:pt x="296" y="63"/>
                </a:cubicBezTo>
                <a:cubicBezTo>
                  <a:pt x="295" y="62"/>
                  <a:pt x="294" y="61"/>
                  <a:pt x="294" y="60"/>
                </a:cubicBezTo>
                <a:cubicBezTo>
                  <a:pt x="293" y="60"/>
                  <a:pt x="292" y="59"/>
                  <a:pt x="292" y="58"/>
                </a:cubicBezTo>
                <a:cubicBezTo>
                  <a:pt x="291" y="57"/>
                  <a:pt x="290" y="56"/>
                  <a:pt x="290" y="56"/>
                </a:cubicBezTo>
                <a:cubicBezTo>
                  <a:pt x="290" y="56"/>
                  <a:pt x="289" y="57"/>
                  <a:pt x="288" y="57"/>
                </a:cubicBezTo>
                <a:cubicBezTo>
                  <a:pt x="287" y="57"/>
                  <a:pt x="285" y="58"/>
                  <a:pt x="283" y="59"/>
                </a:cubicBezTo>
                <a:cubicBezTo>
                  <a:pt x="279" y="61"/>
                  <a:pt x="273" y="63"/>
                  <a:pt x="268" y="66"/>
                </a:cubicBezTo>
                <a:cubicBezTo>
                  <a:pt x="265" y="67"/>
                  <a:pt x="263" y="68"/>
                  <a:pt x="261" y="69"/>
                </a:cubicBezTo>
                <a:cubicBezTo>
                  <a:pt x="260" y="68"/>
                  <a:pt x="259" y="67"/>
                  <a:pt x="258" y="66"/>
                </a:cubicBezTo>
                <a:cubicBezTo>
                  <a:pt x="256" y="64"/>
                  <a:pt x="254" y="63"/>
                  <a:pt x="252" y="62"/>
                </a:cubicBezTo>
                <a:cubicBezTo>
                  <a:pt x="252" y="61"/>
                  <a:pt x="251" y="61"/>
                  <a:pt x="251" y="60"/>
                </a:cubicBezTo>
                <a:cubicBezTo>
                  <a:pt x="251" y="60"/>
                  <a:pt x="250" y="60"/>
                  <a:pt x="250" y="60"/>
                </a:cubicBezTo>
                <a:cubicBezTo>
                  <a:pt x="250" y="60"/>
                  <a:pt x="250" y="59"/>
                  <a:pt x="248" y="58"/>
                </a:cubicBezTo>
                <a:cubicBezTo>
                  <a:pt x="247" y="57"/>
                  <a:pt x="245" y="56"/>
                  <a:pt x="243" y="54"/>
                </a:cubicBezTo>
                <a:cubicBezTo>
                  <a:pt x="242" y="54"/>
                  <a:pt x="240" y="53"/>
                  <a:pt x="239" y="52"/>
                </a:cubicBezTo>
                <a:cubicBezTo>
                  <a:pt x="240" y="49"/>
                  <a:pt x="240" y="47"/>
                  <a:pt x="241" y="44"/>
                </a:cubicBezTo>
                <a:cubicBezTo>
                  <a:pt x="242" y="42"/>
                  <a:pt x="242" y="39"/>
                  <a:pt x="243" y="36"/>
                </a:cubicBezTo>
                <a:cubicBezTo>
                  <a:pt x="243" y="33"/>
                  <a:pt x="244" y="31"/>
                  <a:pt x="244" y="28"/>
                </a:cubicBezTo>
                <a:cubicBezTo>
                  <a:pt x="245" y="24"/>
                  <a:pt x="245" y="21"/>
                  <a:pt x="245" y="21"/>
                </a:cubicBezTo>
                <a:cubicBezTo>
                  <a:pt x="245" y="21"/>
                  <a:pt x="245" y="21"/>
                  <a:pt x="245" y="20"/>
                </a:cubicBezTo>
                <a:cubicBezTo>
                  <a:pt x="244" y="20"/>
                  <a:pt x="244" y="20"/>
                  <a:pt x="243" y="19"/>
                </a:cubicBezTo>
                <a:cubicBezTo>
                  <a:pt x="241" y="19"/>
                  <a:pt x="239" y="18"/>
                  <a:pt x="237" y="17"/>
                </a:cubicBezTo>
                <a:cubicBezTo>
                  <a:pt x="235" y="16"/>
                  <a:pt x="233" y="15"/>
                  <a:pt x="232" y="14"/>
                </a:cubicBezTo>
                <a:cubicBezTo>
                  <a:pt x="231" y="14"/>
                  <a:pt x="230" y="13"/>
                  <a:pt x="230" y="13"/>
                </a:cubicBezTo>
                <a:cubicBezTo>
                  <a:pt x="230" y="13"/>
                  <a:pt x="229" y="13"/>
                  <a:pt x="229" y="13"/>
                </a:cubicBezTo>
                <a:cubicBezTo>
                  <a:pt x="229" y="13"/>
                  <a:pt x="227" y="15"/>
                  <a:pt x="224" y="19"/>
                </a:cubicBezTo>
                <a:cubicBezTo>
                  <a:pt x="223" y="20"/>
                  <a:pt x="221" y="22"/>
                  <a:pt x="219" y="24"/>
                </a:cubicBezTo>
                <a:cubicBezTo>
                  <a:pt x="217" y="27"/>
                  <a:pt x="215" y="29"/>
                  <a:pt x="214" y="31"/>
                </a:cubicBezTo>
                <a:cubicBezTo>
                  <a:pt x="212" y="33"/>
                  <a:pt x="211" y="35"/>
                  <a:pt x="209" y="37"/>
                </a:cubicBezTo>
                <a:cubicBezTo>
                  <a:pt x="208" y="37"/>
                  <a:pt x="206" y="36"/>
                  <a:pt x="205" y="36"/>
                </a:cubicBezTo>
                <a:cubicBezTo>
                  <a:pt x="203" y="36"/>
                  <a:pt x="202" y="35"/>
                  <a:pt x="201" y="35"/>
                </a:cubicBezTo>
                <a:cubicBezTo>
                  <a:pt x="200" y="35"/>
                  <a:pt x="200" y="35"/>
                  <a:pt x="199" y="34"/>
                </a:cubicBezTo>
                <a:cubicBezTo>
                  <a:pt x="199" y="34"/>
                  <a:pt x="198" y="34"/>
                  <a:pt x="198" y="34"/>
                </a:cubicBezTo>
                <a:cubicBezTo>
                  <a:pt x="196" y="34"/>
                  <a:pt x="195" y="34"/>
                  <a:pt x="195" y="34"/>
                </a:cubicBezTo>
                <a:cubicBezTo>
                  <a:pt x="195" y="34"/>
                  <a:pt x="194" y="33"/>
                  <a:pt x="193" y="33"/>
                </a:cubicBezTo>
                <a:cubicBezTo>
                  <a:pt x="191" y="33"/>
                  <a:pt x="189" y="32"/>
                  <a:pt x="186" y="32"/>
                </a:cubicBezTo>
                <a:cubicBezTo>
                  <a:pt x="185" y="32"/>
                  <a:pt x="183" y="31"/>
                  <a:pt x="181" y="31"/>
                </a:cubicBezTo>
                <a:cubicBezTo>
                  <a:pt x="181" y="29"/>
                  <a:pt x="181" y="26"/>
                  <a:pt x="180" y="24"/>
                </a:cubicBezTo>
                <a:cubicBezTo>
                  <a:pt x="179" y="18"/>
                  <a:pt x="177" y="12"/>
                  <a:pt x="176" y="8"/>
                </a:cubicBezTo>
                <a:cubicBezTo>
                  <a:pt x="175" y="3"/>
                  <a:pt x="174" y="0"/>
                  <a:pt x="174" y="0"/>
                </a:cubicBezTo>
                <a:cubicBezTo>
                  <a:pt x="174" y="0"/>
                  <a:pt x="174" y="0"/>
                  <a:pt x="173" y="0"/>
                </a:cubicBezTo>
                <a:cubicBezTo>
                  <a:pt x="173" y="0"/>
                  <a:pt x="172" y="0"/>
                  <a:pt x="171" y="0"/>
                </a:cubicBezTo>
                <a:cubicBezTo>
                  <a:pt x="169" y="0"/>
                  <a:pt x="167" y="0"/>
                  <a:pt x="165" y="0"/>
                </a:cubicBezTo>
                <a:cubicBezTo>
                  <a:pt x="163" y="0"/>
                  <a:pt x="160" y="0"/>
                  <a:pt x="159" y="0"/>
                </a:cubicBezTo>
                <a:cubicBezTo>
                  <a:pt x="158" y="0"/>
                  <a:pt x="157" y="0"/>
                  <a:pt x="157" y="0"/>
                </a:cubicBezTo>
                <a:cubicBezTo>
                  <a:pt x="156" y="0"/>
                  <a:pt x="156" y="0"/>
                  <a:pt x="156" y="0"/>
                </a:cubicBezTo>
                <a:cubicBezTo>
                  <a:pt x="156" y="0"/>
                  <a:pt x="155" y="3"/>
                  <a:pt x="154" y="8"/>
                </a:cubicBezTo>
                <a:cubicBezTo>
                  <a:pt x="153" y="12"/>
                  <a:pt x="151" y="18"/>
                  <a:pt x="150" y="24"/>
                </a:cubicBezTo>
                <a:cubicBezTo>
                  <a:pt x="149" y="26"/>
                  <a:pt x="149" y="29"/>
                  <a:pt x="148" y="31"/>
                </a:cubicBezTo>
                <a:cubicBezTo>
                  <a:pt x="147" y="31"/>
                  <a:pt x="145" y="32"/>
                  <a:pt x="144" y="32"/>
                </a:cubicBezTo>
                <a:cubicBezTo>
                  <a:pt x="141" y="32"/>
                  <a:pt x="139" y="33"/>
                  <a:pt x="137" y="33"/>
                </a:cubicBezTo>
                <a:cubicBezTo>
                  <a:pt x="135" y="33"/>
                  <a:pt x="134" y="34"/>
                  <a:pt x="134" y="34"/>
                </a:cubicBezTo>
                <a:cubicBezTo>
                  <a:pt x="134" y="34"/>
                  <a:pt x="133" y="34"/>
                  <a:pt x="132" y="34"/>
                </a:cubicBezTo>
                <a:cubicBezTo>
                  <a:pt x="131" y="34"/>
                  <a:pt x="131" y="34"/>
                  <a:pt x="130" y="34"/>
                </a:cubicBezTo>
                <a:cubicBezTo>
                  <a:pt x="130" y="35"/>
                  <a:pt x="129" y="35"/>
                  <a:pt x="129" y="35"/>
                </a:cubicBezTo>
                <a:cubicBezTo>
                  <a:pt x="128" y="35"/>
                  <a:pt x="126" y="36"/>
                  <a:pt x="125" y="36"/>
                </a:cubicBezTo>
                <a:cubicBezTo>
                  <a:pt x="124" y="36"/>
                  <a:pt x="122" y="37"/>
                  <a:pt x="121" y="37"/>
                </a:cubicBezTo>
                <a:cubicBezTo>
                  <a:pt x="119" y="35"/>
                  <a:pt x="118" y="33"/>
                  <a:pt x="116" y="31"/>
                </a:cubicBezTo>
                <a:cubicBezTo>
                  <a:pt x="114" y="29"/>
                  <a:pt x="112" y="27"/>
                  <a:pt x="111" y="24"/>
                </a:cubicBezTo>
                <a:cubicBezTo>
                  <a:pt x="109" y="22"/>
                  <a:pt x="107" y="20"/>
                  <a:pt x="106" y="19"/>
                </a:cubicBezTo>
                <a:cubicBezTo>
                  <a:pt x="103" y="15"/>
                  <a:pt x="101" y="13"/>
                  <a:pt x="101" y="13"/>
                </a:cubicBezTo>
                <a:cubicBezTo>
                  <a:pt x="101" y="13"/>
                  <a:pt x="100" y="13"/>
                  <a:pt x="100" y="13"/>
                </a:cubicBezTo>
                <a:cubicBezTo>
                  <a:pt x="99" y="13"/>
                  <a:pt x="99" y="14"/>
                  <a:pt x="98" y="14"/>
                </a:cubicBezTo>
                <a:cubicBezTo>
                  <a:pt x="96" y="15"/>
                  <a:pt x="94" y="16"/>
                  <a:pt x="92" y="17"/>
                </a:cubicBezTo>
                <a:cubicBezTo>
                  <a:pt x="90" y="18"/>
                  <a:pt x="88" y="19"/>
                  <a:pt x="87" y="19"/>
                </a:cubicBezTo>
                <a:cubicBezTo>
                  <a:pt x="86" y="20"/>
                  <a:pt x="86" y="20"/>
                  <a:pt x="85" y="20"/>
                </a:cubicBezTo>
                <a:cubicBezTo>
                  <a:pt x="85" y="21"/>
                  <a:pt x="84" y="21"/>
                  <a:pt x="84" y="21"/>
                </a:cubicBezTo>
                <a:cubicBezTo>
                  <a:pt x="84" y="21"/>
                  <a:pt x="85" y="24"/>
                  <a:pt x="86" y="28"/>
                </a:cubicBezTo>
                <a:cubicBezTo>
                  <a:pt x="86" y="31"/>
                  <a:pt x="87" y="33"/>
                  <a:pt x="87" y="36"/>
                </a:cubicBezTo>
                <a:cubicBezTo>
                  <a:pt x="88" y="39"/>
                  <a:pt x="88" y="42"/>
                  <a:pt x="89" y="44"/>
                </a:cubicBezTo>
                <a:cubicBezTo>
                  <a:pt x="90" y="47"/>
                  <a:pt x="90" y="49"/>
                  <a:pt x="91" y="52"/>
                </a:cubicBezTo>
                <a:cubicBezTo>
                  <a:pt x="90" y="53"/>
                  <a:pt x="88" y="54"/>
                  <a:pt x="87" y="54"/>
                </a:cubicBezTo>
                <a:cubicBezTo>
                  <a:pt x="85" y="56"/>
                  <a:pt x="83" y="57"/>
                  <a:pt x="82" y="58"/>
                </a:cubicBezTo>
                <a:cubicBezTo>
                  <a:pt x="80" y="59"/>
                  <a:pt x="79" y="60"/>
                  <a:pt x="79" y="60"/>
                </a:cubicBezTo>
                <a:cubicBezTo>
                  <a:pt x="79" y="60"/>
                  <a:pt x="79" y="60"/>
                  <a:pt x="79" y="60"/>
                </a:cubicBezTo>
                <a:cubicBezTo>
                  <a:pt x="79" y="61"/>
                  <a:pt x="78" y="61"/>
                  <a:pt x="77" y="62"/>
                </a:cubicBezTo>
                <a:cubicBezTo>
                  <a:pt x="76" y="63"/>
                  <a:pt x="74" y="64"/>
                  <a:pt x="72" y="66"/>
                </a:cubicBezTo>
                <a:cubicBezTo>
                  <a:pt x="71" y="67"/>
                  <a:pt x="70" y="68"/>
                  <a:pt x="69" y="69"/>
                </a:cubicBezTo>
                <a:cubicBezTo>
                  <a:pt x="67" y="68"/>
                  <a:pt x="64" y="67"/>
                  <a:pt x="62" y="66"/>
                </a:cubicBezTo>
                <a:cubicBezTo>
                  <a:pt x="57" y="63"/>
                  <a:pt x="51" y="61"/>
                  <a:pt x="47" y="59"/>
                </a:cubicBezTo>
                <a:cubicBezTo>
                  <a:pt x="45" y="58"/>
                  <a:pt x="43" y="57"/>
                  <a:pt x="42" y="57"/>
                </a:cubicBezTo>
                <a:cubicBezTo>
                  <a:pt x="41" y="57"/>
                  <a:pt x="40" y="56"/>
                  <a:pt x="40" y="56"/>
                </a:cubicBezTo>
                <a:cubicBezTo>
                  <a:pt x="40" y="56"/>
                  <a:pt x="39" y="57"/>
                  <a:pt x="38" y="58"/>
                </a:cubicBezTo>
                <a:cubicBezTo>
                  <a:pt x="38" y="59"/>
                  <a:pt x="37" y="60"/>
                  <a:pt x="36" y="60"/>
                </a:cubicBezTo>
                <a:cubicBezTo>
                  <a:pt x="36" y="61"/>
                  <a:pt x="35" y="62"/>
                  <a:pt x="34" y="63"/>
                </a:cubicBezTo>
                <a:cubicBezTo>
                  <a:pt x="33" y="65"/>
                  <a:pt x="32" y="67"/>
                  <a:pt x="31" y="68"/>
                </a:cubicBezTo>
                <a:cubicBezTo>
                  <a:pt x="30" y="69"/>
                  <a:pt x="29" y="70"/>
                  <a:pt x="29" y="70"/>
                </a:cubicBezTo>
                <a:cubicBezTo>
                  <a:pt x="29" y="70"/>
                  <a:pt x="31" y="73"/>
                  <a:pt x="33" y="76"/>
                </a:cubicBezTo>
                <a:cubicBezTo>
                  <a:pt x="36" y="80"/>
                  <a:pt x="40" y="85"/>
                  <a:pt x="43" y="90"/>
                </a:cubicBezTo>
                <a:cubicBezTo>
                  <a:pt x="45" y="92"/>
                  <a:pt x="47" y="93"/>
                  <a:pt x="48" y="95"/>
                </a:cubicBezTo>
                <a:cubicBezTo>
                  <a:pt x="48" y="96"/>
                  <a:pt x="47" y="97"/>
                  <a:pt x="47" y="97"/>
                </a:cubicBezTo>
                <a:cubicBezTo>
                  <a:pt x="47" y="98"/>
                  <a:pt x="46" y="99"/>
                  <a:pt x="46" y="99"/>
                </a:cubicBezTo>
                <a:cubicBezTo>
                  <a:pt x="44" y="102"/>
                  <a:pt x="43" y="104"/>
                  <a:pt x="43" y="105"/>
                </a:cubicBezTo>
                <a:cubicBezTo>
                  <a:pt x="42" y="107"/>
                  <a:pt x="41" y="108"/>
                  <a:pt x="41" y="108"/>
                </a:cubicBezTo>
                <a:cubicBezTo>
                  <a:pt x="41" y="108"/>
                  <a:pt x="41" y="109"/>
                  <a:pt x="40" y="110"/>
                </a:cubicBezTo>
                <a:cubicBezTo>
                  <a:pt x="40" y="112"/>
                  <a:pt x="39" y="114"/>
                  <a:pt x="38" y="117"/>
                </a:cubicBezTo>
                <a:cubicBezTo>
                  <a:pt x="37" y="118"/>
                  <a:pt x="36" y="119"/>
                  <a:pt x="36" y="121"/>
                </a:cubicBezTo>
                <a:cubicBezTo>
                  <a:pt x="33" y="121"/>
                  <a:pt x="31" y="121"/>
                  <a:pt x="28" y="121"/>
                </a:cubicBezTo>
                <a:cubicBezTo>
                  <a:pt x="25" y="121"/>
                  <a:pt x="22" y="121"/>
                  <a:pt x="19" y="121"/>
                </a:cubicBezTo>
                <a:cubicBezTo>
                  <a:pt x="18" y="121"/>
                  <a:pt x="17" y="121"/>
                  <a:pt x="15" y="121"/>
                </a:cubicBezTo>
                <a:cubicBezTo>
                  <a:pt x="14" y="121"/>
                  <a:pt x="13" y="121"/>
                  <a:pt x="12" y="121"/>
                </a:cubicBezTo>
                <a:cubicBezTo>
                  <a:pt x="7" y="121"/>
                  <a:pt x="4" y="121"/>
                  <a:pt x="4" y="121"/>
                </a:cubicBezTo>
                <a:cubicBezTo>
                  <a:pt x="4" y="121"/>
                  <a:pt x="4" y="123"/>
                  <a:pt x="3" y="124"/>
                </a:cubicBezTo>
                <a:cubicBezTo>
                  <a:pt x="3" y="125"/>
                  <a:pt x="3" y="125"/>
                  <a:pt x="3" y="125"/>
                </a:cubicBezTo>
                <a:cubicBezTo>
                  <a:pt x="3" y="126"/>
                  <a:pt x="3" y="126"/>
                  <a:pt x="3" y="127"/>
                </a:cubicBezTo>
                <a:cubicBezTo>
                  <a:pt x="2" y="128"/>
                  <a:pt x="2" y="129"/>
                  <a:pt x="2" y="130"/>
                </a:cubicBezTo>
                <a:cubicBezTo>
                  <a:pt x="2" y="131"/>
                  <a:pt x="1" y="132"/>
                  <a:pt x="1" y="133"/>
                </a:cubicBezTo>
                <a:cubicBezTo>
                  <a:pt x="1" y="134"/>
                  <a:pt x="1" y="135"/>
                  <a:pt x="1" y="136"/>
                </a:cubicBezTo>
                <a:cubicBezTo>
                  <a:pt x="0" y="138"/>
                  <a:pt x="0" y="139"/>
                  <a:pt x="0" y="139"/>
                </a:cubicBezTo>
                <a:cubicBezTo>
                  <a:pt x="0" y="139"/>
                  <a:pt x="3" y="140"/>
                  <a:pt x="7" y="143"/>
                </a:cubicBezTo>
                <a:cubicBezTo>
                  <a:pt x="11" y="145"/>
                  <a:pt x="16" y="147"/>
                  <a:pt x="22" y="150"/>
                </a:cubicBezTo>
                <a:cubicBezTo>
                  <a:pt x="24" y="151"/>
                  <a:pt x="26" y="152"/>
                  <a:pt x="29" y="153"/>
                </a:cubicBezTo>
                <a:cubicBezTo>
                  <a:pt x="28" y="155"/>
                  <a:pt x="28" y="156"/>
                  <a:pt x="28" y="158"/>
                </a:cubicBezTo>
                <a:cubicBezTo>
                  <a:pt x="28" y="161"/>
                  <a:pt x="28" y="163"/>
                  <a:pt x="28" y="165"/>
                </a:cubicBezTo>
                <a:cubicBezTo>
                  <a:pt x="28" y="166"/>
                  <a:pt x="28" y="167"/>
                  <a:pt x="28" y="167"/>
                </a:cubicBezTo>
                <a:cubicBezTo>
                  <a:pt x="28" y="167"/>
                  <a:pt x="28" y="168"/>
                  <a:pt x="28" y="170"/>
                </a:cubicBezTo>
                <a:cubicBezTo>
                  <a:pt x="28" y="172"/>
                  <a:pt x="28" y="174"/>
                  <a:pt x="28" y="177"/>
                </a:cubicBezTo>
                <a:cubicBezTo>
                  <a:pt x="28" y="178"/>
                  <a:pt x="28" y="180"/>
                  <a:pt x="29" y="181"/>
                </a:cubicBezTo>
                <a:cubicBezTo>
                  <a:pt x="26" y="182"/>
                  <a:pt x="24" y="183"/>
                  <a:pt x="22" y="184"/>
                </a:cubicBezTo>
                <a:cubicBezTo>
                  <a:pt x="16" y="187"/>
                  <a:pt x="11" y="190"/>
                  <a:pt x="7" y="192"/>
                </a:cubicBezTo>
                <a:cubicBezTo>
                  <a:pt x="3" y="194"/>
                  <a:pt x="0" y="196"/>
                  <a:pt x="0" y="196"/>
                </a:cubicBezTo>
                <a:cubicBezTo>
                  <a:pt x="0" y="196"/>
                  <a:pt x="0" y="197"/>
                  <a:pt x="1" y="198"/>
                </a:cubicBezTo>
                <a:cubicBezTo>
                  <a:pt x="1" y="199"/>
                  <a:pt x="1" y="200"/>
                  <a:pt x="1" y="201"/>
                </a:cubicBezTo>
                <a:cubicBezTo>
                  <a:pt x="1" y="202"/>
                  <a:pt x="2" y="203"/>
                  <a:pt x="2" y="204"/>
                </a:cubicBezTo>
                <a:cubicBezTo>
                  <a:pt x="2" y="205"/>
                  <a:pt x="2" y="207"/>
                  <a:pt x="3" y="208"/>
                </a:cubicBezTo>
                <a:cubicBezTo>
                  <a:pt x="3" y="208"/>
                  <a:pt x="3" y="209"/>
                  <a:pt x="3" y="209"/>
                </a:cubicBezTo>
                <a:cubicBezTo>
                  <a:pt x="3" y="210"/>
                  <a:pt x="3" y="210"/>
                  <a:pt x="3" y="210"/>
                </a:cubicBezTo>
                <a:cubicBezTo>
                  <a:pt x="4" y="212"/>
                  <a:pt x="4" y="213"/>
                  <a:pt x="4" y="213"/>
                </a:cubicBezTo>
                <a:cubicBezTo>
                  <a:pt x="4" y="213"/>
                  <a:pt x="7" y="213"/>
                  <a:pt x="12" y="214"/>
                </a:cubicBezTo>
                <a:cubicBezTo>
                  <a:pt x="13" y="214"/>
                  <a:pt x="14" y="214"/>
                  <a:pt x="15" y="214"/>
                </a:cubicBezTo>
                <a:cubicBezTo>
                  <a:pt x="17" y="214"/>
                  <a:pt x="18" y="214"/>
                  <a:pt x="19" y="214"/>
                </a:cubicBezTo>
                <a:cubicBezTo>
                  <a:pt x="22" y="214"/>
                  <a:pt x="25" y="214"/>
                  <a:pt x="28" y="214"/>
                </a:cubicBezTo>
                <a:cubicBezTo>
                  <a:pt x="31" y="214"/>
                  <a:pt x="33" y="214"/>
                  <a:pt x="36" y="214"/>
                </a:cubicBezTo>
                <a:cubicBezTo>
                  <a:pt x="36" y="215"/>
                  <a:pt x="37" y="217"/>
                  <a:pt x="38" y="218"/>
                </a:cubicBezTo>
                <a:cubicBezTo>
                  <a:pt x="39" y="221"/>
                  <a:pt x="40" y="223"/>
                  <a:pt x="40" y="224"/>
                </a:cubicBezTo>
                <a:cubicBezTo>
                  <a:pt x="41" y="226"/>
                  <a:pt x="41" y="227"/>
                  <a:pt x="41" y="227"/>
                </a:cubicBezTo>
                <a:cubicBezTo>
                  <a:pt x="41" y="227"/>
                  <a:pt x="42" y="228"/>
                  <a:pt x="43" y="229"/>
                </a:cubicBezTo>
                <a:cubicBezTo>
                  <a:pt x="43" y="231"/>
                  <a:pt x="44" y="233"/>
                  <a:pt x="46" y="235"/>
                </a:cubicBezTo>
                <a:cubicBezTo>
                  <a:pt x="46" y="236"/>
                  <a:pt x="47" y="237"/>
                  <a:pt x="47" y="237"/>
                </a:cubicBezTo>
                <a:cubicBezTo>
                  <a:pt x="47" y="238"/>
                  <a:pt x="48" y="239"/>
                  <a:pt x="48" y="239"/>
                </a:cubicBezTo>
                <a:cubicBezTo>
                  <a:pt x="47" y="241"/>
                  <a:pt x="45" y="243"/>
                  <a:pt x="43" y="245"/>
                </a:cubicBezTo>
                <a:cubicBezTo>
                  <a:pt x="40" y="250"/>
                  <a:pt x="36" y="254"/>
                  <a:pt x="33" y="258"/>
                </a:cubicBezTo>
                <a:cubicBezTo>
                  <a:pt x="31" y="262"/>
                  <a:pt x="29" y="264"/>
                  <a:pt x="29" y="264"/>
                </a:cubicBezTo>
                <a:cubicBezTo>
                  <a:pt x="29" y="264"/>
                  <a:pt x="30" y="265"/>
                  <a:pt x="31" y="267"/>
                </a:cubicBezTo>
                <a:cubicBezTo>
                  <a:pt x="32" y="268"/>
                  <a:pt x="33" y="270"/>
                  <a:pt x="34" y="271"/>
                </a:cubicBezTo>
                <a:cubicBezTo>
                  <a:pt x="35" y="272"/>
                  <a:pt x="36" y="273"/>
                  <a:pt x="36" y="274"/>
                </a:cubicBezTo>
                <a:cubicBezTo>
                  <a:pt x="37" y="275"/>
                  <a:pt x="38" y="276"/>
                  <a:pt x="38" y="276"/>
                </a:cubicBezTo>
                <a:cubicBezTo>
                  <a:pt x="39" y="277"/>
                  <a:pt x="40" y="278"/>
                  <a:pt x="40" y="278"/>
                </a:cubicBezTo>
                <a:cubicBezTo>
                  <a:pt x="40" y="278"/>
                  <a:pt x="41" y="278"/>
                  <a:pt x="42" y="277"/>
                </a:cubicBezTo>
                <a:cubicBezTo>
                  <a:pt x="43" y="277"/>
                  <a:pt x="45" y="276"/>
                  <a:pt x="47" y="275"/>
                </a:cubicBezTo>
                <a:cubicBezTo>
                  <a:pt x="51" y="274"/>
                  <a:pt x="57" y="271"/>
                  <a:pt x="62" y="268"/>
                </a:cubicBezTo>
                <a:cubicBezTo>
                  <a:pt x="64" y="267"/>
                  <a:pt x="67" y="266"/>
                  <a:pt x="69" y="265"/>
                </a:cubicBezTo>
                <a:cubicBezTo>
                  <a:pt x="70" y="266"/>
                  <a:pt x="71" y="267"/>
                  <a:pt x="72" y="268"/>
                </a:cubicBezTo>
                <a:cubicBezTo>
                  <a:pt x="74" y="270"/>
                  <a:pt x="76" y="272"/>
                  <a:pt x="77" y="273"/>
                </a:cubicBezTo>
                <a:cubicBezTo>
                  <a:pt x="78" y="273"/>
                  <a:pt x="79" y="274"/>
                  <a:pt x="79" y="274"/>
                </a:cubicBezTo>
                <a:cubicBezTo>
                  <a:pt x="79" y="274"/>
                  <a:pt x="79" y="274"/>
                  <a:pt x="79" y="274"/>
                </a:cubicBezTo>
                <a:cubicBezTo>
                  <a:pt x="79" y="274"/>
                  <a:pt x="80" y="275"/>
                  <a:pt x="82" y="276"/>
                </a:cubicBezTo>
                <a:cubicBezTo>
                  <a:pt x="83" y="277"/>
                  <a:pt x="85" y="278"/>
                  <a:pt x="87" y="280"/>
                </a:cubicBezTo>
                <a:cubicBezTo>
                  <a:pt x="88" y="281"/>
                  <a:pt x="90" y="282"/>
                  <a:pt x="91" y="283"/>
                </a:cubicBezTo>
                <a:cubicBezTo>
                  <a:pt x="90" y="285"/>
                  <a:pt x="90" y="288"/>
                  <a:pt x="89" y="290"/>
                </a:cubicBezTo>
                <a:cubicBezTo>
                  <a:pt x="88" y="293"/>
                  <a:pt x="88" y="296"/>
                  <a:pt x="87" y="299"/>
                </a:cubicBezTo>
                <a:cubicBezTo>
                  <a:pt x="87" y="301"/>
                  <a:pt x="86" y="304"/>
                  <a:pt x="86" y="306"/>
                </a:cubicBezTo>
                <a:cubicBezTo>
                  <a:pt x="85" y="311"/>
                  <a:pt x="84" y="314"/>
                  <a:pt x="84" y="314"/>
                </a:cubicBezTo>
                <a:cubicBezTo>
                  <a:pt x="84" y="314"/>
                  <a:pt x="85" y="314"/>
                  <a:pt x="85" y="314"/>
                </a:cubicBezTo>
                <a:cubicBezTo>
                  <a:pt x="86" y="314"/>
                  <a:pt x="86" y="315"/>
                  <a:pt x="87" y="315"/>
                </a:cubicBezTo>
                <a:cubicBezTo>
                  <a:pt x="88" y="316"/>
                  <a:pt x="90" y="317"/>
                  <a:pt x="92" y="318"/>
                </a:cubicBezTo>
                <a:cubicBezTo>
                  <a:pt x="94" y="319"/>
                  <a:pt x="96" y="320"/>
                  <a:pt x="98" y="320"/>
                </a:cubicBezTo>
                <a:cubicBezTo>
                  <a:pt x="99" y="321"/>
                  <a:pt x="99" y="321"/>
                  <a:pt x="100" y="321"/>
                </a:cubicBezTo>
                <a:cubicBezTo>
                  <a:pt x="100" y="321"/>
                  <a:pt x="101" y="321"/>
                  <a:pt x="101" y="321"/>
                </a:cubicBezTo>
                <a:cubicBezTo>
                  <a:pt x="101" y="321"/>
                  <a:pt x="103" y="319"/>
                  <a:pt x="106" y="316"/>
                </a:cubicBezTo>
                <a:cubicBezTo>
                  <a:pt x="107" y="314"/>
                  <a:pt x="109" y="312"/>
                  <a:pt x="111" y="310"/>
                </a:cubicBezTo>
                <a:cubicBezTo>
                  <a:pt x="112" y="308"/>
                  <a:pt x="114" y="306"/>
                  <a:pt x="116" y="303"/>
                </a:cubicBezTo>
                <a:cubicBezTo>
                  <a:pt x="118" y="301"/>
                  <a:pt x="119" y="299"/>
                  <a:pt x="121" y="297"/>
                </a:cubicBezTo>
                <a:cubicBezTo>
                  <a:pt x="122" y="298"/>
                  <a:pt x="124" y="298"/>
                  <a:pt x="125" y="298"/>
                </a:cubicBezTo>
                <a:cubicBezTo>
                  <a:pt x="126" y="299"/>
                  <a:pt x="128" y="299"/>
                  <a:pt x="129" y="300"/>
                </a:cubicBezTo>
                <a:cubicBezTo>
                  <a:pt x="129" y="300"/>
                  <a:pt x="130" y="300"/>
                  <a:pt x="130" y="300"/>
                </a:cubicBezTo>
                <a:cubicBezTo>
                  <a:pt x="131" y="300"/>
                  <a:pt x="131" y="300"/>
                  <a:pt x="132" y="300"/>
                </a:cubicBezTo>
                <a:cubicBezTo>
                  <a:pt x="133" y="301"/>
                  <a:pt x="134" y="301"/>
                  <a:pt x="134" y="301"/>
                </a:cubicBezTo>
                <a:cubicBezTo>
                  <a:pt x="134" y="301"/>
                  <a:pt x="135" y="301"/>
                  <a:pt x="137" y="302"/>
                </a:cubicBezTo>
                <a:cubicBezTo>
                  <a:pt x="139" y="302"/>
                  <a:pt x="141" y="302"/>
                  <a:pt x="144" y="303"/>
                </a:cubicBezTo>
                <a:cubicBezTo>
                  <a:pt x="145" y="303"/>
                  <a:pt x="147" y="303"/>
                  <a:pt x="148" y="303"/>
                </a:cubicBezTo>
                <a:cubicBezTo>
                  <a:pt x="149" y="306"/>
                  <a:pt x="149" y="308"/>
                  <a:pt x="150" y="311"/>
                </a:cubicBezTo>
                <a:cubicBezTo>
                  <a:pt x="151" y="317"/>
                  <a:pt x="153" y="322"/>
                  <a:pt x="154" y="327"/>
                </a:cubicBezTo>
                <a:cubicBezTo>
                  <a:pt x="155" y="331"/>
                  <a:pt x="156" y="334"/>
                  <a:pt x="156" y="334"/>
                </a:cubicBezTo>
                <a:cubicBezTo>
                  <a:pt x="156" y="334"/>
                  <a:pt x="156" y="334"/>
                  <a:pt x="157" y="334"/>
                </a:cubicBezTo>
                <a:cubicBezTo>
                  <a:pt x="157" y="334"/>
                  <a:pt x="158" y="334"/>
                  <a:pt x="159" y="334"/>
                </a:cubicBezTo>
                <a:cubicBezTo>
                  <a:pt x="160" y="334"/>
                  <a:pt x="163" y="334"/>
                  <a:pt x="165" y="334"/>
                </a:cubicBezTo>
                <a:cubicBezTo>
                  <a:pt x="167" y="334"/>
                  <a:pt x="169" y="334"/>
                  <a:pt x="171" y="334"/>
                </a:cubicBezTo>
                <a:cubicBezTo>
                  <a:pt x="172" y="334"/>
                  <a:pt x="173" y="334"/>
                  <a:pt x="173" y="334"/>
                </a:cubicBezTo>
                <a:cubicBezTo>
                  <a:pt x="174" y="334"/>
                  <a:pt x="174" y="334"/>
                  <a:pt x="174" y="334"/>
                </a:cubicBezTo>
                <a:cubicBezTo>
                  <a:pt x="174" y="334"/>
                  <a:pt x="175" y="331"/>
                  <a:pt x="176" y="327"/>
                </a:cubicBezTo>
                <a:cubicBezTo>
                  <a:pt x="177" y="322"/>
                  <a:pt x="179" y="317"/>
                  <a:pt x="180" y="311"/>
                </a:cubicBezTo>
                <a:cubicBezTo>
                  <a:pt x="181" y="308"/>
                  <a:pt x="181" y="306"/>
                  <a:pt x="181" y="303"/>
                </a:cubicBezTo>
                <a:cubicBezTo>
                  <a:pt x="183" y="303"/>
                  <a:pt x="185" y="303"/>
                  <a:pt x="186" y="303"/>
                </a:cubicBezTo>
                <a:cubicBezTo>
                  <a:pt x="189" y="302"/>
                  <a:pt x="191" y="302"/>
                  <a:pt x="193" y="302"/>
                </a:cubicBezTo>
                <a:cubicBezTo>
                  <a:pt x="194" y="301"/>
                  <a:pt x="195" y="301"/>
                  <a:pt x="195" y="301"/>
                </a:cubicBezTo>
                <a:cubicBezTo>
                  <a:pt x="195" y="301"/>
                  <a:pt x="196" y="301"/>
                  <a:pt x="198" y="300"/>
                </a:cubicBezTo>
                <a:cubicBezTo>
                  <a:pt x="198" y="300"/>
                  <a:pt x="199" y="300"/>
                  <a:pt x="199" y="300"/>
                </a:cubicBezTo>
                <a:cubicBezTo>
                  <a:pt x="200" y="300"/>
                  <a:pt x="200" y="300"/>
                  <a:pt x="201" y="300"/>
                </a:cubicBezTo>
                <a:cubicBezTo>
                  <a:pt x="202" y="299"/>
                  <a:pt x="203" y="299"/>
                  <a:pt x="205" y="298"/>
                </a:cubicBezTo>
                <a:cubicBezTo>
                  <a:pt x="206" y="298"/>
                  <a:pt x="208" y="298"/>
                  <a:pt x="209" y="297"/>
                </a:cubicBezTo>
                <a:cubicBezTo>
                  <a:pt x="211" y="299"/>
                  <a:pt x="212" y="301"/>
                  <a:pt x="214" y="303"/>
                </a:cubicBezTo>
                <a:cubicBezTo>
                  <a:pt x="215" y="306"/>
                  <a:pt x="217" y="308"/>
                  <a:pt x="219" y="310"/>
                </a:cubicBezTo>
                <a:cubicBezTo>
                  <a:pt x="221" y="312"/>
                  <a:pt x="223" y="314"/>
                  <a:pt x="224" y="316"/>
                </a:cubicBezTo>
                <a:cubicBezTo>
                  <a:pt x="227" y="319"/>
                  <a:pt x="229" y="321"/>
                  <a:pt x="229" y="321"/>
                </a:cubicBezTo>
                <a:cubicBezTo>
                  <a:pt x="229" y="321"/>
                  <a:pt x="230" y="321"/>
                  <a:pt x="230" y="321"/>
                </a:cubicBezTo>
                <a:cubicBezTo>
                  <a:pt x="230" y="321"/>
                  <a:pt x="231" y="321"/>
                  <a:pt x="232" y="320"/>
                </a:cubicBezTo>
                <a:cubicBezTo>
                  <a:pt x="233" y="320"/>
                  <a:pt x="235" y="319"/>
                  <a:pt x="237" y="318"/>
                </a:cubicBezTo>
                <a:cubicBezTo>
                  <a:pt x="239" y="317"/>
                  <a:pt x="241" y="316"/>
                  <a:pt x="243" y="315"/>
                </a:cubicBezTo>
                <a:cubicBezTo>
                  <a:pt x="244" y="315"/>
                  <a:pt x="244" y="314"/>
                  <a:pt x="245" y="314"/>
                </a:cubicBezTo>
                <a:cubicBezTo>
                  <a:pt x="245" y="314"/>
                  <a:pt x="245" y="314"/>
                  <a:pt x="245" y="314"/>
                </a:cubicBezTo>
                <a:cubicBezTo>
                  <a:pt x="245" y="314"/>
                  <a:pt x="245" y="311"/>
                  <a:pt x="244" y="306"/>
                </a:cubicBezTo>
                <a:cubicBezTo>
                  <a:pt x="244" y="304"/>
                  <a:pt x="243" y="301"/>
                  <a:pt x="243" y="299"/>
                </a:cubicBezTo>
                <a:cubicBezTo>
                  <a:pt x="242" y="296"/>
                  <a:pt x="242" y="293"/>
                  <a:pt x="241" y="290"/>
                </a:cubicBezTo>
                <a:cubicBezTo>
                  <a:pt x="240" y="288"/>
                  <a:pt x="240" y="285"/>
                  <a:pt x="239" y="283"/>
                </a:cubicBezTo>
                <a:cubicBezTo>
                  <a:pt x="240" y="282"/>
                  <a:pt x="242" y="281"/>
                  <a:pt x="243" y="280"/>
                </a:cubicBezTo>
                <a:cubicBezTo>
                  <a:pt x="245" y="278"/>
                  <a:pt x="247" y="277"/>
                  <a:pt x="248" y="276"/>
                </a:cubicBezTo>
                <a:cubicBezTo>
                  <a:pt x="250" y="275"/>
                  <a:pt x="250" y="274"/>
                  <a:pt x="250" y="274"/>
                </a:cubicBezTo>
                <a:cubicBezTo>
                  <a:pt x="250" y="274"/>
                  <a:pt x="251" y="274"/>
                  <a:pt x="251" y="274"/>
                </a:cubicBezTo>
                <a:cubicBezTo>
                  <a:pt x="251" y="274"/>
                  <a:pt x="252" y="273"/>
                  <a:pt x="252" y="273"/>
                </a:cubicBezTo>
                <a:cubicBezTo>
                  <a:pt x="254" y="272"/>
                  <a:pt x="256" y="270"/>
                  <a:pt x="258" y="268"/>
                </a:cubicBezTo>
                <a:cubicBezTo>
                  <a:pt x="259" y="267"/>
                  <a:pt x="260" y="266"/>
                  <a:pt x="261" y="265"/>
                </a:cubicBezTo>
                <a:cubicBezTo>
                  <a:pt x="263" y="266"/>
                  <a:pt x="265" y="267"/>
                  <a:pt x="268" y="268"/>
                </a:cubicBezTo>
                <a:cubicBezTo>
                  <a:pt x="273" y="271"/>
                  <a:pt x="279" y="274"/>
                  <a:pt x="283" y="275"/>
                </a:cubicBezTo>
                <a:cubicBezTo>
                  <a:pt x="285" y="276"/>
                  <a:pt x="287" y="277"/>
                  <a:pt x="288" y="277"/>
                </a:cubicBezTo>
                <a:cubicBezTo>
                  <a:pt x="289" y="278"/>
                  <a:pt x="290" y="278"/>
                  <a:pt x="290" y="278"/>
                </a:cubicBezTo>
                <a:cubicBezTo>
                  <a:pt x="290" y="278"/>
                  <a:pt x="291" y="277"/>
                  <a:pt x="292" y="276"/>
                </a:cubicBezTo>
                <a:cubicBezTo>
                  <a:pt x="292" y="276"/>
                  <a:pt x="293" y="275"/>
                  <a:pt x="294" y="274"/>
                </a:cubicBezTo>
                <a:cubicBezTo>
                  <a:pt x="294" y="273"/>
                  <a:pt x="295" y="272"/>
                  <a:pt x="296" y="271"/>
                </a:cubicBezTo>
                <a:cubicBezTo>
                  <a:pt x="297" y="270"/>
                  <a:pt x="298" y="268"/>
                  <a:pt x="299" y="267"/>
                </a:cubicBezTo>
                <a:cubicBezTo>
                  <a:pt x="300" y="265"/>
                  <a:pt x="301" y="264"/>
                  <a:pt x="301" y="264"/>
                </a:cubicBezTo>
                <a:cubicBezTo>
                  <a:pt x="301" y="264"/>
                  <a:pt x="299" y="262"/>
                  <a:pt x="297" y="258"/>
                </a:cubicBezTo>
                <a:cubicBezTo>
                  <a:pt x="294" y="254"/>
                  <a:pt x="290" y="250"/>
                  <a:pt x="287" y="245"/>
                </a:cubicBezTo>
                <a:cubicBezTo>
                  <a:pt x="285" y="243"/>
                  <a:pt x="283" y="241"/>
                  <a:pt x="282" y="239"/>
                </a:cubicBezTo>
                <a:cubicBezTo>
                  <a:pt x="282" y="239"/>
                  <a:pt x="282" y="238"/>
                  <a:pt x="283" y="237"/>
                </a:cubicBezTo>
                <a:cubicBezTo>
                  <a:pt x="283" y="237"/>
                  <a:pt x="284" y="236"/>
                  <a:pt x="284" y="235"/>
                </a:cubicBezTo>
                <a:cubicBezTo>
                  <a:pt x="285" y="233"/>
                  <a:pt x="287" y="231"/>
                  <a:pt x="287" y="229"/>
                </a:cubicBezTo>
                <a:cubicBezTo>
                  <a:pt x="288" y="228"/>
                  <a:pt x="288" y="227"/>
                  <a:pt x="288" y="227"/>
                </a:cubicBezTo>
                <a:cubicBezTo>
                  <a:pt x="288" y="227"/>
                  <a:pt x="289" y="226"/>
                  <a:pt x="290" y="224"/>
                </a:cubicBezTo>
                <a:cubicBezTo>
                  <a:pt x="290" y="223"/>
                  <a:pt x="291" y="221"/>
                  <a:pt x="292" y="218"/>
                </a:cubicBezTo>
                <a:cubicBezTo>
                  <a:pt x="293" y="217"/>
                  <a:pt x="293" y="215"/>
                  <a:pt x="294" y="214"/>
                </a:cubicBezTo>
                <a:cubicBezTo>
                  <a:pt x="296" y="214"/>
                  <a:pt x="299" y="214"/>
                  <a:pt x="301" y="214"/>
                </a:cubicBezTo>
                <a:cubicBezTo>
                  <a:pt x="304" y="214"/>
                  <a:pt x="308" y="214"/>
                  <a:pt x="310" y="214"/>
                </a:cubicBezTo>
                <a:cubicBezTo>
                  <a:pt x="312" y="214"/>
                  <a:pt x="313" y="214"/>
                  <a:pt x="314" y="214"/>
                </a:cubicBezTo>
                <a:cubicBezTo>
                  <a:pt x="316" y="214"/>
                  <a:pt x="317" y="214"/>
                  <a:pt x="318" y="214"/>
                </a:cubicBezTo>
                <a:cubicBezTo>
                  <a:pt x="323" y="213"/>
                  <a:pt x="326" y="213"/>
                  <a:pt x="326" y="213"/>
                </a:cubicBezTo>
                <a:cubicBezTo>
                  <a:pt x="326" y="213"/>
                  <a:pt x="326" y="212"/>
                  <a:pt x="326" y="210"/>
                </a:cubicBezTo>
                <a:cubicBezTo>
                  <a:pt x="327" y="210"/>
                  <a:pt x="327" y="210"/>
                  <a:pt x="327" y="209"/>
                </a:cubicBezTo>
                <a:cubicBezTo>
                  <a:pt x="327" y="209"/>
                  <a:pt x="327" y="208"/>
                  <a:pt x="327" y="208"/>
                </a:cubicBezTo>
                <a:cubicBezTo>
                  <a:pt x="327" y="207"/>
                  <a:pt x="328" y="205"/>
                  <a:pt x="328" y="204"/>
                </a:cubicBezTo>
                <a:cubicBezTo>
                  <a:pt x="328" y="203"/>
                  <a:pt x="328" y="202"/>
                  <a:pt x="329" y="201"/>
                </a:cubicBezTo>
                <a:cubicBezTo>
                  <a:pt x="329" y="200"/>
                  <a:pt x="329" y="199"/>
                  <a:pt x="329" y="198"/>
                </a:cubicBezTo>
                <a:cubicBezTo>
                  <a:pt x="329" y="197"/>
                  <a:pt x="330" y="196"/>
                  <a:pt x="330" y="196"/>
                </a:cubicBezTo>
                <a:cubicBezTo>
                  <a:pt x="330" y="196"/>
                  <a:pt x="327" y="194"/>
                  <a:pt x="323" y="192"/>
                </a:cubicBezTo>
                <a:cubicBezTo>
                  <a:pt x="319" y="190"/>
                  <a:pt x="314" y="187"/>
                  <a:pt x="308" y="184"/>
                </a:cubicBezTo>
                <a:close/>
                <a:moveTo>
                  <a:pt x="165" y="268"/>
                </a:moveTo>
                <a:cubicBezTo>
                  <a:pt x="109" y="268"/>
                  <a:pt x="64" y="223"/>
                  <a:pt x="64" y="167"/>
                </a:cubicBezTo>
                <a:cubicBezTo>
                  <a:pt x="64" y="112"/>
                  <a:pt x="109" y="66"/>
                  <a:pt x="165" y="66"/>
                </a:cubicBezTo>
                <a:cubicBezTo>
                  <a:pt x="221" y="66"/>
                  <a:pt x="266" y="112"/>
                  <a:pt x="266" y="167"/>
                </a:cubicBezTo>
                <a:cubicBezTo>
                  <a:pt x="266" y="223"/>
                  <a:pt x="221" y="268"/>
                  <a:pt x="165" y="26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8100" cap="flat">
            <a:noFill/>
            <a:prstDash val="solid"/>
            <a:miter lim="800000"/>
          </a:ln>
        </p:spPr>
        <p:txBody>
          <a:bodyPr vert="horz" wrap="square" lIns="91440" tIns="45720" rIns="91440" bIns="45720" numCol="1" anchor="ctr" anchorCtr="0" compatLnSpc="1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01</a:t>
            </a: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F15457AD-FA48-42C4-AE32-1A64E360AA1A}"/>
              </a:ext>
            </a:extLst>
          </p:cNvPr>
          <p:cNvSpPr/>
          <p:nvPr/>
        </p:nvSpPr>
        <p:spPr bwMode="auto">
          <a:xfrm>
            <a:off x="6677819" y="1782762"/>
            <a:ext cx="1327151" cy="357188"/>
          </a:xfrm>
          <a:custGeom>
            <a:avLst/>
            <a:gdLst>
              <a:gd name="T0" fmla="*/ 0 w 836"/>
              <a:gd name="T1" fmla="*/ 225 h 225"/>
              <a:gd name="T2" fmla="*/ 228 w 836"/>
              <a:gd name="T3" fmla="*/ 0 h 225"/>
              <a:gd name="T4" fmla="*/ 836 w 836"/>
              <a:gd name="T5" fmla="*/ 0 h 2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36" h="225">
                <a:moveTo>
                  <a:pt x="0" y="225"/>
                </a:moveTo>
                <a:lnTo>
                  <a:pt x="228" y="0"/>
                </a:lnTo>
                <a:lnTo>
                  <a:pt x="836" y="0"/>
                </a:ln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normAutofit fontScale="92500" lnSpcReduction="10000"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717B33BE-6A16-433D-8D38-C9A73B70860A}"/>
              </a:ext>
            </a:extLst>
          </p:cNvPr>
          <p:cNvSpPr/>
          <p:nvPr/>
        </p:nvSpPr>
        <p:spPr bwMode="auto">
          <a:xfrm>
            <a:off x="7293769" y="3398838"/>
            <a:ext cx="1173163" cy="420688"/>
          </a:xfrm>
          <a:custGeom>
            <a:avLst/>
            <a:gdLst>
              <a:gd name="T0" fmla="*/ 0 w 739"/>
              <a:gd name="T1" fmla="*/ 265 h 265"/>
              <a:gd name="T2" fmla="*/ 268 w 739"/>
              <a:gd name="T3" fmla="*/ 0 h 265"/>
              <a:gd name="T4" fmla="*/ 739 w 739"/>
              <a:gd name="T5" fmla="*/ 0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39" h="265">
                <a:moveTo>
                  <a:pt x="0" y="265"/>
                </a:moveTo>
                <a:lnTo>
                  <a:pt x="268" y="0"/>
                </a:lnTo>
                <a:lnTo>
                  <a:pt x="739" y="0"/>
                </a:ln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132AB7B3-A7AB-4E59-A618-DF6E54D33509}"/>
              </a:ext>
            </a:extLst>
          </p:cNvPr>
          <p:cNvSpPr/>
          <p:nvPr/>
        </p:nvSpPr>
        <p:spPr bwMode="auto">
          <a:xfrm>
            <a:off x="3725069" y="4665664"/>
            <a:ext cx="1281112" cy="384175"/>
          </a:xfrm>
          <a:custGeom>
            <a:avLst/>
            <a:gdLst>
              <a:gd name="T0" fmla="*/ 807 w 807"/>
              <a:gd name="T1" fmla="*/ 0 h 242"/>
              <a:gd name="T2" fmla="*/ 566 w 807"/>
              <a:gd name="T3" fmla="*/ 242 h 242"/>
              <a:gd name="T4" fmla="*/ 0 w 807"/>
              <a:gd name="T5" fmla="*/ 242 h 2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07" h="242">
                <a:moveTo>
                  <a:pt x="807" y="0"/>
                </a:moveTo>
                <a:lnTo>
                  <a:pt x="566" y="242"/>
                </a:lnTo>
                <a:lnTo>
                  <a:pt x="0" y="242"/>
                </a:lnTo>
              </a:path>
            </a:pathLst>
          </a:custGeom>
          <a:noFill/>
          <a:ln w="3175" cap="flat">
            <a:solidFill>
              <a:schemeClr val="bg1">
                <a:lumMod val="75000"/>
              </a:schemeClr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normAutofit lnSpcReduction="10000"/>
          </a:bodyPr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zh-CN" alt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7" name="椭圆 26">
            <a:extLst>
              <a:ext uri="{FF2B5EF4-FFF2-40B4-BE49-F238E27FC236}">
                <a16:creationId xmlns:a16="http://schemas.microsoft.com/office/drawing/2014/main" id="{D7D5607A-A2BB-4AF6-86D0-3D42451D5119}"/>
              </a:ext>
            </a:extLst>
          </p:cNvPr>
          <p:cNvSpPr/>
          <p:nvPr/>
        </p:nvSpPr>
        <p:spPr bwMode="auto">
          <a:xfrm>
            <a:off x="8141495" y="1457326"/>
            <a:ext cx="650874" cy="6508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08B3A12B-78CA-4F5B-B037-4B21284BDB0A}"/>
              </a:ext>
            </a:extLst>
          </p:cNvPr>
          <p:cNvSpPr/>
          <p:nvPr/>
        </p:nvSpPr>
        <p:spPr bwMode="auto">
          <a:xfrm>
            <a:off x="8317121" y="1633508"/>
            <a:ext cx="299621" cy="298506"/>
          </a:xfrm>
          <a:custGeom>
            <a:avLst/>
            <a:gdLst>
              <a:gd name="connsiteX0" fmla="*/ 0 w 607639"/>
              <a:gd name="connsiteY0" fmla="*/ 547235 h 605381"/>
              <a:gd name="connsiteX1" fmla="*/ 23853 w 607639"/>
              <a:gd name="connsiteY1" fmla="*/ 547235 h 605381"/>
              <a:gd name="connsiteX2" fmla="*/ 36136 w 607639"/>
              <a:gd name="connsiteY2" fmla="*/ 547235 h 605381"/>
              <a:gd name="connsiteX3" fmla="*/ 190916 w 607639"/>
              <a:gd name="connsiteY3" fmla="*/ 547235 h 605381"/>
              <a:gd name="connsiteX4" fmla="*/ 212990 w 607639"/>
              <a:gd name="connsiteY4" fmla="*/ 547235 h 605381"/>
              <a:gd name="connsiteX5" fmla="*/ 394560 w 607639"/>
              <a:gd name="connsiteY5" fmla="*/ 547235 h 605381"/>
              <a:gd name="connsiteX6" fmla="*/ 416634 w 607639"/>
              <a:gd name="connsiteY6" fmla="*/ 547235 h 605381"/>
              <a:gd name="connsiteX7" fmla="*/ 571503 w 607639"/>
              <a:gd name="connsiteY7" fmla="*/ 547235 h 605381"/>
              <a:gd name="connsiteX8" fmla="*/ 583786 w 607639"/>
              <a:gd name="connsiteY8" fmla="*/ 547235 h 605381"/>
              <a:gd name="connsiteX9" fmla="*/ 607639 w 607639"/>
              <a:gd name="connsiteY9" fmla="*/ 547235 h 605381"/>
              <a:gd name="connsiteX10" fmla="*/ 607639 w 607639"/>
              <a:gd name="connsiteY10" fmla="*/ 605381 h 605381"/>
              <a:gd name="connsiteX11" fmla="*/ 0 w 607639"/>
              <a:gd name="connsiteY11" fmla="*/ 605381 h 605381"/>
              <a:gd name="connsiteX12" fmla="*/ 321849 w 607639"/>
              <a:gd name="connsiteY12" fmla="*/ 269278 h 605381"/>
              <a:gd name="connsiteX13" fmla="*/ 394531 w 607639"/>
              <a:gd name="connsiteY13" fmla="*/ 269278 h 605381"/>
              <a:gd name="connsiteX14" fmla="*/ 394531 w 607639"/>
              <a:gd name="connsiteY14" fmla="*/ 511247 h 605381"/>
              <a:gd name="connsiteX15" fmla="*/ 358501 w 607639"/>
              <a:gd name="connsiteY15" fmla="*/ 511247 h 605381"/>
              <a:gd name="connsiteX16" fmla="*/ 321849 w 607639"/>
              <a:gd name="connsiteY16" fmla="*/ 511247 h 605381"/>
              <a:gd name="connsiteX17" fmla="*/ 212966 w 607639"/>
              <a:gd name="connsiteY17" fmla="*/ 269278 h 605381"/>
              <a:gd name="connsiteX18" fmla="*/ 285790 w 607639"/>
              <a:gd name="connsiteY18" fmla="*/ 269278 h 605381"/>
              <a:gd name="connsiteX19" fmla="*/ 285790 w 607639"/>
              <a:gd name="connsiteY19" fmla="*/ 511247 h 605381"/>
              <a:gd name="connsiteX20" fmla="*/ 249111 w 607639"/>
              <a:gd name="connsiteY20" fmla="*/ 511247 h 605381"/>
              <a:gd name="connsiteX21" fmla="*/ 212966 w 607639"/>
              <a:gd name="connsiteY21" fmla="*/ 511247 h 605381"/>
              <a:gd name="connsiteX22" fmla="*/ 446972 w 607639"/>
              <a:gd name="connsiteY22" fmla="*/ 242181 h 605381"/>
              <a:gd name="connsiteX23" fmla="*/ 553523 w 607639"/>
              <a:gd name="connsiteY23" fmla="*/ 242181 h 605381"/>
              <a:gd name="connsiteX24" fmla="*/ 553523 w 607639"/>
              <a:gd name="connsiteY24" fmla="*/ 453133 h 605381"/>
              <a:gd name="connsiteX25" fmla="*/ 583788 w 607639"/>
              <a:gd name="connsiteY25" fmla="*/ 453133 h 605381"/>
              <a:gd name="connsiteX26" fmla="*/ 583788 w 607639"/>
              <a:gd name="connsiteY26" fmla="*/ 511247 h 605381"/>
              <a:gd name="connsiteX27" fmla="*/ 547648 w 607639"/>
              <a:gd name="connsiteY27" fmla="*/ 511247 h 605381"/>
              <a:gd name="connsiteX28" fmla="*/ 452758 w 607639"/>
              <a:gd name="connsiteY28" fmla="*/ 511247 h 605381"/>
              <a:gd name="connsiteX29" fmla="*/ 416618 w 607639"/>
              <a:gd name="connsiteY29" fmla="*/ 511247 h 605381"/>
              <a:gd name="connsiteX30" fmla="*/ 416618 w 607639"/>
              <a:gd name="connsiteY30" fmla="*/ 453133 h 605381"/>
              <a:gd name="connsiteX31" fmla="*/ 446972 w 607639"/>
              <a:gd name="connsiteY31" fmla="*/ 453133 h 605381"/>
              <a:gd name="connsiteX32" fmla="*/ 54106 w 607639"/>
              <a:gd name="connsiteY32" fmla="*/ 242181 h 605381"/>
              <a:gd name="connsiteX33" fmla="*/ 160624 w 607639"/>
              <a:gd name="connsiteY33" fmla="*/ 242181 h 605381"/>
              <a:gd name="connsiteX34" fmla="*/ 160624 w 607639"/>
              <a:gd name="connsiteY34" fmla="*/ 453133 h 605381"/>
              <a:gd name="connsiteX35" fmla="*/ 190879 w 607639"/>
              <a:gd name="connsiteY35" fmla="*/ 453133 h 605381"/>
              <a:gd name="connsiteX36" fmla="*/ 190879 w 607639"/>
              <a:gd name="connsiteY36" fmla="*/ 511247 h 605381"/>
              <a:gd name="connsiteX37" fmla="*/ 154839 w 607639"/>
              <a:gd name="connsiteY37" fmla="*/ 511247 h 605381"/>
              <a:gd name="connsiteX38" fmla="*/ 59891 w 607639"/>
              <a:gd name="connsiteY38" fmla="*/ 511247 h 605381"/>
              <a:gd name="connsiteX39" fmla="*/ 23851 w 607639"/>
              <a:gd name="connsiteY39" fmla="*/ 511247 h 605381"/>
              <a:gd name="connsiteX40" fmla="*/ 23851 w 607639"/>
              <a:gd name="connsiteY40" fmla="*/ 453133 h 605381"/>
              <a:gd name="connsiteX41" fmla="*/ 54106 w 607639"/>
              <a:gd name="connsiteY41" fmla="*/ 453133 h 605381"/>
              <a:gd name="connsiteX42" fmla="*/ 303820 w 607639"/>
              <a:gd name="connsiteY42" fmla="*/ 98933 h 605381"/>
              <a:gd name="connsiteX43" fmla="*/ 323120 w 607639"/>
              <a:gd name="connsiteY43" fmla="*/ 118162 h 605381"/>
              <a:gd name="connsiteX44" fmla="*/ 303820 w 607639"/>
              <a:gd name="connsiteY44" fmla="*/ 137391 h 605381"/>
              <a:gd name="connsiteX45" fmla="*/ 284520 w 607639"/>
              <a:gd name="connsiteY45" fmla="*/ 118162 h 605381"/>
              <a:gd name="connsiteX46" fmla="*/ 303820 w 607639"/>
              <a:gd name="connsiteY46" fmla="*/ 98933 h 605381"/>
              <a:gd name="connsiteX47" fmla="*/ 303749 w 607639"/>
              <a:gd name="connsiteY47" fmla="*/ 62835 h 605381"/>
              <a:gd name="connsiteX48" fmla="*/ 248388 w 607639"/>
              <a:gd name="connsiteY48" fmla="*/ 118116 h 605381"/>
              <a:gd name="connsiteX49" fmla="*/ 303749 w 607639"/>
              <a:gd name="connsiteY49" fmla="*/ 173397 h 605381"/>
              <a:gd name="connsiteX50" fmla="*/ 359111 w 607639"/>
              <a:gd name="connsiteY50" fmla="*/ 118116 h 605381"/>
              <a:gd name="connsiteX51" fmla="*/ 303749 w 607639"/>
              <a:gd name="connsiteY51" fmla="*/ 62835 h 605381"/>
              <a:gd name="connsiteX52" fmla="*/ 303749 w 607639"/>
              <a:gd name="connsiteY52" fmla="*/ 0 h 605381"/>
              <a:gd name="connsiteX53" fmla="*/ 586964 w 607639"/>
              <a:gd name="connsiteY53" fmla="*/ 141490 h 605381"/>
              <a:gd name="connsiteX54" fmla="*/ 586964 w 607639"/>
              <a:gd name="connsiteY54" fmla="*/ 206192 h 605381"/>
              <a:gd name="connsiteX55" fmla="*/ 20535 w 607639"/>
              <a:gd name="connsiteY55" fmla="*/ 206192 h 605381"/>
              <a:gd name="connsiteX56" fmla="*/ 20535 w 607639"/>
              <a:gd name="connsiteY56" fmla="*/ 141490 h 605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07639" h="605381">
                <a:moveTo>
                  <a:pt x="0" y="547235"/>
                </a:moveTo>
                <a:lnTo>
                  <a:pt x="23853" y="547235"/>
                </a:lnTo>
                <a:lnTo>
                  <a:pt x="36136" y="547235"/>
                </a:lnTo>
                <a:lnTo>
                  <a:pt x="190916" y="547235"/>
                </a:lnTo>
                <a:lnTo>
                  <a:pt x="212990" y="547235"/>
                </a:lnTo>
                <a:lnTo>
                  <a:pt x="394560" y="547235"/>
                </a:lnTo>
                <a:lnTo>
                  <a:pt x="416634" y="547235"/>
                </a:lnTo>
                <a:lnTo>
                  <a:pt x="571503" y="547235"/>
                </a:lnTo>
                <a:lnTo>
                  <a:pt x="583786" y="547235"/>
                </a:lnTo>
                <a:lnTo>
                  <a:pt x="607639" y="547235"/>
                </a:lnTo>
                <a:lnTo>
                  <a:pt x="607639" y="605381"/>
                </a:lnTo>
                <a:lnTo>
                  <a:pt x="0" y="605381"/>
                </a:lnTo>
                <a:close/>
                <a:moveTo>
                  <a:pt x="321849" y="269278"/>
                </a:moveTo>
                <a:lnTo>
                  <a:pt x="394531" y="269278"/>
                </a:lnTo>
                <a:lnTo>
                  <a:pt x="394531" y="511247"/>
                </a:lnTo>
                <a:lnTo>
                  <a:pt x="358501" y="511247"/>
                </a:lnTo>
                <a:lnTo>
                  <a:pt x="321849" y="511247"/>
                </a:lnTo>
                <a:close/>
                <a:moveTo>
                  <a:pt x="212966" y="269278"/>
                </a:moveTo>
                <a:lnTo>
                  <a:pt x="285790" y="269278"/>
                </a:lnTo>
                <a:lnTo>
                  <a:pt x="285790" y="511247"/>
                </a:lnTo>
                <a:lnTo>
                  <a:pt x="249111" y="511247"/>
                </a:lnTo>
                <a:lnTo>
                  <a:pt x="212966" y="511247"/>
                </a:lnTo>
                <a:close/>
                <a:moveTo>
                  <a:pt x="446972" y="242181"/>
                </a:moveTo>
                <a:lnTo>
                  <a:pt x="553523" y="242181"/>
                </a:lnTo>
                <a:lnTo>
                  <a:pt x="553523" y="453133"/>
                </a:lnTo>
                <a:lnTo>
                  <a:pt x="583788" y="453133"/>
                </a:lnTo>
                <a:lnTo>
                  <a:pt x="583788" y="511247"/>
                </a:lnTo>
                <a:lnTo>
                  <a:pt x="547648" y="511247"/>
                </a:lnTo>
                <a:lnTo>
                  <a:pt x="452758" y="511247"/>
                </a:lnTo>
                <a:lnTo>
                  <a:pt x="416618" y="511247"/>
                </a:lnTo>
                <a:lnTo>
                  <a:pt x="416618" y="453133"/>
                </a:lnTo>
                <a:lnTo>
                  <a:pt x="446972" y="453133"/>
                </a:lnTo>
                <a:close/>
                <a:moveTo>
                  <a:pt x="54106" y="242181"/>
                </a:moveTo>
                <a:lnTo>
                  <a:pt x="160624" y="242181"/>
                </a:lnTo>
                <a:lnTo>
                  <a:pt x="160624" y="453133"/>
                </a:lnTo>
                <a:lnTo>
                  <a:pt x="190879" y="453133"/>
                </a:lnTo>
                <a:lnTo>
                  <a:pt x="190879" y="511247"/>
                </a:lnTo>
                <a:lnTo>
                  <a:pt x="154839" y="511247"/>
                </a:lnTo>
                <a:lnTo>
                  <a:pt x="59891" y="511247"/>
                </a:lnTo>
                <a:lnTo>
                  <a:pt x="23851" y="511247"/>
                </a:lnTo>
                <a:lnTo>
                  <a:pt x="23851" y="453133"/>
                </a:lnTo>
                <a:lnTo>
                  <a:pt x="54106" y="453133"/>
                </a:lnTo>
                <a:close/>
                <a:moveTo>
                  <a:pt x="303820" y="98933"/>
                </a:moveTo>
                <a:cubicBezTo>
                  <a:pt x="314479" y="98933"/>
                  <a:pt x="323120" y="107542"/>
                  <a:pt x="323120" y="118162"/>
                </a:cubicBezTo>
                <a:cubicBezTo>
                  <a:pt x="323120" y="128782"/>
                  <a:pt x="314479" y="137391"/>
                  <a:pt x="303820" y="137391"/>
                </a:cubicBezTo>
                <a:cubicBezTo>
                  <a:pt x="293161" y="137391"/>
                  <a:pt x="284520" y="128782"/>
                  <a:pt x="284520" y="118162"/>
                </a:cubicBezTo>
                <a:cubicBezTo>
                  <a:pt x="284520" y="107542"/>
                  <a:pt x="293161" y="98933"/>
                  <a:pt x="303820" y="98933"/>
                </a:cubicBezTo>
                <a:close/>
                <a:moveTo>
                  <a:pt x="303749" y="62835"/>
                </a:moveTo>
                <a:cubicBezTo>
                  <a:pt x="273221" y="62835"/>
                  <a:pt x="248388" y="87631"/>
                  <a:pt x="248388" y="118116"/>
                </a:cubicBezTo>
                <a:cubicBezTo>
                  <a:pt x="248388" y="148600"/>
                  <a:pt x="273221" y="173397"/>
                  <a:pt x="303749" y="173397"/>
                </a:cubicBezTo>
                <a:cubicBezTo>
                  <a:pt x="334278" y="173397"/>
                  <a:pt x="359111" y="148600"/>
                  <a:pt x="359111" y="118116"/>
                </a:cubicBezTo>
                <a:cubicBezTo>
                  <a:pt x="359111" y="87631"/>
                  <a:pt x="334278" y="62835"/>
                  <a:pt x="303749" y="62835"/>
                </a:cubicBezTo>
                <a:close/>
                <a:moveTo>
                  <a:pt x="303749" y="0"/>
                </a:moveTo>
                <a:lnTo>
                  <a:pt x="586964" y="141490"/>
                </a:lnTo>
                <a:lnTo>
                  <a:pt x="586964" y="206192"/>
                </a:lnTo>
                <a:lnTo>
                  <a:pt x="20535" y="206192"/>
                </a:lnTo>
                <a:lnTo>
                  <a:pt x="20535" y="141490"/>
                </a:lnTo>
                <a:close/>
              </a:path>
            </a:pathLst>
          </a:custGeom>
          <a:solidFill>
            <a:schemeClr val="bg1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D2EF5885-5A60-4B2D-8095-74A5BABBF48F}"/>
              </a:ext>
            </a:extLst>
          </p:cNvPr>
          <p:cNvSpPr/>
          <p:nvPr/>
        </p:nvSpPr>
        <p:spPr bwMode="auto">
          <a:xfrm>
            <a:off x="3074195" y="4730754"/>
            <a:ext cx="650874" cy="6508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6" name="任意多边形: 形状 25">
            <a:extLst>
              <a:ext uri="{FF2B5EF4-FFF2-40B4-BE49-F238E27FC236}">
                <a16:creationId xmlns:a16="http://schemas.microsoft.com/office/drawing/2014/main" id="{87190438-A8C6-4CAE-9878-55711AD7908D}"/>
              </a:ext>
            </a:extLst>
          </p:cNvPr>
          <p:cNvSpPr/>
          <p:nvPr/>
        </p:nvSpPr>
        <p:spPr bwMode="auto">
          <a:xfrm>
            <a:off x="3249821" y="4906936"/>
            <a:ext cx="299621" cy="298506"/>
          </a:xfrm>
          <a:custGeom>
            <a:avLst/>
            <a:gdLst>
              <a:gd name="connsiteX0" fmla="*/ 0 w 607639"/>
              <a:gd name="connsiteY0" fmla="*/ 547235 h 605381"/>
              <a:gd name="connsiteX1" fmla="*/ 23853 w 607639"/>
              <a:gd name="connsiteY1" fmla="*/ 547235 h 605381"/>
              <a:gd name="connsiteX2" fmla="*/ 36136 w 607639"/>
              <a:gd name="connsiteY2" fmla="*/ 547235 h 605381"/>
              <a:gd name="connsiteX3" fmla="*/ 190916 w 607639"/>
              <a:gd name="connsiteY3" fmla="*/ 547235 h 605381"/>
              <a:gd name="connsiteX4" fmla="*/ 212990 w 607639"/>
              <a:gd name="connsiteY4" fmla="*/ 547235 h 605381"/>
              <a:gd name="connsiteX5" fmla="*/ 394560 w 607639"/>
              <a:gd name="connsiteY5" fmla="*/ 547235 h 605381"/>
              <a:gd name="connsiteX6" fmla="*/ 416634 w 607639"/>
              <a:gd name="connsiteY6" fmla="*/ 547235 h 605381"/>
              <a:gd name="connsiteX7" fmla="*/ 571503 w 607639"/>
              <a:gd name="connsiteY7" fmla="*/ 547235 h 605381"/>
              <a:gd name="connsiteX8" fmla="*/ 583786 w 607639"/>
              <a:gd name="connsiteY8" fmla="*/ 547235 h 605381"/>
              <a:gd name="connsiteX9" fmla="*/ 607639 w 607639"/>
              <a:gd name="connsiteY9" fmla="*/ 547235 h 605381"/>
              <a:gd name="connsiteX10" fmla="*/ 607639 w 607639"/>
              <a:gd name="connsiteY10" fmla="*/ 605381 h 605381"/>
              <a:gd name="connsiteX11" fmla="*/ 0 w 607639"/>
              <a:gd name="connsiteY11" fmla="*/ 605381 h 605381"/>
              <a:gd name="connsiteX12" fmla="*/ 321849 w 607639"/>
              <a:gd name="connsiteY12" fmla="*/ 269278 h 605381"/>
              <a:gd name="connsiteX13" fmla="*/ 394531 w 607639"/>
              <a:gd name="connsiteY13" fmla="*/ 269278 h 605381"/>
              <a:gd name="connsiteX14" fmla="*/ 394531 w 607639"/>
              <a:gd name="connsiteY14" fmla="*/ 511247 h 605381"/>
              <a:gd name="connsiteX15" fmla="*/ 358501 w 607639"/>
              <a:gd name="connsiteY15" fmla="*/ 511247 h 605381"/>
              <a:gd name="connsiteX16" fmla="*/ 321849 w 607639"/>
              <a:gd name="connsiteY16" fmla="*/ 511247 h 605381"/>
              <a:gd name="connsiteX17" fmla="*/ 212966 w 607639"/>
              <a:gd name="connsiteY17" fmla="*/ 269278 h 605381"/>
              <a:gd name="connsiteX18" fmla="*/ 285790 w 607639"/>
              <a:gd name="connsiteY18" fmla="*/ 269278 h 605381"/>
              <a:gd name="connsiteX19" fmla="*/ 285790 w 607639"/>
              <a:gd name="connsiteY19" fmla="*/ 511247 h 605381"/>
              <a:gd name="connsiteX20" fmla="*/ 249111 w 607639"/>
              <a:gd name="connsiteY20" fmla="*/ 511247 h 605381"/>
              <a:gd name="connsiteX21" fmla="*/ 212966 w 607639"/>
              <a:gd name="connsiteY21" fmla="*/ 511247 h 605381"/>
              <a:gd name="connsiteX22" fmla="*/ 446972 w 607639"/>
              <a:gd name="connsiteY22" fmla="*/ 242181 h 605381"/>
              <a:gd name="connsiteX23" fmla="*/ 553523 w 607639"/>
              <a:gd name="connsiteY23" fmla="*/ 242181 h 605381"/>
              <a:gd name="connsiteX24" fmla="*/ 553523 w 607639"/>
              <a:gd name="connsiteY24" fmla="*/ 453133 h 605381"/>
              <a:gd name="connsiteX25" fmla="*/ 583788 w 607639"/>
              <a:gd name="connsiteY25" fmla="*/ 453133 h 605381"/>
              <a:gd name="connsiteX26" fmla="*/ 583788 w 607639"/>
              <a:gd name="connsiteY26" fmla="*/ 511247 h 605381"/>
              <a:gd name="connsiteX27" fmla="*/ 547648 w 607639"/>
              <a:gd name="connsiteY27" fmla="*/ 511247 h 605381"/>
              <a:gd name="connsiteX28" fmla="*/ 452758 w 607639"/>
              <a:gd name="connsiteY28" fmla="*/ 511247 h 605381"/>
              <a:gd name="connsiteX29" fmla="*/ 416618 w 607639"/>
              <a:gd name="connsiteY29" fmla="*/ 511247 h 605381"/>
              <a:gd name="connsiteX30" fmla="*/ 416618 w 607639"/>
              <a:gd name="connsiteY30" fmla="*/ 453133 h 605381"/>
              <a:gd name="connsiteX31" fmla="*/ 446972 w 607639"/>
              <a:gd name="connsiteY31" fmla="*/ 453133 h 605381"/>
              <a:gd name="connsiteX32" fmla="*/ 54106 w 607639"/>
              <a:gd name="connsiteY32" fmla="*/ 242181 h 605381"/>
              <a:gd name="connsiteX33" fmla="*/ 160624 w 607639"/>
              <a:gd name="connsiteY33" fmla="*/ 242181 h 605381"/>
              <a:gd name="connsiteX34" fmla="*/ 160624 w 607639"/>
              <a:gd name="connsiteY34" fmla="*/ 453133 h 605381"/>
              <a:gd name="connsiteX35" fmla="*/ 190879 w 607639"/>
              <a:gd name="connsiteY35" fmla="*/ 453133 h 605381"/>
              <a:gd name="connsiteX36" fmla="*/ 190879 w 607639"/>
              <a:gd name="connsiteY36" fmla="*/ 511247 h 605381"/>
              <a:gd name="connsiteX37" fmla="*/ 154839 w 607639"/>
              <a:gd name="connsiteY37" fmla="*/ 511247 h 605381"/>
              <a:gd name="connsiteX38" fmla="*/ 59891 w 607639"/>
              <a:gd name="connsiteY38" fmla="*/ 511247 h 605381"/>
              <a:gd name="connsiteX39" fmla="*/ 23851 w 607639"/>
              <a:gd name="connsiteY39" fmla="*/ 511247 h 605381"/>
              <a:gd name="connsiteX40" fmla="*/ 23851 w 607639"/>
              <a:gd name="connsiteY40" fmla="*/ 453133 h 605381"/>
              <a:gd name="connsiteX41" fmla="*/ 54106 w 607639"/>
              <a:gd name="connsiteY41" fmla="*/ 453133 h 605381"/>
              <a:gd name="connsiteX42" fmla="*/ 303820 w 607639"/>
              <a:gd name="connsiteY42" fmla="*/ 98933 h 605381"/>
              <a:gd name="connsiteX43" fmla="*/ 323120 w 607639"/>
              <a:gd name="connsiteY43" fmla="*/ 118162 h 605381"/>
              <a:gd name="connsiteX44" fmla="*/ 303820 w 607639"/>
              <a:gd name="connsiteY44" fmla="*/ 137391 h 605381"/>
              <a:gd name="connsiteX45" fmla="*/ 284520 w 607639"/>
              <a:gd name="connsiteY45" fmla="*/ 118162 h 605381"/>
              <a:gd name="connsiteX46" fmla="*/ 303820 w 607639"/>
              <a:gd name="connsiteY46" fmla="*/ 98933 h 605381"/>
              <a:gd name="connsiteX47" fmla="*/ 303749 w 607639"/>
              <a:gd name="connsiteY47" fmla="*/ 62835 h 605381"/>
              <a:gd name="connsiteX48" fmla="*/ 248388 w 607639"/>
              <a:gd name="connsiteY48" fmla="*/ 118116 h 605381"/>
              <a:gd name="connsiteX49" fmla="*/ 303749 w 607639"/>
              <a:gd name="connsiteY49" fmla="*/ 173397 h 605381"/>
              <a:gd name="connsiteX50" fmla="*/ 359111 w 607639"/>
              <a:gd name="connsiteY50" fmla="*/ 118116 h 605381"/>
              <a:gd name="connsiteX51" fmla="*/ 303749 w 607639"/>
              <a:gd name="connsiteY51" fmla="*/ 62835 h 605381"/>
              <a:gd name="connsiteX52" fmla="*/ 303749 w 607639"/>
              <a:gd name="connsiteY52" fmla="*/ 0 h 605381"/>
              <a:gd name="connsiteX53" fmla="*/ 586964 w 607639"/>
              <a:gd name="connsiteY53" fmla="*/ 141490 h 605381"/>
              <a:gd name="connsiteX54" fmla="*/ 586964 w 607639"/>
              <a:gd name="connsiteY54" fmla="*/ 206192 h 605381"/>
              <a:gd name="connsiteX55" fmla="*/ 20535 w 607639"/>
              <a:gd name="connsiteY55" fmla="*/ 206192 h 605381"/>
              <a:gd name="connsiteX56" fmla="*/ 20535 w 607639"/>
              <a:gd name="connsiteY56" fmla="*/ 141490 h 605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07639" h="605381">
                <a:moveTo>
                  <a:pt x="0" y="547235"/>
                </a:moveTo>
                <a:lnTo>
                  <a:pt x="23853" y="547235"/>
                </a:lnTo>
                <a:lnTo>
                  <a:pt x="36136" y="547235"/>
                </a:lnTo>
                <a:lnTo>
                  <a:pt x="190916" y="547235"/>
                </a:lnTo>
                <a:lnTo>
                  <a:pt x="212990" y="547235"/>
                </a:lnTo>
                <a:lnTo>
                  <a:pt x="394560" y="547235"/>
                </a:lnTo>
                <a:lnTo>
                  <a:pt x="416634" y="547235"/>
                </a:lnTo>
                <a:lnTo>
                  <a:pt x="571503" y="547235"/>
                </a:lnTo>
                <a:lnTo>
                  <a:pt x="583786" y="547235"/>
                </a:lnTo>
                <a:lnTo>
                  <a:pt x="607639" y="547235"/>
                </a:lnTo>
                <a:lnTo>
                  <a:pt x="607639" y="605381"/>
                </a:lnTo>
                <a:lnTo>
                  <a:pt x="0" y="605381"/>
                </a:lnTo>
                <a:close/>
                <a:moveTo>
                  <a:pt x="321849" y="269278"/>
                </a:moveTo>
                <a:lnTo>
                  <a:pt x="394531" y="269278"/>
                </a:lnTo>
                <a:lnTo>
                  <a:pt x="394531" y="511247"/>
                </a:lnTo>
                <a:lnTo>
                  <a:pt x="358501" y="511247"/>
                </a:lnTo>
                <a:lnTo>
                  <a:pt x="321849" y="511247"/>
                </a:lnTo>
                <a:close/>
                <a:moveTo>
                  <a:pt x="212966" y="269278"/>
                </a:moveTo>
                <a:lnTo>
                  <a:pt x="285790" y="269278"/>
                </a:lnTo>
                <a:lnTo>
                  <a:pt x="285790" y="511247"/>
                </a:lnTo>
                <a:lnTo>
                  <a:pt x="249111" y="511247"/>
                </a:lnTo>
                <a:lnTo>
                  <a:pt x="212966" y="511247"/>
                </a:lnTo>
                <a:close/>
                <a:moveTo>
                  <a:pt x="446972" y="242181"/>
                </a:moveTo>
                <a:lnTo>
                  <a:pt x="553523" y="242181"/>
                </a:lnTo>
                <a:lnTo>
                  <a:pt x="553523" y="453133"/>
                </a:lnTo>
                <a:lnTo>
                  <a:pt x="583788" y="453133"/>
                </a:lnTo>
                <a:lnTo>
                  <a:pt x="583788" y="511247"/>
                </a:lnTo>
                <a:lnTo>
                  <a:pt x="547648" y="511247"/>
                </a:lnTo>
                <a:lnTo>
                  <a:pt x="452758" y="511247"/>
                </a:lnTo>
                <a:lnTo>
                  <a:pt x="416618" y="511247"/>
                </a:lnTo>
                <a:lnTo>
                  <a:pt x="416618" y="453133"/>
                </a:lnTo>
                <a:lnTo>
                  <a:pt x="446972" y="453133"/>
                </a:lnTo>
                <a:close/>
                <a:moveTo>
                  <a:pt x="54106" y="242181"/>
                </a:moveTo>
                <a:lnTo>
                  <a:pt x="160624" y="242181"/>
                </a:lnTo>
                <a:lnTo>
                  <a:pt x="160624" y="453133"/>
                </a:lnTo>
                <a:lnTo>
                  <a:pt x="190879" y="453133"/>
                </a:lnTo>
                <a:lnTo>
                  <a:pt x="190879" y="511247"/>
                </a:lnTo>
                <a:lnTo>
                  <a:pt x="154839" y="511247"/>
                </a:lnTo>
                <a:lnTo>
                  <a:pt x="59891" y="511247"/>
                </a:lnTo>
                <a:lnTo>
                  <a:pt x="23851" y="511247"/>
                </a:lnTo>
                <a:lnTo>
                  <a:pt x="23851" y="453133"/>
                </a:lnTo>
                <a:lnTo>
                  <a:pt x="54106" y="453133"/>
                </a:lnTo>
                <a:close/>
                <a:moveTo>
                  <a:pt x="303820" y="98933"/>
                </a:moveTo>
                <a:cubicBezTo>
                  <a:pt x="314479" y="98933"/>
                  <a:pt x="323120" y="107542"/>
                  <a:pt x="323120" y="118162"/>
                </a:cubicBezTo>
                <a:cubicBezTo>
                  <a:pt x="323120" y="128782"/>
                  <a:pt x="314479" y="137391"/>
                  <a:pt x="303820" y="137391"/>
                </a:cubicBezTo>
                <a:cubicBezTo>
                  <a:pt x="293161" y="137391"/>
                  <a:pt x="284520" y="128782"/>
                  <a:pt x="284520" y="118162"/>
                </a:cubicBezTo>
                <a:cubicBezTo>
                  <a:pt x="284520" y="107542"/>
                  <a:pt x="293161" y="98933"/>
                  <a:pt x="303820" y="98933"/>
                </a:cubicBezTo>
                <a:close/>
                <a:moveTo>
                  <a:pt x="303749" y="62835"/>
                </a:moveTo>
                <a:cubicBezTo>
                  <a:pt x="273221" y="62835"/>
                  <a:pt x="248388" y="87631"/>
                  <a:pt x="248388" y="118116"/>
                </a:cubicBezTo>
                <a:cubicBezTo>
                  <a:pt x="248388" y="148600"/>
                  <a:pt x="273221" y="173397"/>
                  <a:pt x="303749" y="173397"/>
                </a:cubicBezTo>
                <a:cubicBezTo>
                  <a:pt x="334278" y="173397"/>
                  <a:pt x="359111" y="148600"/>
                  <a:pt x="359111" y="118116"/>
                </a:cubicBezTo>
                <a:cubicBezTo>
                  <a:pt x="359111" y="87631"/>
                  <a:pt x="334278" y="62835"/>
                  <a:pt x="303749" y="62835"/>
                </a:cubicBezTo>
                <a:close/>
                <a:moveTo>
                  <a:pt x="303749" y="0"/>
                </a:moveTo>
                <a:lnTo>
                  <a:pt x="586964" y="141490"/>
                </a:lnTo>
                <a:lnTo>
                  <a:pt x="586964" y="206192"/>
                </a:lnTo>
                <a:lnTo>
                  <a:pt x="20535" y="206192"/>
                </a:lnTo>
                <a:lnTo>
                  <a:pt x="20535" y="141490"/>
                </a:lnTo>
                <a:close/>
              </a:path>
            </a:pathLst>
          </a:custGeom>
          <a:solidFill>
            <a:schemeClr val="bg1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3" name="椭圆 22">
            <a:extLst>
              <a:ext uri="{FF2B5EF4-FFF2-40B4-BE49-F238E27FC236}">
                <a16:creationId xmlns:a16="http://schemas.microsoft.com/office/drawing/2014/main" id="{A438D80C-6056-4A84-8558-BCB73BF9D165}"/>
              </a:ext>
            </a:extLst>
          </p:cNvPr>
          <p:cNvSpPr/>
          <p:nvPr/>
        </p:nvSpPr>
        <p:spPr bwMode="auto">
          <a:xfrm>
            <a:off x="8466932" y="3073402"/>
            <a:ext cx="650874" cy="650872"/>
          </a:xfrm>
          <a:prstGeom prst="ellipse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4" name="任意多边形: 形状 23">
            <a:extLst>
              <a:ext uri="{FF2B5EF4-FFF2-40B4-BE49-F238E27FC236}">
                <a16:creationId xmlns:a16="http://schemas.microsoft.com/office/drawing/2014/main" id="{2FA22CD1-EF1C-4EA7-A900-AFA2D69E4D3D}"/>
              </a:ext>
            </a:extLst>
          </p:cNvPr>
          <p:cNvSpPr/>
          <p:nvPr/>
        </p:nvSpPr>
        <p:spPr bwMode="auto">
          <a:xfrm>
            <a:off x="8642558" y="3249584"/>
            <a:ext cx="299621" cy="298506"/>
          </a:xfrm>
          <a:custGeom>
            <a:avLst/>
            <a:gdLst>
              <a:gd name="connsiteX0" fmla="*/ 0 w 607639"/>
              <a:gd name="connsiteY0" fmla="*/ 547235 h 605381"/>
              <a:gd name="connsiteX1" fmla="*/ 23853 w 607639"/>
              <a:gd name="connsiteY1" fmla="*/ 547235 h 605381"/>
              <a:gd name="connsiteX2" fmla="*/ 36136 w 607639"/>
              <a:gd name="connsiteY2" fmla="*/ 547235 h 605381"/>
              <a:gd name="connsiteX3" fmla="*/ 190916 w 607639"/>
              <a:gd name="connsiteY3" fmla="*/ 547235 h 605381"/>
              <a:gd name="connsiteX4" fmla="*/ 212990 w 607639"/>
              <a:gd name="connsiteY4" fmla="*/ 547235 h 605381"/>
              <a:gd name="connsiteX5" fmla="*/ 394560 w 607639"/>
              <a:gd name="connsiteY5" fmla="*/ 547235 h 605381"/>
              <a:gd name="connsiteX6" fmla="*/ 416634 w 607639"/>
              <a:gd name="connsiteY6" fmla="*/ 547235 h 605381"/>
              <a:gd name="connsiteX7" fmla="*/ 571503 w 607639"/>
              <a:gd name="connsiteY7" fmla="*/ 547235 h 605381"/>
              <a:gd name="connsiteX8" fmla="*/ 583786 w 607639"/>
              <a:gd name="connsiteY8" fmla="*/ 547235 h 605381"/>
              <a:gd name="connsiteX9" fmla="*/ 607639 w 607639"/>
              <a:gd name="connsiteY9" fmla="*/ 547235 h 605381"/>
              <a:gd name="connsiteX10" fmla="*/ 607639 w 607639"/>
              <a:gd name="connsiteY10" fmla="*/ 605381 h 605381"/>
              <a:gd name="connsiteX11" fmla="*/ 0 w 607639"/>
              <a:gd name="connsiteY11" fmla="*/ 605381 h 605381"/>
              <a:gd name="connsiteX12" fmla="*/ 321849 w 607639"/>
              <a:gd name="connsiteY12" fmla="*/ 269278 h 605381"/>
              <a:gd name="connsiteX13" fmla="*/ 394531 w 607639"/>
              <a:gd name="connsiteY13" fmla="*/ 269278 h 605381"/>
              <a:gd name="connsiteX14" fmla="*/ 394531 w 607639"/>
              <a:gd name="connsiteY14" fmla="*/ 511247 h 605381"/>
              <a:gd name="connsiteX15" fmla="*/ 358501 w 607639"/>
              <a:gd name="connsiteY15" fmla="*/ 511247 h 605381"/>
              <a:gd name="connsiteX16" fmla="*/ 321849 w 607639"/>
              <a:gd name="connsiteY16" fmla="*/ 511247 h 605381"/>
              <a:gd name="connsiteX17" fmla="*/ 212966 w 607639"/>
              <a:gd name="connsiteY17" fmla="*/ 269278 h 605381"/>
              <a:gd name="connsiteX18" fmla="*/ 285790 w 607639"/>
              <a:gd name="connsiteY18" fmla="*/ 269278 h 605381"/>
              <a:gd name="connsiteX19" fmla="*/ 285790 w 607639"/>
              <a:gd name="connsiteY19" fmla="*/ 511247 h 605381"/>
              <a:gd name="connsiteX20" fmla="*/ 249111 w 607639"/>
              <a:gd name="connsiteY20" fmla="*/ 511247 h 605381"/>
              <a:gd name="connsiteX21" fmla="*/ 212966 w 607639"/>
              <a:gd name="connsiteY21" fmla="*/ 511247 h 605381"/>
              <a:gd name="connsiteX22" fmla="*/ 446972 w 607639"/>
              <a:gd name="connsiteY22" fmla="*/ 242181 h 605381"/>
              <a:gd name="connsiteX23" fmla="*/ 553523 w 607639"/>
              <a:gd name="connsiteY23" fmla="*/ 242181 h 605381"/>
              <a:gd name="connsiteX24" fmla="*/ 553523 w 607639"/>
              <a:gd name="connsiteY24" fmla="*/ 453133 h 605381"/>
              <a:gd name="connsiteX25" fmla="*/ 583788 w 607639"/>
              <a:gd name="connsiteY25" fmla="*/ 453133 h 605381"/>
              <a:gd name="connsiteX26" fmla="*/ 583788 w 607639"/>
              <a:gd name="connsiteY26" fmla="*/ 511247 h 605381"/>
              <a:gd name="connsiteX27" fmla="*/ 547648 w 607639"/>
              <a:gd name="connsiteY27" fmla="*/ 511247 h 605381"/>
              <a:gd name="connsiteX28" fmla="*/ 452758 w 607639"/>
              <a:gd name="connsiteY28" fmla="*/ 511247 h 605381"/>
              <a:gd name="connsiteX29" fmla="*/ 416618 w 607639"/>
              <a:gd name="connsiteY29" fmla="*/ 511247 h 605381"/>
              <a:gd name="connsiteX30" fmla="*/ 416618 w 607639"/>
              <a:gd name="connsiteY30" fmla="*/ 453133 h 605381"/>
              <a:gd name="connsiteX31" fmla="*/ 446972 w 607639"/>
              <a:gd name="connsiteY31" fmla="*/ 453133 h 605381"/>
              <a:gd name="connsiteX32" fmla="*/ 54106 w 607639"/>
              <a:gd name="connsiteY32" fmla="*/ 242181 h 605381"/>
              <a:gd name="connsiteX33" fmla="*/ 160624 w 607639"/>
              <a:gd name="connsiteY33" fmla="*/ 242181 h 605381"/>
              <a:gd name="connsiteX34" fmla="*/ 160624 w 607639"/>
              <a:gd name="connsiteY34" fmla="*/ 453133 h 605381"/>
              <a:gd name="connsiteX35" fmla="*/ 190879 w 607639"/>
              <a:gd name="connsiteY35" fmla="*/ 453133 h 605381"/>
              <a:gd name="connsiteX36" fmla="*/ 190879 w 607639"/>
              <a:gd name="connsiteY36" fmla="*/ 511247 h 605381"/>
              <a:gd name="connsiteX37" fmla="*/ 154839 w 607639"/>
              <a:gd name="connsiteY37" fmla="*/ 511247 h 605381"/>
              <a:gd name="connsiteX38" fmla="*/ 59891 w 607639"/>
              <a:gd name="connsiteY38" fmla="*/ 511247 h 605381"/>
              <a:gd name="connsiteX39" fmla="*/ 23851 w 607639"/>
              <a:gd name="connsiteY39" fmla="*/ 511247 h 605381"/>
              <a:gd name="connsiteX40" fmla="*/ 23851 w 607639"/>
              <a:gd name="connsiteY40" fmla="*/ 453133 h 605381"/>
              <a:gd name="connsiteX41" fmla="*/ 54106 w 607639"/>
              <a:gd name="connsiteY41" fmla="*/ 453133 h 605381"/>
              <a:gd name="connsiteX42" fmla="*/ 303820 w 607639"/>
              <a:gd name="connsiteY42" fmla="*/ 98933 h 605381"/>
              <a:gd name="connsiteX43" fmla="*/ 323120 w 607639"/>
              <a:gd name="connsiteY43" fmla="*/ 118162 h 605381"/>
              <a:gd name="connsiteX44" fmla="*/ 303820 w 607639"/>
              <a:gd name="connsiteY44" fmla="*/ 137391 h 605381"/>
              <a:gd name="connsiteX45" fmla="*/ 284520 w 607639"/>
              <a:gd name="connsiteY45" fmla="*/ 118162 h 605381"/>
              <a:gd name="connsiteX46" fmla="*/ 303820 w 607639"/>
              <a:gd name="connsiteY46" fmla="*/ 98933 h 605381"/>
              <a:gd name="connsiteX47" fmla="*/ 303749 w 607639"/>
              <a:gd name="connsiteY47" fmla="*/ 62835 h 605381"/>
              <a:gd name="connsiteX48" fmla="*/ 248388 w 607639"/>
              <a:gd name="connsiteY48" fmla="*/ 118116 h 605381"/>
              <a:gd name="connsiteX49" fmla="*/ 303749 w 607639"/>
              <a:gd name="connsiteY49" fmla="*/ 173397 h 605381"/>
              <a:gd name="connsiteX50" fmla="*/ 359111 w 607639"/>
              <a:gd name="connsiteY50" fmla="*/ 118116 h 605381"/>
              <a:gd name="connsiteX51" fmla="*/ 303749 w 607639"/>
              <a:gd name="connsiteY51" fmla="*/ 62835 h 605381"/>
              <a:gd name="connsiteX52" fmla="*/ 303749 w 607639"/>
              <a:gd name="connsiteY52" fmla="*/ 0 h 605381"/>
              <a:gd name="connsiteX53" fmla="*/ 586964 w 607639"/>
              <a:gd name="connsiteY53" fmla="*/ 141490 h 605381"/>
              <a:gd name="connsiteX54" fmla="*/ 586964 w 607639"/>
              <a:gd name="connsiteY54" fmla="*/ 206192 h 605381"/>
              <a:gd name="connsiteX55" fmla="*/ 20535 w 607639"/>
              <a:gd name="connsiteY55" fmla="*/ 206192 h 605381"/>
              <a:gd name="connsiteX56" fmla="*/ 20535 w 607639"/>
              <a:gd name="connsiteY56" fmla="*/ 141490 h 605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</a:cxnLst>
            <a:rect l="l" t="t" r="r" b="b"/>
            <a:pathLst>
              <a:path w="607639" h="605381">
                <a:moveTo>
                  <a:pt x="0" y="547235"/>
                </a:moveTo>
                <a:lnTo>
                  <a:pt x="23853" y="547235"/>
                </a:lnTo>
                <a:lnTo>
                  <a:pt x="36136" y="547235"/>
                </a:lnTo>
                <a:lnTo>
                  <a:pt x="190916" y="547235"/>
                </a:lnTo>
                <a:lnTo>
                  <a:pt x="212990" y="547235"/>
                </a:lnTo>
                <a:lnTo>
                  <a:pt x="394560" y="547235"/>
                </a:lnTo>
                <a:lnTo>
                  <a:pt x="416634" y="547235"/>
                </a:lnTo>
                <a:lnTo>
                  <a:pt x="571503" y="547235"/>
                </a:lnTo>
                <a:lnTo>
                  <a:pt x="583786" y="547235"/>
                </a:lnTo>
                <a:lnTo>
                  <a:pt x="607639" y="547235"/>
                </a:lnTo>
                <a:lnTo>
                  <a:pt x="607639" y="605381"/>
                </a:lnTo>
                <a:lnTo>
                  <a:pt x="0" y="605381"/>
                </a:lnTo>
                <a:close/>
                <a:moveTo>
                  <a:pt x="321849" y="269278"/>
                </a:moveTo>
                <a:lnTo>
                  <a:pt x="394531" y="269278"/>
                </a:lnTo>
                <a:lnTo>
                  <a:pt x="394531" y="511247"/>
                </a:lnTo>
                <a:lnTo>
                  <a:pt x="358501" y="511247"/>
                </a:lnTo>
                <a:lnTo>
                  <a:pt x="321849" y="511247"/>
                </a:lnTo>
                <a:close/>
                <a:moveTo>
                  <a:pt x="212966" y="269278"/>
                </a:moveTo>
                <a:lnTo>
                  <a:pt x="285790" y="269278"/>
                </a:lnTo>
                <a:lnTo>
                  <a:pt x="285790" y="511247"/>
                </a:lnTo>
                <a:lnTo>
                  <a:pt x="249111" y="511247"/>
                </a:lnTo>
                <a:lnTo>
                  <a:pt x="212966" y="511247"/>
                </a:lnTo>
                <a:close/>
                <a:moveTo>
                  <a:pt x="446972" y="242181"/>
                </a:moveTo>
                <a:lnTo>
                  <a:pt x="553523" y="242181"/>
                </a:lnTo>
                <a:lnTo>
                  <a:pt x="553523" y="453133"/>
                </a:lnTo>
                <a:lnTo>
                  <a:pt x="583788" y="453133"/>
                </a:lnTo>
                <a:lnTo>
                  <a:pt x="583788" y="511247"/>
                </a:lnTo>
                <a:lnTo>
                  <a:pt x="547648" y="511247"/>
                </a:lnTo>
                <a:lnTo>
                  <a:pt x="452758" y="511247"/>
                </a:lnTo>
                <a:lnTo>
                  <a:pt x="416618" y="511247"/>
                </a:lnTo>
                <a:lnTo>
                  <a:pt x="416618" y="453133"/>
                </a:lnTo>
                <a:lnTo>
                  <a:pt x="446972" y="453133"/>
                </a:lnTo>
                <a:close/>
                <a:moveTo>
                  <a:pt x="54106" y="242181"/>
                </a:moveTo>
                <a:lnTo>
                  <a:pt x="160624" y="242181"/>
                </a:lnTo>
                <a:lnTo>
                  <a:pt x="160624" y="453133"/>
                </a:lnTo>
                <a:lnTo>
                  <a:pt x="190879" y="453133"/>
                </a:lnTo>
                <a:lnTo>
                  <a:pt x="190879" y="511247"/>
                </a:lnTo>
                <a:lnTo>
                  <a:pt x="154839" y="511247"/>
                </a:lnTo>
                <a:lnTo>
                  <a:pt x="59891" y="511247"/>
                </a:lnTo>
                <a:lnTo>
                  <a:pt x="23851" y="511247"/>
                </a:lnTo>
                <a:lnTo>
                  <a:pt x="23851" y="453133"/>
                </a:lnTo>
                <a:lnTo>
                  <a:pt x="54106" y="453133"/>
                </a:lnTo>
                <a:close/>
                <a:moveTo>
                  <a:pt x="303820" y="98933"/>
                </a:moveTo>
                <a:cubicBezTo>
                  <a:pt x="314479" y="98933"/>
                  <a:pt x="323120" y="107542"/>
                  <a:pt x="323120" y="118162"/>
                </a:cubicBezTo>
                <a:cubicBezTo>
                  <a:pt x="323120" y="128782"/>
                  <a:pt x="314479" y="137391"/>
                  <a:pt x="303820" y="137391"/>
                </a:cubicBezTo>
                <a:cubicBezTo>
                  <a:pt x="293161" y="137391"/>
                  <a:pt x="284520" y="128782"/>
                  <a:pt x="284520" y="118162"/>
                </a:cubicBezTo>
                <a:cubicBezTo>
                  <a:pt x="284520" y="107542"/>
                  <a:pt x="293161" y="98933"/>
                  <a:pt x="303820" y="98933"/>
                </a:cubicBezTo>
                <a:close/>
                <a:moveTo>
                  <a:pt x="303749" y="62835"/>
                </a:moveTo>
                <a:cubicBezTo>
                  <a:pt x="273221" y="62835"/>
                  <a:pt x="248388" y="87631"/>
                  <a:pt x="248388" y="118116"/>
                </a:cubicBezTo>
                <a:cubicBezTo>
                  <a:pt x="248388" y="148600"/>
                  <a:pt x="273221" y="173397"/>
                  <a:pt x="303749" y="173397"/>
                </a:cubicBezTo>
                <a:cubicBezTo>
                  <a:pt x="334278" y="173397"/>
                  <a:pt x="359111" y="148600"/>
                  <a:pt x="359111" y="118116"/>
                </a:cubicBezTo>
                <a:cubicBezTo>
                  <a:pt x="359111" y="87631"/>
                  <a:pt x="334278" y="62835"/>
                  <a:pt x="303749" y="62835"/>
                </a:cubicBezTo>
                <a:close/>
                <a:moveTo>
                  <a:pt x="303749" y="0"/>
                </a:moveTo>
                <a:lnTo>
                  <a:pt x="586964" y="141490"/>
                </a:lnTo>
                <a:lnTo>
                  <a:pt x="586964" y="206192"/>
                </a:lnTo>
                <a:lnTo>
                  <a:pt x="20535" y="206192"/>
                </a:lnTo>
                <a:lnTo>
                  <a:pt x="20535" y="141490"/>
                </a:lnTo>
                <a:close/>
              </a:path>
            </a:pathLst>
          </a:custGeom>
          <a:solidFill>
            <a:schemeClr val="bg1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 fontScale="850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8C6708CB-D16A-4924-A4CE-02006189068E}"/>
              </a:ext>
            </a:extLst>
          </p:cNvPr>
          <p:cNvSpPr txBox="1"/>
          <p:nvPr/>
        </p:nvSpPr>
        <p:spPr bwMode="auto">
          <a:xfrm>
            <a:off x="8839201" y="1236423"/>
            <a:ext cx="2679700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ext here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EB4DB414-20AE-4993-B5FD-07F99BFB273B}"/>
              </a:ext>
            </a:extLst>
          </p:cNvPr>
          <p:cNvSpPr/>
          <p:nvPr/>
        </p:nvSpPr>
        <p:spPr bwMode="auto">
          <a:xfrm>
            <a:off x="8839201" y="1678229"/>
            <a:ext cx="2679700" cy="6997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marR="0" lvl="0" indent="-17145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upporting text here. </a:t>
            </a:r>
          </a:p>
          <a:p>
            <a:pPr marL="171450" marR="0" lvl="0" indent="-17145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……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AE23EDB4-B63E-45ED-AB4B-04A7D3D01243}"/>
              </a:ext>
            </a:extLst>
          </p:cNvPr>
          <p:cNvSpPr txBox="1"/>
          <p:nvPr/>
        </p:nvSpPr>
        <p:spPr bwMode="auto">
          <a:xfrm>
            <a:off x="9179719" y="2807778"/>
            <a:ext cx="2339181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ext here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7919D399-B9DD-4C76-BB77-8D398E0A491F}"/>
              </a:ext>
            </a:extLst>
          </p:cNvPr>
          <p:cNvSpPr/>
          <p:nvPr/>
        </p:nvSpPr>
        <p:spPr bwMode="auto">
          <a:xfrm>
            <a:off x="9179719" y="3249584"/>
            <a:ext cx="2339181" cy="6997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marR="0" lvl="0" indent="-17145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upporting text here. </a:t>
            </a:r>
          </a:p>
          <a:p>
            <a:pPr marL="171450" marR="0" lvl="0" indent="-17145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……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5C2DC3F4-5CD8-41DE-A9B2-05D6D9057FAF}"/>
              </a:ext>
            </a:extLst>
          </p:cNvPr>
          <p:cNvSpPr txBox="1"/>
          <p:nvPr/>
        </p:nvSpPr>
        <p:spPr bwMode="auto">
          <a:xfrm>
            <a:off x="669925" y="4608034"/>
            <a:ext cx="2244725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r" defTabSz="9137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ext here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EC96EA34-9444-42F0-9911-73EB5D74AE03}"/>
              </a:ext>
            </a:extLst>
          </p:cNvPr>
          <p:cNvSpPr/>
          <p:nvPr/>
        </p:nvSpPr>
        <p:spPr bwMode="auto">
          <a:xfrm>
            <a:off x="669925" y="5049840"/>
            <a:ext cx="2244725" cy="6997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marR="0" lvl="0" indent="-171450" algn="r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Supporting text here. </a:t>
            </a:r>
          </a:p>
          <a:p>
            <a:pPr marL="171450" marR="0" lvl="0" indent="-171450" algn="r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altLang="zh-CN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……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773CB885-73A7-4C12-801B-82B51CBE69D7}"/>
              </a:ext>
            </a:extLst>
          </p:cNvPr>
          <p:cNvSpPr txBox="1"/>
          <p:nvPr/>
        </p:nvSpPr>
        <p:spPr bwMode="auto">
          <a:xfrm>
            <a:off x="673099" y="1130300"/>
            <a:ext cx="3589337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>
            <a:normAutofit lnSpcReduction="100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Text here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CAA8280A-062E-425C-90AC-FE057D2B08AF}"/>
              </a:ext>
            </a:extLst>
          </p:cNvPr>
          <p:cNvSpPr/>
          <p:nvPr/>
        </p:nvSpPr>
        <p:spPr bwMode="auto">
          <a:xfrm>
            <a:off x="673099" y="1572106"/>
            <a:ext cx="3589337" cy="866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lnSpcReduction="10000"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marR="0" lvl="0" indent="-17145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py paste fonts. Choose the only option to retain text.</a:t>
            </a:r>
          </a:p>
          <a:p>
            <a:pPr marL="171450" marR="0" lvl="0" indent="-17145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……</a:t>
            </a:r>
          </a:p>
        </p:txBody>
      </p:sp>
    </p:spTree>
    <p:extLst>
      <p:ext uri="{BB962C8B-B14F-4D97-AF65-F5344CB8AC3E}">
        <p14:creationId xmlns:p14="http://schemas.microsoft.com/office/powerpoint/2010/main" val="161394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80FD7A1-BDDE-446B-8A09-7EEC8A5BD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4AC07C6-E190-4803-A7F5-43F736A060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 </a:t>
            </a:r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EABB26E-5FF5-4EF9-A75A-070910771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7</a:t>
            </a:fld>
            <a:endParaRPr lang="zh-CN" altLang="en-US"/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6C1896ED-9183-461C-99CB-32AB7679C634}"/>
              </a:ext>
            </a:extLst>
          </p:cNvPr>
          <p:cNvSpPr/>
          <p:nvPr/>
        </p:nvSpPr>
        <p:spPr>
          <a:xfrm>
            <a:off x="673100" y="1130300"/>
            <a:ext cx="2681305" cy="108829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>
            <a:normAutofit/>
          </a:bodyPr>
          <a:lstStyle/>
          <a:p>
            <a:pPr algn="ctr"/>
            <a:r>
              <a:rPr lang="en-US" altLang="zh-CN" sz="2000" b="1" i="1" dirty="0"/>
              <a:t>Text here</a:t>
            </a:r>
            <a:endParaRPr lang="en-US" sz="2000" b="1" i="1" dirty="0"/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0A9352A1-A466-4A51-AC45-43BB7D810863}"/>
              </a:ext>
            </a:extLst>
          </p:cNvPr>
          <p:cNvSpPr/>
          <p:nvPr/>
        </p:nvSpPr>
        <p:spPr>
          <a:xfrm>
            <a:off x="3394598" y="1130300"/>
            <a:ext cx="2681305" cy="10882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>
            <a:normAutofit/>
          </a:bodyPr>
          <a:lstStyle/>
          <a:p>
            <a:pPr algn="ctr"/>
            <a:r>
              <a:rPr lang="en-US" altLang="zh-CN" sz="2000" b="1" i="1" dirty="0"/>
              <a:t>Text here</a:t>
            </a:r>
          </a:p>
        </p:txBody>
      </p:sp>
      <p:sp>
        <p:nvSpPr>
          <p:cNvPr id="41" name="矩形: 圆角 40">
            <a:extLst>
              <a:ext uri="{FF2B5EF4-FFF2-40B4-BE49-F238E27FC236}">
                <a16:creationId xmlns:a16="http://schemas.microsoft.com/office/drawing/2014/main" id="{FFD5C7A9-9350-49FA-9EDF-BB9CCF2DBE7D}"/>
              </a:ext>
            </a:extLst>
          </p:cNvPr>
          <p:cNvSpPr/>
          <p:nvPr/>
        </p:nvSpPr>
        <p:spPr>
          <a:xfrm>
            <a:off x="1446883" y="6093029"/>
            <a:ext cx="928873" cy="53771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矩形: 圆角 41">
            <a:extLst>
              <a:ext uri="{FF2B5EF4-FFF2-40B4-BE49-F238E27FC236}">
                <a16:creationId xmlns:a16="http://schemas.microsoft.com/office/drawing/2014/main" id="{0A0AB5F2-FCDC-477E-8530-C451F0B6919A}"/>
              </a:ext>
            </a:extLst>
          </p:cNvPr>
          <p:cNvSpPr/>
          <p:nvPr/>
        </p:nvSpPr>
        <p:spPr>
          <a:xfrm>
            <a:off x="4236669" y="6093029"/>
            <a:ext cx="928873" cy="5377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矩形: 圆角 42">
            <a:extLst>
              <a:ext uri="{FF2B5EF4-FFF2-40B4-BE49-F238E27FC236}">
                <a16:creationId xmlns:a16="http://schemas.microsoft.com/office/drawing/2014/main" id="{B8F02C14-B5F6-477E-A10E-653F742757C1}"/>
              </a:ext>
            </a:extLst>
          </p:cNvPr>
          <p:cNvSpPr/>
          <p:nvPr/>
        </p:nvSpPr>
        <p:spPr>
          <a:xfrm>
            <a:off x="7043300" y="6093029"/>
            <a:ext cx="928873" cy="53771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矩形: 圆角 43">
            <a:extLst>
              <a:ext uri="{FF2B5EF4-FFF2-40B4-BE49-F238E27FC236}">
                <a16:creationId xmlns:a16="http://schemas.microsoft.com/office/drawing/2014/main" id="{3C2F9038-547A-47DF-973E-7400B89DB18F}"/>
              </a:ext>
            </a:extLst>
          </p:cNvPr>
          <p:cNvSpPr/>
          <p:nvPr/>
        </p:nvSpPr>
        <p:spPr>
          <a:xfrm>
            <a:off x="9816242" y="6093029"/>
            <a:ext cx="928873" cy="53771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0A220B5-EA67-4A1C-A914-78D10C94B7EE}"/>
              </a:ext>
            </a:extLst>
          </p:cNvPr>
          <p:cNvSpPr/>
          <p:nvPr/>
        </p:nvSpPr>
        <p:spPr>
          <a:xfrm>
            <a:off x="6116097" y="1130300"/>
            <a:ext cx="2681305" cy="108829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>
            <a:normAutofit/>
          </a:bodyPr>
          <a:lstStyle/>
          <a:p>
            <a:pPr algn="ctr"/>
            <a:r>
              <a:rPr lang="en-US" altLang="zh-CN" sz="2000" b="1" i="1"/>
              <a:t>Text here</a:t>
            </a:r>
            <a:endParaRPr lang="en-US" altLang="zh-CN" sz="2000" b="1" i="1" dirty="0"/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C47F4631-A59C-4E09-A0A9-75B61AFDED0A}"/>
              </a:ext>
            </a:extLst>
          </p:cNvPr>
          <p:cNvSpPr/>
          <p:nvPr/>
        </p:nvSpPr>
        <p:spPr>
          <a:xfrm>
            <a:off x="8837595" y="1130300"/>
            <a:ext cx="2681305" cy="10882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>
            <a:normAutofit/>
          </a:bodyPr>
          <a:lstStyle/>
          <a:p>
            <a:pPr algn="ctr"/>
            <a:r>
              <a:rPr lang="en-US" altLang="zh-CN" sz="2000" b="1" i="1" dirty="0"/>
              <a:t>Text here</a:t>
            </a: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183D9E7D-985D-40A0-BB39-B10AAA1C6EED}"/>
              </a:ext>
            </a:extLst>
          </p:cNvPr>
          <p:cNvSpPr/>
          <p:nvPr/>
        </p:nvSpPr>
        <p:spPr>
          <a:xfrm>
            <a:off x="673099" y="2218594"/>
            <a:ext cx="10845800" cy="5881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/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B070955E-7E8C-4336-80D7-20F0ADED462A}"/>
              </a:ext>
            </a:extLst>
          </p:cNvPr>
          <p:cNvSpPr/>
          <p:nvPr/>
        </p:nvSpPr>
        <p:spPr>
          <a:xfrm>
            <a:off x="673099" y="2806753"/>
            <a:ext cx="10845800" cy="5881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/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82A9FEB0-6983-41CA-93B8-525EB4CEEA96}"/>
              </a:ext>
            </a:extLst>
          </p:cNvPr>
          <p:cNvSpPr/>
          <p:nvPr/>
        </p:nvSpPr>
        <p:spPr>
          <a:xfrm>
            <a:off x="673099" y="3401168"/>
            <a:ext cx="10845800" cy="5881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/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21162A4D-E7FE-4597-A1AD-27C193E1D824}"/>
              </a:ext>
            </a:extLst>
          </p:cNvPr>
          <p:cNvSpPr/>
          <p:nvPr/>
        </p:nvSpPr>
        <p:spPr>
          <a:xfrm>
            <a:off x="673099" y="3983072"/>
            <a:ext cx="10845800" cy="5881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/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05FD79CD-9FBF-4C0D-8DAF-595C71FD27A8}"/>
              </a:ext>
            </a:extLst>
          </p:cNvPr>
          <p:cNvSpPr/>
          <p:nvPr/>
        </p:nvSpPr>
        <p:spPr>
          <a:xfrm>
            <a:off x="673099" y="4571231"/>
            <a:ext cx="10845800" cy="58815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/>
          </a:p>
        </p:txBody>
      </p:sp>
      <p:sp>
        <p:nvSpPr>
          <p:cNvPr id="88" name="文本框 87">
            <a:extLst>
              <a:ext uri="{FF2B5EF4-FFF2-40B4-BE49-F238E27FC236}">
                <a16:creationId xmlns:a16="http://schemas.microsoft.com/office/drawing/2014/main" id="{11CB7783-2A61-4ED0-89C0-783B6A2AC2AA}"/>
              </a:ext>
            </a:extLst>
          </p:cNvPr>
          <p:cNvSpPr txBox="1"/>
          <p:nvPr/>
        </p:nvSpPr>
        <p:spPr>
          <a:xfrm>
            <a:off x="673100" y="2822466"/>
            <a:ext cx="2476440" cy="556735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…</a:t>
            </a:r>
          </a:p>
        </p:txBody>
      </p:sp>
      <p:sp>
        <p:nvSpPr>
          <p:cNvPr id="89" name="文本框 88">
            <a:extLst>
              <a:ext uri="{FF2B5EF4-FFF2-40B4-BE49-F238E27FC236}">
                <a16:creationId xmlns:a16="http://schemas.microsoft.com/office/drawing/2014/main" id="{2F1C4CCC-8498-4A11-B986-7DD200207728}"/>
              </a:ext>
            </a:extLst>
          </p:cNvPr>
          <p:cNvSpPr txBox="1"/>
          <p:nvPr/>
        </p:nvSpPr>
        <p:spPr>
          <a:xfrm>
            <a:off x="673100" y="2234307"/>
            <a:ext cx="2476440" cy="556735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…</a:t>
            </a:r>
          </a:p>
        </p:txBody>
      </p:sp>
      <p:sp>
        <p:nvSpPr>
          <p:cNvPr id="90" name="文本框 89">
            <a:extLst>
              <a:ext uri="{FF2B5EF4-FFF2-40B4-BE49-F238E27FC236}">
                <a16:creationId xmlns:a16="http://schemas.microsoft.com/office/drawing/2014/main" id="{D9EA0E14-E682-4216-B3B8-8082305CB593}"/>
              </a:ext>
            </a:extLst>
          </p:cNvPr>
          <p:cNvSpPr txBox="1"/>
          <p:nvPr/>
        </p:nvSpPr>
        <p:spPr>
          <a:xfrm>
            <a:off x="673100" y="3410625"/>
            <a:ext cx="2476440" cy="556735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</a:t>
            </a:r>
          </a:p>
        </p:txBody>
      </p:sp>
      <p:sp>
        <p:nvSpPr>
          <p:cNvPr id="91" name="文本框 90">
            <a:extLst>
              <a:ext uri="{FF2B5EF4-FFF2-40B4-BE49-F238E27FC236}">
                <a16:creationId xmlns:a16="http://schemas.microsoft.com/office/drawing/2014/main" id="{2AF1631B-5059-4C60-B8F0-DB99F78EDE7B}"/>
              </a:ext>
            </a:extLst>
          </p:cNvPr>
          <p:cNvSpPr txBox="1"/>
          <p:nvPr/>
        </p:nvSpPr>
        <p:spPr>
          <a:xfrm>
            <a:off x="673100" y="4586943"/>
            <a:ext cx="2476440" cy="556735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…</a:t>
            </a:r>
          </a:p>
        </p:txBody>
      </p:sp>
      <p:sp>
        <p:nvSpPr>
          <p:cNvPr id="92" name="文本框 91">
            <a:extLst>
              <a:ext uri="{FF2B5EF4-FFF2-40B4-BE49-F238E27FC236}">
                <a16:creationId xmlns:a16="http://schemas.microsoft.com/office/drawing/2014/main" id="{D51B4B98-5204-4A46-9FCF-0685578086A7}"/>
              </a:ext>
            </a:extLst>
          </p:cNvPr>
          <p:cNvSpPr txBox="1"/>
          <p:nvPr/>
        </p:nvSpPr>
        <p:spPr>
          <a:xfrm>
            <a:off x="673100" y="3998784"/>
            <a:ext cx="2476440" cy="556735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…</a:t>
            </a:r>
          </a:p>
        </p:txBody>
      </p:sp>
      <p:sp>
        <p:nvSpPr>
          <p:cNvPr id="83" name="文本框 82">
            <a:extLst>
              <a:ext uri="{FF2B5EF4-FFF2-40B4-BE49-F238E27FC236}">
                <a16:creationId xmlns:a16="http://schemas.microsoft.com/office/drawing/2014/main" id="{CC82F59E-DE84-4650-8953-415CDD3A21EE}"/>
              </a:ext>
            </a:extLst>
          </p:cNvPr>
          <p:cNvSpPr txBox="1"/>
          <p:nvPr/>
        </p:nvSpPr>
        <p:spPr>
          <a:xfrm>
            <a:off x="3428742" y="2822466"/>
            <a:ext cx="2476440" cy="556735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</a:t>
            </a:r>
          </a:p>
        </p:txBody>
      </p:sp>
      <p:sp>
        <p:nvSpPr>
          <p:cNvPr id="84" name="文本框 83">
            <a:extLst>
              <a:ext uri="{FF2B5EF4-FFF2-40B4-BE49-F238E27FC236}">
                <a16:creationId xmlns:a16="http://schemas.microsoft.com/office/drawing/2014/main" id="{B49F16DE-7074-42F6-AC49-4E821728CC1A}"/>
              </a:ext>
            </a:extLst>
          </p:cNvPr>
          <p:cNvSpPr txBox="1"/>
          <p:nvPr/>
        </p:nvSpPr>
        <p:spPr>
          <a:xfrm>
            <a:off x="3428742" y="2234307"/>
            <a:ext cx="2476440" cy="556735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…</a:t>
            </a:r>
          </a:p>
        </p:txBody>
      </p:sp>
      <p:sp>
        <p:nvSpPr>
          <p:cNvPr id="85" name="文本框 84">
            <a:extLst>
              <a:ext uri="{FF2B5EF4-FFF2-40B4-BE49-F238E27FC236}">
                <a16:creationId xmlns:a16="http://schemas.microsoft.com/office/drawing/2014/main" id="{39403577-8FAA-490D-9BE5-3A020B36C6EC}"/>
              </a:ext>
            </a:extLst>
          </p:cNvPr>
          <p:cNvSpPr txBox="1"/>
          <p:nvPr/>
        </p:nvSpPr>
        <p:spPr>
          <a:xfrm>
            <a:off x="3428742" y="3410625"/>
            <a:ext cx="2476440" cy="556735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…</a:t>
            </a:r>
          </a:p>
        </p:txBody>
      </p:sp>
      <p:sp>
        <p:nvSpPr>
          <p:cNvPr id="86" name="文本框 85">
            <a:extLst>
              <a:ext uri="{FF2B5EF4-FFF2-40B4-BE49-F238E27FC236}">
                <a16:creationId xmlns:a16="http://schemas.microsoft.com/office/drawing/2014/main" id="{0C3DFC84-C942-4F2A-8443-DE44D6743CF6}"/>
              </a:ext>
            </a:extLst>
          </p:cNvPr>
          <p:cNvSpPr txBox="1"/>
          <p:nvPr/>
        </p:nvSpPr>
        <p:spPr>
          <a:xfrm>
            <a:off x="3428742" y="4586943"/>
            <a:ext cx="2476440" cy="556735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…</a:t>
            </a:r>
          </a:p>
        </p:txBody>
      </p:sp>
      <p:sp>
        <p:nvSpPr>
          <p:cNvPr id="87" name="文本框 86">
            <a:extLst>
              <a:ext uri="{FF2B5EF4-FFF2-40B4-BE49-F238E27FC236}">
                <a16:creationId xmlns:a16="http://schemas.microsoft.com/office/drawing/2014/main" id="{07A13828-644A-4839-B4BA-03110D9F15D6}"/>
              </a:ext>
            </a:extLst>
          </p:cNvPr>
          <p:cNvSpPr txBox="1"/>
          <p:nvPr/>
        </p:nvSpPr>
        <p:spPr>
          <a:xfrm>
            <a:off x="3428742" y="3998784"/>
            <a:ext cx="2476440" cy="556735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…</a:t>
            </a:r>
          </a:p>
        </p:txBody>
      </p:sp>
      <p:sp>
        <p:nvSpPr>
          <p:cNvPr id="78" name="文本框 77">
            <a:extLst>
              <a:ext uri="{FF2B5EF4-FFF2-40B4-BE49-F238E27FC236}">
                <a16:creationId xmlns:a16="http://schemas.microsoft.com/office/drawing/2014/main" id="{6CCBB036-C4F3-4705-9815-A480164A1E35}"/>
              </a:ext>
            </a:extLst>
          </p:cNvPr>
          <p:cNvSpPr txBox="1"/>
          <p:nvPr/>
        </p:nvSpPr>
        <p:spPr>
          <a:xfrm>
            <a:off x="6184384" y="2822466"/>
            <a:ext cx="2476440" cy="556735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…</a:t>
            </a:r>
          </a:p>
        </p:txBody>
      </p:sp>
      <p:sp>
        <p:nvSpPr>
          <p:cNvPr id="79" name="文本框 78">
            <a:extLst>
              <a:ext uri="{FF2B5EF4-FFF2-40B4-BE49-F238E27FC236}">
                <a16:creationId xmlns:a16="http://schemas.microsoft.com/office/drawing/2014/main" id="{DFD6746D-F18F-48FA-A1C7-9F17B70B87A4}"/>
              </a:ext>
            </a:extLst>
          </p:cNvPr>
          <p:cNvSpPr txBox="1"/>
          <p:nvPr/>
        </p:nvSpPr>
        <p:spPr>
          <a:xfrm>
            <a:off x="6184384" y="2234307"/>
            <a:ext cx="2476440" cy="556735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…</a:t>
            </a:r>
          </a:p>
        </p:txBody>
      </p:sp>
      <p:sp>
        <p:nvSpPr>
          <p:cNvPr id="80" name="文本框 79">
            <a:extLst>
              <a:ext uri="{FF2B5EF4-FFF2-40B4-BE49-F238E27FC236}">
                <a16:creationId xmlns:a16="http://schemas.microsoft.com/office/drawing/2014/main" id="{0262DB18-96B8-466F-A482-E62AF5F4E448}"/>
              </a:ext>
            </a:extLst>
          </p:cNvPr>
          <p:cNvSpPr txBox="1"/>
          <p:nvPr/>
        </p:nvSpPr>
        <p:spPr>
          <a:xfrm>
            <a:off x="6184384" y="3410625"/>
            <a:ext cx="2476440" cy="556735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…</a:t>
            </a:r>
          </a:p>
        </p:txBody>
      </p:sp>
      <p:sp>
        <p:nvSpPr>
          <p:cNvPr id="81" name="文本框 80">
            <a:extLst>
              <a:ext uri="{FF2B5EF4-FFF2-40B4-BE49-F238E27FC236}">
                <a16:creationId xmlns:a16="http://schemas.microsoft.com/office/drawing/2014/main" id="{8ECAD6A1-6EA0-4DAE-A68E-B4A03C1BC375}"/>
              </a:ext>
            </a:extLst>
          </p:cNvPr>
          <p:cNvSpPr txBox="1"/>
          <p:nvPr/>
        </p:nvSpPr>
        <p:spPr>
          <a:xfrm>
            <a:off x="6184384" y="4586943"/>
            <a:ext cx="2476440" cy="556735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…</a:t>
            </a:r>
          </a:p>
        </p:txBody>
      </p:sp>
      <p:sp>
        <p:nvSpPr>
          <p:cNvPr id="82" name="文本框 81">
            <a:extLst>
              <a:ext uri="{FF2B5EF4-FFF2-40B4-BE49-F238E27FC236}">
                <a16:creationId xmlns:a16="http://schemas.microsoft.com/office/drawing/2014/main" id="{3F576792-F004-495B-8087-BD12317748D6}"/>
              </a:ext>
            </a:extLst>
          </p:cNvPr>
          <p:cNvSpPr txBox="1"/>
          <p:nvPr/>
        </p:nvSpPr>
        <p:spPr>
          <a:xfrm>
            <a:off x="6184384" y="3998784"/>
            <a:ext cx="2476440" cy="556735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</a:t>
            </a:r>
          </a:p>
        </p:txBody>
      </p:sp>
      <p:sp>
        <p:nvSpPr>
          <p:cNvPr id="73" name="文本框 72">
            <a:extLst>
              <a:ext uri="{FF2B5EF4-FFF2-40B4-BE49-F238E27FC236}">
                <a16:creationId xmlns:a16="http://schemas.microsoft.com/office/drawing/2014/main" id="{7764A9CD-9ACD-41D0-B675-94A275869364}"/>
              </a:ext>
            </a:extLst>
          </p:cNvPr>
          <p:cNvSpPr txBox="1"/>
          <p:nvPr/>
        </p:nvSpPr>
        <p:spPr>
          <a:xfrm>
            <a:off x="8940027" y="2822466"/>
            <a:ext cx="2476440" cy="556735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…</a:t>
            </a:r>
          </a:p>
        </p:txBody>
      </p:sp>
      <p:sp>
        <p:nvSpPr>
          <p:cNvPr id="74" name="文本框 73">
            <a:extLst>
              <a:ext uri="{FF2B5EF4-FFF2-40B4-BE49-F238E27FC236}">
                <a16:creationId xmlns:a16="http://schemas.microsoft.com/office/drawing/2014/main" id="{D5F69E6E-A454-4FFA-A0E3-9B5A1CF61A55}"/>
              </a:ext>
            </a:extLst>
          </p:cNvPr>
          <p:cNvSpPr txBox="1"/>
          <p:nvPr/>
        </p:nvSpPr>
        <p:spPr>
          <a:xfrm>
            <a:off x="8940027" y="2234307"/>
            <a:ext cx="2476440" cy="556735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</a:t>
            </a:r>
          </a:p>
        </p:txBody>
      </p:sp>
      <p:sp>
        <p:nvSpPr>
          <p:cNvPr id="75" name="文本框 74">
            <a:extLst>
              <a:ext uri="{FF2B5EF4-FFF2-40B4-BE49-F238E27FC236}">
                <a16:creationId xmlns:a16="http://schemas.microsoft.com/office/drawing/2014/main" id="{3FA5BE0C-9F7B-4E8A-99A9-46E81E0F3A15}"/>
              </a:ext>
            </a:extLst>
          </p:cNvPr>
          <p:cNvSpPr txBox="1"/>
          <p:nvPr/>
        </p:nvSpPr>
        <p:spPr>
          <a:xfrm>
            <a:off x="8940027" y="3410625"/>
            <a:ext cx="2476440" cy="556735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…</a:t>
            </a:r>
          </a:p>
        </p:txBody>
      </p:sp>
      <p:sp>
        <p:nvSpPr>
          <p:cNvPr id="76" name="文本框 75">
            <a:extLst>
              <a:ext uri="{FF2B5EF4-FFF2-40B4-BE49-F238E27FC236}">
                <a16:creationId xmlns:a16="http://schemas.microsoft.com/office/drawing/2014/main" id="{B82C1364-5D3D-48B9-804C-1F826DD03354}"/>
              </a:ext>
            </a:extLst>
          </p:cNvPr>
          <p:cNvSpPr txBox="1"/>
          <p:nvPr/>
        </p:nvSpPr>
        <p:spPr>
          <a:xfrm>
            <a:off x="8940027" y="4586943"/>
            <a:ext cx="2476440" cy="556735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…</a:t>
            </a:r>
          </a:p>
        </p:txBody>
      </p:sp>
      <p:sp>
        <p:nvSpPr>
          <p:cNvPr id="77" name="文本框 76">
            <a:extLst>
              <a:ext uri="{FF2B5EF4-FFF2-40B4-BE49-F238E27FC236}">
                <a16:creationId xmlns:a16="http://schemas.microsoft.com/office/drawing/2014/main" id="{3086B174-AF94-4C69-8C6B-3E3BA8C9F83B}"/>
              </a:ext>
            </a:extLst>
          </p:cNvPr>
          <p:cNvSpPr txBox="1"/>
          <p:nvPr/>
        </p:nvSpPr>
        <p:spPr>
          <a:xfrm>
            <a:off x="8940027" y="3998784"/>
            <a:ext cx="2476440" cy="556735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algn="ctr"/>
            <a:r>
              <a:rPr lang="en-US" sz="11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……</a:t>
            </a:r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CDEF6484-E67F-4A80-B9CC-5AAB83DE6E17}"/>
              </a:ext>
            </a:extLst>
          </p:cNvPr>
          <p:cNvSpPr txBox="1"/>
          <p:nvPr/>
        </p:nvSpPr>
        <p:spPr bwMode="auto">
          <a:xfrm>
            <a:off x="1041400" y="5405307"/>
            <a:ext cx="1709961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/>
              <a:t>30,000K</a:t>
            </a:r>
          </a:p>
        </p:txBody>
      </p:sp>
      <p:cxnSp>
        <p:nvCxnSpPr>
          <p:cNvPr id="67" name="直接连接符 66">
            <a:extLst>
              <a:ext uri="{FF2B5EF4-FFF2-40B4-BE49-F238E27FC236}">
                <a16:creationId xmlns:a16="http://schemas.microsoft.com/office/drawing/2014/main" id="{655CEFD5-1631-4BA4-B558-42779680BE3C}"/>
              </a:ext>
            </a:extLst>
          </p:cNvPr>
          <p:cNvCxnSpPr/>
          <p:nvPr/>
        </p:nvCxnSpPr>
        <p:spPr>
          <a:xfrm>
            <a:off x="3374502" y="2218594"/>
            <a:ext cx="0" cy="294079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接连接符 67">
            <a:extLst>
              <a:ext uri="{FF2B5EF4-FFF2-40B4-BE49-F238E27FC236}">
                <a16:creationId xmlns:a16="http://schemas.microsoft.com/office/drawing/2014/main" id="{5627E054-76E9-4594-BBD4-34DFE63A4CF7}"/>
              </a:ext>
            </a:extLst>
          </p:cNvPr>
          <p:cNvCxnSpPr/>
          <p:nvPr/>
        </p:nvCxnSpPr>
        <p:spPr>
          <a:xfrm>
            <a:off x="6098652" y="2218594"/>
            <a:ext cx="0" cy="294079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接连接符 68">
            <a:extLst>
              <a:ext uri="{FF2B5EF4-FFF2-40B4-BE49-F238E27FC236}">
                <a16:creationId xmlns:a16="http://schemas.microsoft.com/office/drawing/2014/main" id="{F3A4B7B5-44AE-44E2-AA6E-9A1BF8C20109}"/>
              </a:ext>
            </a:extLst>
          </p:cNvPr>
          <p:cNvCxnSpPr/>
          <p:nvPr/>
        </p:nvCxnSpPr>
        <p:spPr>
          <a:xfrm>
            <a:off x="8822802" y="2218594"/>
            <a:ext cx="0" cy="294079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文本框 69">
            <a:extLst>
              <a:ext uri="{FF2B5EF4-FFF2-40B4-BE49-F238E27FC236}">
                <a16:creationId xmlns:a16="http://schemas.microsoft.com/office/drawing/2014/main" id="{DDD49CDC-1784-4E51-8CAE-471282CF04C0}"/>
              </a:ext>
            </a:extLst>
          </p:cNvPr>
          <p:cNvSpPr txBox="1"/>
          <p:nvPr/>
        </p:nvSpPr>
        <p:spPr bwMode="auto">
          <a:xfrm>
            <a:off x="3880269" y="5405307"/>
            <a:ext cx="1709961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/>
              <a:t>20,000K</a:t>
            </a:r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CFE99538-2686-4CB3-BC10-C23C184192B3}"/>
              </a:ext>
            </a:extLst>
          </p:cNvPr>
          <p:cNvSpPr txBox="1"/>
          <p:nvPr/>
        </p:nvSpPr>
        <p:spPr bwMode="auto">
          <a:xfrm>
            <a:off x="6601772" y="5405307"/>
            <a:ext cx="1709961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/>
              <a:t>50,000K</a:t>
            </a:r>
          </a:p>
        </p:txBody>
      </p:sp>
      <p:sp>
        <p:nvSpPr>
          <p:cNvPr id="72" name="文本框 71">
            <a:extLst>
              <a:ext uri="{FF2B5EF4-FFF2-40B4-BE49-F238E27FC236}">
                <a16:creationId xmlns:a16="http://schemas.microsoft.com/office/drawing/2014/main" id="{5EFDE90A-F11D-4191-A8F0-7701EB2E28B4}"/>
              </a:ext>
            </a:extLst>
          </p:cNvPr>
          <p:cNvSpPr txBox="1"/>
          <p:nvPr/>
        </p:nvSpPr>
        <p:spPr bwMode="auto">
          <a:xfrm>
            <a:off x="9323275" y="5405307"/>
            <a:ext cx="1709961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/>
              <a:t>40,000K</a:t>
            </a:r>
          </a:p>
        </p:txBody>
      </p:sp>
    </p:spTree>
    <p:extLst>
      <p:ext uri="{BB962C8B-B14F-4D97-AF65-F5344CB8AC3E}">
        <p14:creationId xmlns:p14="http://schemas.microsoft.com/office/powerpoint/2010/main" val="38317155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F071928-F7C9-4B78-9C0C-47F0C1D8A4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5A0569C-0123-4C13-BC9A-FA90832839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FCF7AC1-5222-467B-A79C-87C41DD4D1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8</a:t>
            </a:fld>
            <a:endParaRPr lang="zh-CN" altLang="en-US"/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A6B1C95C-0F56-42F3-B72C-7A47E2DBDECA}"/>
              </a:ext>
            </a:extLst>
          </p:cNvPr>
          <p:cNvSpPr/>
          <p:nvPr/>
        </p:nvSpPr>
        <p:spPr>
          <a:xfrm flipH="1">
            <a:off x="6606078" y="1258472"/>
            <a:ext cx="4620110" cy="561265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9" h="21575" extrusionOk="0">
                <a:moveTo>
                  <a:pt x="0" y="21575"/>
                </a:moveTo>
                <a:cubicBezTo>
                  <a:pt x="364" y="20930"/>
                  <a:pt x="784" y="20308"/>
                  <a:pt x="1258" y="19714"/>
                </a:cubicBezTo>
                <a:cubicBezTo>
                  <a:pt x="1746" y="19103"/>
                  <a:pt x="2289" y="18523"/>
                  <a:pt x="2882" y="17980"/>
                </a:cubicBezTo>
                <a:cubicBezTo>
                  <a:pt x="3717" y="17303"/>
                  <a:pt x="4249" y="16408"/>
                  <a:pt x="4389" y="15444"/>
                </a:cubicBezTo>
                <a:cubicBezTo>
                  <a:pt x="4539" y="14416"/>
                  <a:pt x="4234" y="13377"/>
                  <a:pt x="3531" y="12522"/>
                </a:cubicBezTo>
                <a:cubicBezTo>
                  <a:pt x="3219" y="12164"/>
                  <a:pt x="2920" y="11801"/>
                  <a:pt x="2633" y="11433"/>
                </a:cubicBezTo>
                <a:cubicBezTo>
                  <a:pt x="2226" y="10910"/>
                  <a:pt x="1837" y="10370"/>
                  <a:pt x="1599" y="9774"/>
                </a:cubicBezTo>
                <a:cubicBezTo>
                  <a:pt x="1402" y="9281"/>
                  <a:pt x="1314" y="8767"/>
                  <a:pt x="1298" y="8253"/>
                </a:cubicBezTo>
                <a:cubicBezTo>
                  <a:pt x="1281" y="7740"/>
                  <a:pt x="1336" y="7224"/>
                  <a:pt x="1464" y="6715"/>
                </a:cubicBezTo>
                <a:cubicBezTo>
                  <a:pt x="1652" y="5760"/>
                  <a:pt x="2014" y="4844"/>
                  <a:pt x="2530" y="3994"/>
                </a:cubicBezTo>
                <a:cubicBezTo>
                  <a:pt x="3012" y="3202"/>
                  <a:pt x="3632" y="2460"/>
                  <a:pt x="4433" y="1849"/>
                </a:cubicBezTo>
                <a:cubicBezTo>
                  <a:pt x="5254" y="1223"/>
                  <a:pt x="6222" y="765"/>
                  <a:pt x="7250" y="459"/>
                </a:cubicBezTo>
                <a:cubicBezTo>
                  <a:pt x="8292" y="148"/>
                  <a:pt x="9403" y="-9"/>
                  <a:pt x="10532" y="4"/>
                </a:cubicBezTo>
                <a:cubicBezTo>
                  <a:pt x="11702" y="-25"/>
                  <a:pt x="12869" y="111"/>
                  <a:pt x="13984" y="408"/>
                </a:cubicBezTo>
                <a:cubicBezTo>
                  <a:pt x="14958" y="666"/>
                  <a:pt x="15880" y="1044"/>
                  <a:pt x="16720" y="1528"/>
                </a:cubicBezTo>
                <a:cubicBezTo>
                  <a:pt x="17100" y="1784"/>
                  <a:pt x="17436" y="2082"/>
                  <a:pt x="17717" y="2416"/>
                </a:cubicBezTo>
                <a:cubicBezTo>
                  <a:pt x="18128" y="2903"/>
                  <a:pt x="18413" y="3450"/>
                  <a:pt x="18695" y="3992"/>
                </a:cubicBezTo>
                <a:cubicBezTo>
                  <a:pt x="18999" y="4578"/>
                  <a:pt x="19304" y="5165"/>
                  <a:pt x="19610" y="5754"/>
                </a:cubicBezTo>
                <a:cubicBezTo>
                  <a:pt x="19691" y="5882"/>
                  <a:pt x="19766" y="6012"/>
                  <a:pt x="19835" y="6142"/>
                </a:cubicBezTo>
                <a:cubicBezTo>
                  <a:pt x="19908" y="6280"/>
                  <a:pt x="19976" y="6421"/>
                  <a:pt x="20001" y="6572"/>
                </a:cubicBezTo>
                <a:cubicBezTo>
                  <a:pt x="20017" y="6673"/>
                  <a:pt x="20014" y="6775"/>
                  <a:pt x="19982" y="6872"/>
                </a:cubicBezTo>
                <a:cubicBezTo>
                  <a:pt x="19961" y="6934"/>
                  <a:pt x="19929" y="6993"/>
                  <a:pt x="19900" y="7053"/>
                </a:cubicBezTo>
                <a:cubicBezTo>
                  <a:pt x="19867" y="7119"/>
                  <a:pt x="19837" y="7186"/>
                  <a:pt x="19810" y="7254"/>
                </a:cubicBezTo>
                <a:cubicBezTo>
                  <a:pt x="19764" y="7330"/>
                  <a:pt x="19734" y="7412"/>
                  <a:pt x="19723" y="7497"/>
                </a:cubicBezTo>
                <a:cubicBezTo>
                  <a:pt x="19703" y="7648"/>
                  <a:pt x="19743" y="7800"/>
                  <a:pt x="19835" y="7931"/>
                </a:cubicBezTo>
                <a:lnTo>
                  <a:pt x="21399" y="10537"/>
                </a:lnTo>
                <a:cubicBezTo>
                  <a:pt x="21476" y="10632"/>
                  <a:pt x="21530" y="10736"/>
                  <a:pt x="21561" y="10843"/>
                </a:cubicBezTo>
                <a:cubicBezTo>
                  <a:pt x="21589" y="10937"/>
                  <a:pt x="21600" y="11037"/>
                  <a:pt x="21577" y="11136"/>
                </a:cubicBezTo>
                <a:cubicBezTo>
                  <a:pt x="21555" y="11231"/>
                  <a:pt x="21501" y="11318"/>
                  <a:pt x="21415" y="11380"/>
                </a:cubicBezTo>
                <a:cubicBezTo>
                  <a:pt x="21345" y="11430"/>
                  <a:pt x="21259" y="11459"/>
                  <a:pt x="21172" y="11485"/>
                </a:cubicBezTo>
                <a:cubicBezTo>
                  <a:pt x="21046" y="11523"/>
                  <a:pt x="20917" y="11556"/>
                  <a:pt x="20784" y="11582"/>
                </a:cubicBezTo>
                <a:cubicBezTo>
                  <a:pt x="20630" y="11622"/>
                  <a:pt x="20484" y="11669"/>
                  <a:pt x="20344" y="11723"/>
                </a:cubicBezTo>
                <a:cubicBezTo>
                  <a:pt x="20226" y="11768"/>
                  <a:pt x="20104" y="11821"/>
                  <a:pt x="20027" y="11916"/>
                </a:cubicBezTo>
                <a:cubicBezTo>
                  <a:pt x="19923" y="12042"/>
                  <a:pt x="19931" y="12209"/>
                  <a:pt x="20045" y="12329"/>
                </a:cubicBezTo>
                <a:cubicBezTo>
                  <a:pt x="20121" y="12429"/>
                  <a:pt x="20195" y="12527"/>
                  <a:pt x="20268" y="12624"/>
                </a:cubicBezTo>
                <a:cubicBezTo>
                  <a:pt x="20356" y="12741"/>
                  <a:pt x="20450" y="12868"/>
                  <a:pt x="20434" y="13012"/>
                </a:cubicBezTo>
                <a:cubicBezTo>
                  <a:pt x="20420" y="13142"/>
                  <a:pt x="20324" y="13247"/>
                  <a:pt x="20212" y="13326"/>
                </a:cubicBezTo>
                <a:cubicBezTo>
                  <a:pt x="20103" y="13402"/>
                  <a:pt x="19973" y="13461"/>
                  <a:pt x="19826" y="13493"/>
                </a:cubicBezTo>
                <a:cubicBezTo>
                  <a:pt x="19925" y="13524"/>
                  <a:pt x="20013" y="13572"/>
                  <a:pt x="20086" y="13633"/>
                </a:cubicBezTo>
                <a:cubicBezTo>
                  <a:pt x="20178" y="13710"/>
                  <a:pt x="20247" y="13809"/>
                  <a:pt x="20252" y="13921"/>
                </a:cubicBezTo>
                <a:cubicBezTo>
                  <a:pt x="20254" y="13987"/>
                  <a:pt x="20235" y="14049"/>
                  <a:pt x="20202" y="14104"/>
                </a:cubicBezTo>
                <a:cubicBezTo>
                  <a:pt x="20172" y="14154"/>
                  <a:pt x="20131" y="14199"/>
                  <a:pt x="20081" y="14236"/>
                </a:cubicBezTo>
                <a:cubicBezTo>
                  <a:pt x="20018" y="14282"/>
                  <a:pt x="19943" y="14317"/>
                  <a:pt x="19858" y="14335"/>
                </a:cubicBezTo>
                <a:cubicBezTo>
                  <a:pt x="19769" y="14362"/>
                  <a:pt x="19695" y="14414"/>
                  <a:pt x="19648" y="14482"/>
                </a:cubicBezTo>
                <a:cubicBezTo>
                  <a:pt x="19593" y="14564"/>
                  <a:pt x="19582" y="14655"/>
                  <a:pt x="19586" y="14742"/>
                </a:cubicBezTo>
                <a:cubicBezTo>
                  <a:pt x="19592" y="14861"/>
                  <a:pt x="19629" y="14981"/>
                  <a:pt x="19700" y="15092"/>
                </a:cubicBezTo>
                <a:cubicBezTo>
                  <a:pt x="19735" y="15165"/>
                  <a:pt x="19760" y="15240"/>
                  <a:pt x="19775" y="15316"/>
                </a:cubicBezTo>
                <a:cubicBezTo>
                  <a:pt x="19790" y="15398"/>
                  <a:pt x="19794" y="15482"/>
                  <a:pt x="19791" y="15565"/>
                </a:cubicBezTo>
                <a:cubicBezTo>
                  <a:pt x="19785" y="15731"/>
                  <a:pt x="19752" y="15900"/>
                  <a:pt x="19655" y="16050"/>
                </a:cubicBezTo>
                <a:cubicBezTo>
                  <a:pt x="19548" y="16217"/>
                  <a:pt x="19375" y="16341"/>
                  <a:pt x="19189" y="16437"/>
                </a:cubicBezTo>
                <a:cubicBezTo>
                  <a:pt x="18985" y="16541"/>
                  <a:pt x="18758" y="16615"/>
                  <a:pt x="18515" y="16652"/>
                </a:cubicBezTo>
                <a:cubicBezTo>
                  <a:pt x="18131" y="16690"/>
                  <a:pt x="17745" y="16709"/>
                  <a:pt x="17358" y="16709"/>
                </a:cubicBezTo>
                <a:cubicBezTo>
                  <a:pt x="16902" y="16709"/>
                  <a:pt x="16446" y="16683"/>
                  <a:pt x="15994" y="16630"/>
                </a:cubicBezTo>
                <a:cubicBezTo>
                  <a:pt x="15539" y="16549"/>
                  <a:pt x="15065" y="16673"/>
                  <a:pt x="14746" y="16956"/>
                </a:cubicBezTo>
                <a:cubicBezTo>
                  <a:pt x="14583" y="17101"/>
                  <a:pt x="14471" y="17281"/>
                  <a:pt x="14423" y="17477"/>
                </a:cubicBezTo>
                <a:cubicBezTo>
                  <a:pt x="14339" y="17913"/>
                  <a:pt x="14197" y="18340"/>
                  <a:pt x="14000" y="18750"/>
                </a:cubicBezTo>
                <a:cubicBezTo>
                  <a:pt x="13813" y="19138"/>
                  <a:pt x="13579" y="19509"/>
                  <a:pt x="13300" y="19856"/>
                </a:cubicBezTo>
                <a:cubicBezTo>
                  <a:pt x="13040" y="20107"/>
                  <a:pt x="12910" y="20435"/>
                  <a:pt x="12940" y="20766"/>
                </a:cubicBezTo>
                <a:cubicBezTo>
                  <a:pt x="12953" y="20918"/>
                  <a:pt x="13000" y="21065"/>
                  <a:pt x="13065" y="21205"/>
                </a:cubicBezTo>
                <a:cubicBezTo>
                  <a:pt x="13123" y="21333"/>
                  <a:pt x="13197" y="21456"/>
                  <a:pt x="13285" y="21574"/>
                </a:cubicBezTo>
                <a:lnTo>
                  <a:pt x="0" y="21575"/>
                </a:lnTo>
                <a:close/>
              </a:path>
            </a:pathLst>
          </a:custGeom>
          <a:solidFill>
            <a:schemeClr val="bg2"/>
          </a:solidFill>
          <a:ln w="6350" cmpd="sng">
            <a:noFill/>
            <a:prstDash val="dash"/>
            <a:miter lim="400000"/>
          </a:ln>
        </p:spPr>
        <p:txBody>
          <a:bodyPr lIns="0" tIns="0" rIns="0" bIns="0" anchor="ctr"/>
          <a:lstStyle/>
          <a:p>
            <a:pPr lvl="0">
              <a:defRPr sz="3200"/>
            </a:pPr>
            <a:endParaRPr/>
          </a:p>
        </p:txBody>
      </p:sp>
      <p:sp>
        <p:nvSpPr>
          <p:cNvPr id="23" name="椭圆 22">
            <a:extLst>
              <a:ext uri="{FF2B5EF4-FFF2-40B4-BE49-F238E27FC236}">
                <a16:creationId xmlns:a16="http://schemas.microsoft.com/office/drawing/2014/main" id="{DA06BEA2-95ED-4515-A253-8BA270990ED0}"/>
              </a:ext>
            </a:extLst>
          </p:cNvPr>
          <p:cNvSpPr/>
          <p:nvPr/>
        </p:nvSpPr>
        <p:spPr>
          <a:xfrm>
            <a:off x="8041050" y="2337857"/>
            <a:ext cx="1803031" cy="1803031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/>
          </a:p>
        </p:txBody>
      </p:sp>
      <p:sp>
        <p:nvSpPr>
          <p:cNvPr id="24" name="任意多边形: 形状 23">
            <a:extLst>
              <a:ext uri="{FF2B5EF4-FFF2-40B4-BE49-F238E27FC236}">
                <a16:creationId xmlns:a16="http://schemas.microsoft.com/office/drawing/2014/main" id="{59D1204A-D0F5-4E47-826E-92132C6F81BA}"/>
              </a:ext>
            </a:extLst>
          </p:cNvPr>
          <p:cNvSpPr/>
          <p:nvPr/>
        </p:nvSpPr>
        <p:spPr bwMode="auto">
          <a:xfrm>
            <a:off x="8559022" y="2857655"/>
            <a:ext cx="789664" cy="788275"/>
          </a:xfrm>
          <a:custGeom>
            <a:avLst/>
            <a:gdLst>
              <a:gd name="connsiteX0" fmla="*/ 369587 w 602135"/>
              <a:gd name="connsiteY0" fmla="*/ 480903 h 601076"/>
              <a:gd name="connsiteX1" fmla="*/ 385923 w 602135"/>
              <a:gd name="connsiteY1" fmla="*/ 497207 h 601076"/>
              <a:gd name="connsiteX2" fmla="*/ 385923 w 602135"/>
              <a:gd name="connsiteY2" fmla="*/ 584773 h 601076"/>
              <a:gd name="connsiteX3" fmla="*/ 369587 w 602135"/>
              <a:gd name="connsiteY3" fmla="*/ 601076 h 601076"/>
              <a:gd name="connsiteX4" fmla="*/ 353251 w 602135"/>
              <a:gd name="connsiteY4" fmla="*/ 584773 h 601076"/>
              <a:gd name="connsiteX5" fmla="*/ 353251 w 602135"/>
              <a:gd name="connsiteY5" fmla="*/ 497207 h 601076"/>
              <a:gd name="connsiteX6" fmla="*/ 369587 w 602135"/>
              <a:gd name="connsiteY6" fmla="*/ 480903 h 601076"/>
              <a:gd name="connsiteX7" fmla="*/ 301068 w 602135"/>
              <a:gd name="connsiteY7" fmla="*/ 480903 h 601076"/>
              <a:gd name="connsiteX8" fmla="*/ 317404 w 602135"/>
              <a:gd name="connsiteY8" fmla="*/ 497207 h 601076"/>
              <a:gd name="connsiteX9" fmla="*/ 317404 w 602135"/>
              <a:gd name="connsiteY9" fmla="*/ 584773 h 601076"/>
              <a:gd name="connsiteX10" fmla="*/ 301068 w 602135"/>
              <a:gd name="connsiteY10" fmla="*/ 601076 h 601076"/>
              <a:gd name="connsiteX11" fmla="*/ 284732 w 602135"/>
              <a:gd name="connsiteY11" fmla="*/ 584773 h 601076"/>
              <a:gd name="connsiteX12" fmla="*/ 284732 w 602135"/>
              <a:gd name="connsiteY12" fmla="*/ 497207 h 601076"/>
              <a:gd name="connsiteX13" fmla="*/ 301068 w 602135"/>
              <a:gd name="connsiteY13" fmla="*/ 480903 h 601076"/>
              <a:gd name="connsiteX14" fmla="*/ 232593 w 602135"/>
              <a:gd name="connsiteY14" fmla="*/ 480903 h 601076"/>
              <a:gd name="connsiteX15" fmla="*/ 249167 w 602135"/>
              <a:gd name="connsiteY15" fmla="*/ 497207 h 601076"/>
              <a:gd name="connsiteX16" fmla="*/ 249167 w 602135"/>
              <a:gd name="connsiteY16" fmla="*/ 584773 h 601076"/>
              <a:gd name="connsiteX17" fmla="*/ 232593 w 602135"/>
              <a:gd name="connsiteY17" fmla="*/ 601076 h 601076"/>
              <a:gd name="connsiteX18" fmla="*/ 216283 w 602135"/>
              <a:gd name="connsiteY18" fmla="*/ 584773 h 601076"/>
              <a:gd name="connsiteX19" fmla="*/ 216283 w 602135"/>
              <a:gd name="connsiteY19" fmla="*/ 497207 h 601076"/>
              <a:gd name="connsiteX20" fmla="*/ 232593 w 602135"/>
              <a:gd name="connsiteY20" fmla="*/ 480903 h 601076"/>
              <a:gd name="connsiteX21" fmla="*/ 498082 w 602135"/>
              <a:gd name="connsiteY21" fmla="*/ 352615 h 601076"/>
              <a:gd name="connsiteX22" fmla="*/ 585803 w 602135"/>
              <a:gd name="connsiteY22" fmla="*/ 352615 h 601076"/>
              <a:gd name="connsiteX23" fmla="*/ 602135 w 602135"/>
              <a:gd name="connsiteY23" fmla="*/ 368915 h 601076"/>
              <a:gd name="connsiteX24" fmla="*/ 585803 w 602135"/>
              <a:gd name="connsiteY24" fmla="*/ 385216 h 601076"/>
              <a:gd name="connsiteX25" fmla="*/ 498082 w 602135"/>
              <a:gd name="connsiteY25" fmla="*/ 385216 h 601076"/>
              <a:gd name="connsiteX26" fmla="*/ 481750 w 602135"/>
              <a:gd name="connsiteY26" fmla="*/ 368915 h 601076"/>
              <a:gd name="connsiteX27" fmla="*/ 498082 w 602135"/>
              <a:gd name="connsiteY27" fmla="*/ 352615 h 601076"/>
              <a:gd name="connsiteX28" fmla="*/ 16332 w 602135"/>
              <a:gd name="connsiteY28" fmla="*/ 352615 h 601076"/>
              <a:gd name="connsiteX29" fmla="*/ 104053 w 602135"/>
              <a:gd name="connsiteY29" fmla="*/ 352615 h 601076"/>
              <a:gd name="connsiteX30" fmla="*/ 120385 w 602135"/>
              <a:gd name="connsiteY30" fmla="*/ 368915 h 601076"/>
              <a:gd name="connsiteX31" fmla="*/ 104053 w 602135"/>
              <a:gd name="connsiteY31" fmla="*/ 385216 h 601076"/>
              <a:gd name="connsiteX32" fmla="*/ 16332 w 602135"/>
              <a:gd name="connsiteY32" fmla="*/ 385216 h 601076"/>
              <a:gd name="connsiteX33" fmla="*/ 0 w 602135"/>
              <a:gd name="connsiteY33" fmla="*/ 368915 h 601076"/>
              <a:gd name="connsiteX34" fmla="*/ 16332 w 602135"/>
              <a:gd name="connsiteY34" fmla="*/ 352615 h 601076"/>
              <a:gd name="connsiteX35" fmla="*/ 498082 w 602135"/>
              <a:gd name="connsiteY35" fmla="*/ 284237 h 601076"/>
              <a:gd name="connsiteX36" fmla="*/ 585803 w 602135"/>
              <a:gd name="connsiteY36" fmla="*/ 284237 h 601076"/>
              <a:gd name="connsiteX37" fmla="*/ 602135 w 602135"/>
              <a:gd name="connsiteY37" fmla="*/ 300537 h 601076"/>
              <a:gd name="connsiteX38" fmla="*/ 585803 w 602135"/>
              <a:gd name="connsiteY38" fmla="*/ 316838 h 601076"/>
              <a:gd name="connsiteX39" fmla="*/ 498082 w 602135"/>
              <a:gd name="connsiteY39" fmla="*/ 316838 h 601076"/>
              <a:gd name="connsiteX40" fmla="*/ 481750 w 602135"/>
              <a:gd name="connsiteY40" fmla="*/ 300537 h 601076"/>
              <a:gd name="connsiteX41" fmla="*/ 498082 w 602135"/>
              <a:gd name="connsiteY41" fmla="*/ 284237 h 601076"/>
              <a:gd name="connsiteX42" fmla="*/ 16332 w 602135"/>
              <a:gd name="connsiteY42" fmla="*/ 284237 h 601076"/>
              <a:gd name="connsiteX43" fmla="*/ 104053 w 602135"/>
              <a:gd name="connsiteY43" fmla="*/ 284237 h 601076"/>
              <a:gd name="connsiteX44" fmla="*/ 120385 w 602135"/>
              <a:gd name="connsiteY44" fmla="*/ 300537 h 601076"/>
              <a:gd name="connsiteX45" fmla="*/ 104053 w 602135"/>
              <a:gd name="connsiteY45" fmla="*/ 316838 h 601076"/>
              <a:gd name="connsiteX46" fmla="*/ 16332 w 602135"/>
              <a:gd name="connsiteY46" fmla="*/ 316838 h 601076"/>
              <a:gd name="connsiteX47" fmla="*/ 0 w 602135"/>
              <a:gd name="connsiteY47" fmla="*/ 300537 h 601076"/>
              <a:gd name="connsiteX48" fmla="*/ 16332 w 602135"/>
              <a:gd name="connsiteY48" fmla="*/ 284237 h 601076"/>
              <a:gd name="connsiteX49" fmla="*/ 498082 w 602135"/>
              <a:gd name="connsiteY49" fmla="*/ 215860 h 601076"/>
              <a:gd name="connsiteX50" fmla="*/ 585803 w 602135"/>
              <a:gd name="connsiteY50" fmla="*/ 215860 h 601076"/>
              <a:gd name="connsiteX51" fmla="*/ 602135 w 602135"/>
              <a:gd name="connsiteY51" fmla="*/ 232170 h 601076"/>
              <a:gd name="connsiteX52" fmla="*/ 585803 w 602135"/>
              <a:gd name="connsiteY52" fmla="*/ 248743 h 601076"/>
              <a:gd name="connsiteX53" fmla="*/ 498082 w 602135"/>
              <a:gd name="connsiteY53" fmla="*/ 248743 h 601076"/>
              <a:gd name="connsiteX54" fmla="*/ 481750 w 602135"/>
              <a:gd name="connsiteY54" fmla="*/ 232170 h 601076"/>
              <a:gd name="connsiteX55" fmla="*/ 498082 w 602135"/>
              <a:gd name="connsiteY55" fmla="*/ 215860 h 601076"/>
              <a:gd name="connsiteX56" fmla="*/ 16332 w 602135"/>
              <a:gd name="connsiteY56" fmla="*/ 215860 h 601076"/>
              <a:gd name="connsiteX57" fmla="*/ 104053 w 602135"/>
              <a:gd name="connsiteY57" fmla="*/ 215860 h 601076"/>
              <a:gd name="connsiteX58" fmla="*/ 120385 w 602135"/>
              <a:gd name="connsiteY58" fmla="*/ 232170 h 601076"/>
              <a:gd name="connsiteX59" fmla="*/ 104053 w 602135"/>
              <a:gd name="connsiteY59" fmla="*/ 248743 h 601076"/>
              <a:gd name="connsiteX60" fmla="*/ 16332 w 602135"/>
              <a:gd name="connsiteY60" fmla="*/ 248743 h 601076"/>
              <a:gd name="connsiteX61" fmla="*/ 0 w 602135"/>
              <a:gd name="connsiteY61" fmla="*/ 232170 h 601076"/>
              <a:gd name="connsiteX62" fmla="*/ 16332 w 602135"/>
              <a:gd name="connsiteY62" fmla="*/ 215860 h 601076"/>
              <a:gd name="connsiteX63" fmla="*/ 158832 w 602135"/>
              <a:gd name="connsiteY63" fmla="*/ 136756 h 601076"/>
              <a:gd name="connsiteX64" fmla="*/ 443586 w 602135"/>
              <a:gd name="connsiteY64" fmla="*/ 136756 h 601076"/>
              <a:gd name="connsiteX65" fmla="*/ 465450 w 602135"/>
              <a:gd name="connsiteY65" fmla="*/ 158577 h 601076"/>
              <a:gd name="connsiteX66" fmla="*/ 465450 w 602135"/>
              <a:gd name="connsiteY66" fmla="*/ 442781 h 601076"/>
              <a:gd name="connsiteX67" fmla="*/ 443586 w 602135"/>
              <a:gd name="connsiteY67" fmla="*/ 464603 h 601076"/>
              <a:gd name="connsiteX68" fmla="*/ 158832 w 602135"/>
              <a:gd name="connsiteY68" fmla="*/ 464603 h 601076"/>
              <a:gd name="connsiteX69" fmla="*/ 136968 w 602135"/>
              <a:gd name="connsiteY69" fmla="*/ 442781 h 601076"/>
              <a:gd name="connsiteX70" fmla="*/ 136968 w 602135"/>
              <a:gd name="connsiteY70" fmla="*/ 158577 h 601076"/>
              <a:gd name="connsiteX71" fmla="*/ 158832 w 602135"/>
              <a:gd name="connsiteY71" fmla="*/ 136756 h 601076"/>
              <a:gd name="connsiteX72" fmla="*/ 369587 w 602135"/>
              <a:gd name="connsiteY72" fmla="*/ 0 h 601076"/>
              <a:gd name="connsiteX73" fmla="*/ 385923 w 602135"/>
              <a:gd name="connsiteY73" fmla="*/ 16303 h 601076"/>
              <a:gd name="connsiteX74" fmla="*/ 385923 w 602135"/>
              <a:gd name="connsiteY74" fmla="*/ 103869 h 601076"/>
              <a:gd name="connsiteX75" fmla="*/ 369587 w 602135"/>
              <a:gd name="connsiteY75" fmla="*/ 120173 h 601076"/>
              <a:gd name="connsiteX76" fmla="*/ 353251 w 602135"/>
              <a:gd name="connsiteY76" fmla="*/ 103869 h 601076"/>
              <a:gd name="connsiteX77" fmla="*/ 353251 w 602135"/>
              <a:gd name="connsiteY77" fmla="*/ 16303 h 601076"/>
              <a:gd name="connsiteX78" fmla="*/ 369587 w 602135"/>
              <a:gd name="connsiteY78" fmla="*/ 0 h 601076"/>
              <a:gd name="connsiteX79" fmla="*/ 301068 w 602135"/>
              <a:gd name="connsiteY79" fmla="*/ 0 h 601076"/>
              <a:gd name="connsiteX80" fmla="*/ 317404 w 602135"/>
              <a:gd name="connsiteY80" fmla="*/ 16303 h 601076"/>
              <a:gd name="connsiteX81" fmla="*/ 317404 w 602135"/>
              <a:gd name="connsiteY81" fmla="*/ 103869 h 601076"/>
              <a:gd name="connsiteX82" fmla="*/ 301068 w 602135"/>
              <a:gd name="connsiteY82" fmla="*/ 120173 h 601076"/>
              <a:gd name="connsiteX83" fmla="*/ 284732 w 602135"/>
              <a:gd name="connsiteY83" fmla="*/ 103869 h 601076"/>
              <a:gd name="connsiteX84" fmla="*/ 284732 w 602135"/>
              <a:gd name="connsiteY84" fmla="*/ 16303 h 601076"/>
              <a:gd name="connsiteX85" fmla="*/ 301068 w 602135"/>
              <a:gd name="connsiteY85" fmla="*/ 0 h 601076"/>
              <a:gd name="connsiteX86" fmla="*/ 232593 w 602135"/>
              <a:gd name="connsiteY86" fmla="*/ 0 h 601076"/>
              <a:gd name="connsiteX87" fmla="*/ 249167 w 602135"/>
              <a:gd name="connsiteY87" fmla="*/ 16303 h 601076"/>
              <a:gd name="connsiteX88" fmla="*/ 249167 w 602135"/>
              <a:gd name="connsiteY88" fmla="*/ 103869 h 601076"/>
              <a:gd name="connsiteX89" fmla="*/ 232593 w 602135"/>
              <a:gd name="connsiteY89" fmla="*/ 120173 h 601076"/>
              <a:gd name="connsiteX90" fmla="*/ 216283 w 602135"/>
              <a:gd name="connsiteY90" fmla="*/ 103869 h 601076"/>
              <a:gd name="connsiteX91" fmla="*/ 216283 w 602135"/>
              <a:gd name="connsiteY91" fmla="*/ 16303 h 601076"/>
              <a:gd name="connsiteX92" fmla="*/ 232593 w 602135"/>
              <a:gd name="connsiteY92" fmla="*/ 0 h 601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602135" h="601076">
                <a:moveTo>
                  <a:pt x="369587" y="480903"/>
                </a:moveTo>
                <a:cubicBezTo>
                  <a:pt x="378545" y="480903"/>
                  <a:pt x="385923" y="488266"/>
                  <a:pt x="385923" y="497207"/>
                </a:cubicBezTo>
                <a:lnTo>
                  <a:pt x="385923" y="584773"/>
                </a:lnTo>
                <a:cubicBezTo>
                  <a:pt x="385923" y="593713"/>
                  <a:pt x="378545" y="601076"/>
                  <a:pt x="369587" y="601076"/>
                </a:cubicBezTo>
                <a:cubicBezTo>
                  <a:pt x="360629" y="601076"/>
                  <a:pt x="353251" y="593713"/>
                  <a:pt x="353251" y="584773"/>
                </a:cubicBezTo>
                <a:lnTo>
                  <a:pt x="353251" y="497207"/>
                </a:lnTo>
                <a:cubicBezTo>
                  <a:pt x="353251" y="488266"/>
                  <a:pt x="360629" y="480903"/>
                  <a:pt x="369587" y="480903"/>
                </a:cubicBezTo>
                <a:close/>
                <a:moveTo>
                  <a:pt x="301068" y="480903"/>
                </a:moveTo>
                <a:cubicBezTo>
                  <a:pt x="310290" y="480903"/>
                  <a:pt x="317404" y="488266"/>
                  <a:pt x="317404" y="497207"/>
                </a:cubicBezTo>
                <a:lnTo>
                  <a:pt x="317404" y="584773"/>
                </a:lnTo>
                <a:cubicBezTo>
                  <a:pt x="317404" y="593713"/>
                  <a:pt x="310290" y="601076"/>
                  <a:pt x="301068" y="601076"/>
                </a:cubicBezTo>
                <a:cubicBezTo>
                  <a:pt x="292110" y="601076"/>
                  <a:pt x="284732" y="593713"/>
                  <a:pt x="284732" y="584773"/>
                </a:cubicBezTo>
                <a:lnTo>
                  <a:pt x="284732" y="497207"/>
                </a:lnTo>
                <a:cubicBezTo>
                  <a:pt x="284732" y="488266"/>
                  <a:pt x="292110" y="480903"/>
                  <a:pt x="301068" y="480903"/>
                </a:cubicBezTo>
                <a:close/>
                <a:moveTo>
                  <a:pt x="232593" y="480903"/>
                </a:moveTo>
                <a:cubicBezTo>
                  <a:pt x="241801" y="480903"/>
                  <a:pt x="249167" y="488266"/>
                  <a:pt x="249167" y="497207"/>
                </a:cubicBezTo>
                <a:lnTo>
                  <a:pt x="249167" y="584773"/>
                </a:lnTo>
                <a:cubicBezTo>
                  <a:pt x="249167" y="593713"/>
                  <a:pt x="241801" y="601076"/>
                  <a:pt x="232593" y="601076"/>
                </a:cubicBezTo>
                <a:cubicBezTo>
                  <a:pt x="223649" y="601076"/>
                  <a:pt x="216283" y="593713"/>
                  <a:pt x="216283" y="584773"/>
                </a:cubicBezTo>
                <a:lnTo>
                  <a:pt x="216283" y="497207"/>
                </a:lnTo>
                <a:cubicBezTo>
                  <a:pt x="216283" y="488266"/>
                  <a:pt x="223649" y="480903"/>
                  <a:pt x="232593" y="480903"/>
                </a:cubicBezTo>
                <a:close/>
                <a:moveTo>
                  <a:pt x="498082" y="352615"/>
                </a:moveTo>
                <a:lnTo>
                  <a:pt x="585803" y="352615"/>
                </a:lnTo>
                <a:cubicBezTo>
                  <a:pt x="594759" y="352615"/>
                  <a:pt x="602135" y="359976"/>
                  <a:pt x="602135" y="368915"/>
                </a:cubicBezTo>
                <a:cubicBezTo>
                  <a:pt x="602135" y="377854"/>
                  <a:pt x="594759" y="385216"/>
                  <a:pt x="585803" y="385216"/>
                </a:cubicBezTo>
                <a:lnTo>
                  <a:pt x="498082" y="385216"/>
                </a:lnTo>
                <a:cubicBezTo>
                  <a:pt x="489126" y="385216"/>
                  <a:pt x="481750" y="377854"/>
                  <a:pt x="481750" y="368915"/>
                </a:cubicBezTo>
                <a:cubicBezTo>
                  <a:pt x="481750" y="359976"/>
                  <a:pt x="489126" y="352615"/>
                  <a:pt x="498082" y="352615"/>
                </a:cubicBezTo>
                <a:close/>
                <a:moveTo>
                  <a:pt x="16332" y="352615"/>
                </a:moveTo>
                <a:lnTo>
                  <a:pt x="104053" y="352615"/>
                </a:lnTo>
                <a:cubicBezTo>
                  <a:pt x="113009" y="352615"/>
                  <a:pt x="120385" y="359976"/>
                  <a:pt x="120385" y="368915"/>
                </a:cubicBezTo>
                <a:cubicBezTo>
                  <a:pt x="120385" y="377854"/>
                  <a:pt x="113009" y="385216"/>
                  <a:pt x="104053" y="385216"/>
                </a:cubicBezTo>
                <a:lnTo>
                  <a:pt x="16332" y="385216"/>
                </a:lnTo>
                <a:cubicBezTo>
                  <a:pt x="7376" y="385216"/>
                  <a:pt x="0" y="377854"/>
                  <a:pt x="0" y="368915"/>
                </a:cubicBezTo>
                <a:cubicBezTo>
                  <a:pt x="0" y="359976"/>
                  <a:pt x="7376" y="352615"/>
                  <a:pt x="16332" y="352615"/>
                </a:cubicBezTo>
                <a:close/>
                <a:moveTo>
                  <a:pt x="498082" y="284237"/>
                </a:moveTo>
                <a:lnTo>
                  <a:pt x="585803" y="284237"/>
                </a:lnTo>
                <a:cubicBezTo>
                  <a:pt x="594759" y="284237"/>
                  <a:pt x="602135" y="291598"/>
                  <a:pt x="602135" y="300537"/>
                </a:cubicBezTo>
                <a:cubicBezTo>
                  <a:pt x="602135" y="309739"/>
                  <a:pt x="594759" y="316838"/>
                  <a:pt x="585803" y="316838"/>
                </a:cubicBezTo>
                <a:lnTo>
                  <a:pt x="498082" y="316838"/>
                </a:lnTo>
                <a:cubicBezTo>
                  <a:pt x="489126" y="316838"/>
                  <a:pt x="481750" y="309739"/>
                  <a:pt x="481750" y="300537"/>
                </a:cubicBezTo>
                <a:cubicBezTo>
                  <a:pt x="481750" y="291598"/>
                  <a:pt x="489126" y="284237"/>
                  <a:pt x="498082" y="284237"/>
                </a:cubicBezTo>
                <a:close/>
                <a:moveTo>
                  <a:pt x="16332" y="284237"/>
                </a:moveTo>
                <a:lnTo>
                  <a:pt x="104053" y="284237"/>
                </a:lnTo>
                <a:cubicBezTo>
                  <a:pt x="113009" y="284237"/>
                  <a:pt x="120385" y="291598"/>
                  <a:pt x="120385" y="300537"/>
                </a:cubicBezTo>
                <a:cubicBezTo>
                  <a:pt x="120385" y="309739"/>
                  <a:pt x="113009" y="316838"/>
                  <a:pt x="104053" y="316838"/>
                </a:cubicBezTo>
                <a:lnTo>
                  <a:pt x="16332" y="316838"/>
                </a:lnTo>
                <a:cubicBezTo>
                  <a:pt x="7376" y="316838"/>
                  <a:pt x="0" y="309739"/>
                  <a:pt x="0" y="300537"/>
                </a:cubicBezTo>
                <a:cubicBezTo>
                  <a:pt x="0" y="291598"/>
                  <a:pt x="7376" y="284237"/>
                  <a:pt x="16332" y="284237"/>
                </a:cubicBezTo>
                <a:close/>
                <a:moveTo>
                  <a:pt x="498082" y="215860"/>
                </a:moveTo>
                <a:lnTo>
                  <a:pt x="585803" y="215860"/>
                </a:lnTo>
                <a:cubicBezTo>
                  <a:pt x="594759" y="215860"/>
                  <a:pt x="602135" y="223226"/>
                  <a:pt x="602135" y="232170"/>
                </a:cubicBezTo>
                <a:cubicBezTo>
                  <a:pt x="602135" y="241377"/>
                  <a:pt x="594759" y="248743"/>
                  <a:pt x="585803" y="248743"/>
                </a:cubicBezTo>
                <a:lnTo>
                  <a:pt x="498082" y="248743"/>
                </a:lnTo>
                <a:cubicBezTo>
                  <a:pt x="489126" y="248743"/>
                  <a:pt x="481750" y="241377"/>
                  <a:pt x="481750" y="232170"/>
                </a:cubicBezTo>
                <a:cubicBezTo>
                  <a:pt x="481750" y="223226"/>
                  <a:pt x="489126" y="215860"/>
                  <a:pt x="498082" y="215860"/>
                </a:cubicBezTo>
                <a:close/>
                <a:moveTo>
                  <a:pt x="16332" y="215860"/>
                </a:moveTo>
                <a:lnTo>
                  <a:pt x="104053" y="215860"/>
                </a:lnTo>
                <a:cubicBezTo>
                  <a:pt x="113009" y="215860"/>
                  <a:pt x="120385" y="223226"/>
                  <a:pt x="120385" y="232170"/>
                </a:cubicBezTo>
                <a:cubicBezTo>
                  <a:pt x="120385" y="241377"/>
                  <a:pt x="113009" y="248743"/>
                  <a:pt x="104053" y="248743"/>
                </a:cubicBezTo>
                <a:lnTo>
                  <a:pt x="16332" y="248743"/>
                </a:lnTo>
                <a:cubicBezTo>
                  <a:pt x="7376" y="248743"/>
                  <a:pt x="0" y="241377"/>
                  <a:pt x="0" y="232170"/>
                </a:cubicBezTo>
                <a:cubicBezTo>
                  <a:pt x="0" y="223226"/>
                  <a:pt x="7376" y="215860"/>
                  <a:pt x="16332" y="215860"/>
                </a:cubicBezTo>
                <a:close/>
                <a:moveTo>
                  <a:pt x="158832" y="136756"/>
                </a:moveTo>
                <a:lnTo>
                  <a:pt x="443586" y="136756"/>
                </a:lnTo>
                <a:cubicBezTo>
                  <a:pt x="455440" y="136756"/>
                  <a:pt x="465450" y="146483"/>
                  <a:pt x="465450" y="158577"/>
                </a:cubicBezTo>
                <a:lnTo>
                  <a:pt x="465450" y="442781"/>
                </a:lnTo>
                <a:cubicBezTo>
                  <a:pt x="465450" y="454612"/>
                  <a:pt x="455440" y="464603"/>
                  <a:pt x="443586" y="464603"/>
                </a:cubicBezTo>
                <a:lnTo>
                  <a:pt x="158832" y="464603"/>
                </a:lnTo>
                <a:cubicBezTo>
                  <a:pt x="146714" y="464603"/>
                  <a:pt x="136968" y="454612"/>
                  <a:pt x="136968" y="442781"/>
                </a:cubicBezTo>
                <a:lnTo>
                  <a:pt x="136968" y="158577"/>
                </a:lnTo>
                <a:cubicBezTo>
                  <a:pt x="136968" y="146483"/>
                  <a:pt x="146714" y="136756"/>
                  <a:pt x="158832" y="136756"/>
                </a:cubicBezTo>
                <a:close/>
                <a:moveTo>
                  <a:pt x="369587" y="0"/>
                </a:moveTo>
                <a:cubicBezTo>
                  <a:pt x="378545" y="0"/>
                  <a:pt x="385923" y="7363"/>
                  <a:pt x="385923" y="16303"/>
                </a:cubicBezTo>
                <a:lnTo>
                  <a:pt x="385923" y="103869"/>
                </a:lnTo>
                <a:cubicBezTo>
                  <a:pt x="385923" y="112810"/>
                  <a:pt x="378545" y="120173"/>
                  <a:pt x="369587" y="120173"/>
                </a:cubicBezTo>
                <a:cubicBezTo>
                  <a:pt x="360629" y="120173"/>
                  <a:pt x="353251" y="112810"/>
                  <a:pt x="353251" y="103869"/>
                </a:cubicBezTo>
                <a:lnTo>
                  <a:pt x="353251" y="16303"/>
                </a:lnTo>
                <a:cubicBezTo>
                  <a:pt x="353251" y="7363"/>
                  <a:pt x="360629" y="0"/>
                  <a:pt x="369587" y="0"/>
                </a:cubicBezTo>
                <a:close/>
                <a:moveTo>
                  <a:pt x="301068" y="0"/>
                </a:moveTo>
                <a:cubicBezTo>
                  <a:pt x="310290" y="0"/>
                  <a:pt x="317404" y="7363"/>
                  <a:pt x="317404" y="16303"/>
                </a:cubicBezTo>
                <a:lnTo>
                  <a:pt x="317404" y="103869"/>
                </a:lnTo>
                <a:cubicBezTo>
                  <a:pt x="317404" y="112810"/>
                  <a:pt x="310290" y="120173"/>
                  <a:pt x="301068" y="120173"/>
                </a:cubicBezTo>
                <a:cubicBezTo>
                  <a:pt x="292110" y="120173"/>
                  <a:pt x="284732" y="112810"/>
                  <a:pt x="284732" y="103869"/>
                </a:cubicBezTo>
                <a:lnTo>
                  <a:pt x="284732" y="16303"/>
                </a:lnTo>
                <a:cubicBezTo>
                  <a:pt x="284732" y="7363"/>
                  <a:pt x="292110" y="0"/>
                  <a:pt x="301068" y="0"/>
                </a:cubicBezTo>
                <a:close/>
                <a:moveTo>
                  <a:pt x="232593" y="0"/>
                </a:moveTo>
                <a:cubicBezTo>
                  <a:pt x="241801" y="0"/>
                  <a:pt x="249167" y="7363"/>
                  <a:pt x="249167" y="16303"/>
                </a:cubicBezTo>
                <a:lnTo>
                  <a:pt x="249167" y="103869"/>
                </a:lnTo>
                <a:cubicBezTo>
                  <a:pt x="249167" y="112810"/>
                  <a:pt x="241801" y="120173"/>
                  <a:pt x="232593" y="120173"/>
                </a:cubicBezTo>
                <a:cubicBezTo>
                  <a:pt x="223649" y="120173"/>
                  <a:pt x="216283" y="112810"/>
                  <a:pt x="216283" y="103869"/>
                </a:cubicBezTo>
                <a:lnTo>
                  <a:pt x="216283" y="16303"/>
                </a:lnTo>
                <a:cubicBezTo>
                  <a:pt x="216283" y="7363"/>
                  <a:pt x="223649" y="0"/>
                  <a:pt x="232593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wrap="none"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989DF76C-2AAA-4079-80F1-C888DCB38F21}"/>
              </a:ext>
            </a:extLst>
          </p:cNvPr>
          <p:cNvGrpSpPr/>
          <p:nvPr/>
        </p:nvGrpSpPr>
        <p:grpSpPr>
          <a:xfrm>
            <a:off x="7053995" y="1326155"/>
            <a:ext cx="3724276" cy="3851276"/>
            <a:chOff x="938213" y="1497013"/>
            <a:chExt cx="3724276" cy="3851276"/>
          </a:xfrm>
        </p:grpSpPr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EBD98BC6-EB34-4406-9177-649F07BF2344}"/>
                </a:ext>
              </a:extLst>
            </p:cNvPr>
            <p:cNvSpPr/>
            <p:nvPr/>
          </p:nvSpPr>
          <p:spPr bwMode="auto">
            <a:xfrm>
              <a:off x="938213" y="1720851"/>
              <a:ext cx="2155825" cy="3627438"/>
            </a:xfrm>
            <a:custGeom>
              <a:avLst/>
              <a:gdLst>
                <a:gd name="T0" fmla="*/ 3482 w 3482"/>
                <a:gd name="T1" fmla="*/ 5643 h 5867"/>
                <a:gd name="T2" fmla="*/ 196 w 3482"/>
                <a:gd name="T3" fmla="*/ 3167 h 5867"/>
                <a:gd name="T4" fmla="*/ 2161 w 3482"/>
                <a:gd name="T5" fmla="*/ 0 h 5867"/>
                <a:gd name="T6" fmla="*/ 2509 w 3482"/>
                <a:gd name="T7" fmla="*/ 1049 h 5867"/>
                <a:gd name="T8" fmla="*/ 1365 w 3482"/>
                <a:gd name="T9" fmla="*/ 3330 h 5867"/>
                <a:gd name="T10" fmla="*/ 3328 w 3482"/>
                <a:gd name="T11" fmla="*/ 4548 h 5867"/>
                <a:gd name="T12" fmla="*/ 3482 w 3482"/>
                <a:gd name="T13" fmla="*/ 5643 h 5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82" h="5867">
                  <a:moveTo>
                    <a:pt x="3482" y="5643"/>
                  </a:moveTo>
                  <a:cubicBezTo>
                    <a:pt x="1891" y="5867"/>
                    <a:pt x="419" y="4758"/>
                    <a:pt x="196" y="3167"/>
                  </a:cubicBezTo>
                  <a:cubicBezTo>
                    <a:pt x="0" y="1775"/>
                    <a:pt x="827" y="442"/>
                    <a:pt x="2161" y="0"/>
                  </a:cubicBezTo>
                  <a:lnTo>
                    <a:pt x="2509" y="1049"/>
                  </a:lnTo>
                  <a:cubicBezTo>
                    <a:pt x="1564" y="1363"/>
                    <a:pt x="1051" y="2384"/>
                    <a:pt x="1365" y="3330"/>
                  </a:cubicBezTo>
                  <a:cubicBezTo>
                    <a:pt x="1639" y="4157"/>
                    <a:pt x="2465" y="4670"/>
                    <a:pt x="3328" y="4548"/>
                  </a:cubicBezTo>
                  <a:lnTo>
                    <a:pt x="3482" y="5643"/>
                  </a:ln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8C5DFDF6-2890-41FA-9881-769D7C8D18FE}"/>
                </a:ext>
              </a:extLst>
            </p:cNvPr>
            <p:cNvSpPr/>
            <p:nvPr/>
          </p:nvSpPr>
          <p:spPr bwMode="auto">
            <a:xfrm>
              <a:off x="2276476" y="1497013"/>
              <a:ext cx="1903413" cy="1182688"/>
            </a:xfrm>
            <a:custGeom>
              <a:avLst/>
              <a:gdLst>
                <a:gd name="T0" fmla="*/ 0 w 3074"/>
                <a:gd name="T1" fmla="*/ 363 h 1914"/>
                <a:gd name="T2" fmla="*/ 3074 w 3074"/>
                <a:gd name="T3" fmla="*/ 1173 h 1914"/>
                <a:gd name="T4" fmla="*/ 2254 w 3074"/>
                <a:gd name="T5" fmla="*/ 1914 h 1914"/>
                <a:gd name="T6" fmla="*/ 348 w 3074"/>
                <a:gd name="T7" fmla="*/ 1412 h 1914"/>
                <a:gd name="T8" fmla="*/ 0 w 3074"/>
                <a:gd name="T9" fmla="*/ 363 h 1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74" h="1914">
                  <a:moveTo>
                    <a:pt x="0" y="363"/>
                  </a:moveTo>
                  <a:cubicBezTo>
                    <a:pt x="1095" y="0"/>
                    <a:pt x="2300" y="318"/>
                    <a:pt x="3074" y="1173"/>
                  </a:cubicBezTo>
                  <a:lnTo>
                    <a:pt x="2254" y="1914"/>
                  </a:lnTo>
                  <a:cubicBezTo>
                    <a:pt x="1774" y="1384"/>
                    <a:pt x="1027" y="1187"/>
                    <a:pt x="348" y="1412"/>
                  </a:cubicBezTo>
                  <a:lnTo>
                    <a:pt x="0" y="363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23137FCA-1ABD-4C34-BDD2-0EA5E645E4D8}"/>
                </a:ext>
              </a:extLst>
            </p:cNvPr>
            <p:cNvSpPr/>
            <p:nvPr/>
          </p:nvSpPr>
          <p:spPr bwMode="auto">
            <a:xfrm>
              <a:off x="3671888" y="2220913"/>
              <a:ext cx="950913" cy="1031875"/>
            </a:xfrm>
            <a:custGeom>
              <a:avLst/>
              <a:gdLst>
                <a:gd name="T0" fmla="*/ 820 w 1536"/>
                <a:gd name="T1" fmla="*/ 0 h 1669"/>
                <a:gd name="T2" fmla="*/ 1536 w 1536"/>
                <a:gd name="T3" fmla="*/ 1495 h 1669"/>
                <a:gd name="T4" fmla="*/ 444 w 1536"/>
                <a:gd name="T5" fmla="*/ 1669 h 1669"/>
                <a:gd name="T6" fmla="*/ 0 w 1536"/>
                <a:gd name="T7" fmla="*/ 741 h 1669"/>
                <a:gd name="T8" fmla="*/ 820 w 1536"/>
                <a:gd name="T9" fmla="*/ 0 h 1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6" h="1669">
                  <a:moveTo>
                    <a:pt x="820" y="0"/>
                  </a:moveTo>
                  <a:cubicBezTo>
                    <a:pt x="1198" y="418"/>
                    <a:pt x="1447" y="938"/>
                    <a:pt x="1536" y="1495"/>
                  </a:cubicBezTo>
                  <a:lnTo>
                    <a:pt x="444" y="1669"/>
                  </a:lnTo>
                  <a:cubicBezTo>
                    <a:pt x="389" y="1323"/>
                    <a:pt x="235" y="1001"/>
                    <a:pt x="0" y="741"/>
                  </a:cubicBezTo>
                  <a:lnTo>
                    <a:pt x="82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E1B21E81-0AA7-4074-BEAC-08CB9E661CC4}"/>
                </a:ext>
              </a:extLst>
            </p:cNvPr>
            <p:cNvSpPr/>
            <p:nvPr/>
          </p:nvSpPr>
          <p:spPr bwMode="auto">
            <a:xfrm>
              <a:off x="3917951" y="3146426"/>
              <a:ext cx="744538" cy="771525"/>
            </a:xfrm>
            <a:custGeom>
              <a:avLst/>
              <a:gdLst>
                <a:gd name="T0" fmla="*/ 1138 w 1204"/>
                <a:gd name="T1" fmla="*/ 0 h 1249"/>
                <a:gd name="T2" fmla="*/ 1064 w 1204"/>
                <a:gd name="T3" fmla="*/ 1249 h 1249"/>
                <a:gd name="T4" fmla="*/ 0 w 1204"/>
                <a:gd name="T5" fmla="*/ 948 h 1249"/>
                <a:gd name="T6" fmla="*/ 46 w 1204"/>
                <a:gd name="T7" fmla="*/ 174 h 1249"/>
                <a:gd name="T8" fmla="*/ 1138 w 1204"/>
                <a:gd name="T9" fmla="*/ 0 h 1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04" h="1249">
                  <a:moveTo>
                    <a:pt x="1138" y="0"/>
                  </a:moveTo>
                  <a:cubicBezTo>
                    <a:pt x="1204" y="417"/>
                    <a:pt x="1179" y="843"/>
                    <a:pt x="1064" y="1249"/>
                  </a:cubicBezTo>
                  <a:lnTo>
                    <a:pt x="0" y="948"/>
                  </a:lnTo>
                  <a:cubicBezTo>
                    <a:pt x="71" y="696"/>
                    <a:pt x="87" y="432"/>
                    <a:pt x="46" y="174"/>
                  </a:cubicBezTo>
                  <a:lnTo>
                    <a:pt x="1138" y="0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A1D49432-F1F0-48F8-BBAB-EA924C3648EE}"/>
                </a:ext>
              </a:extLst>
            </p:cNvPr>
            <p:cNvSpPr/>
            <p:nvPr/>
          </p:nvSpPr>
          <p:spPr bwMode="auto">
            <a:xfrm>
              <a:off x="3448051" y="3732213"/>
              <a:ext cx="1128713" cy="1208088"/>
            </a:xfrm>
            <a:custGeom>
              <a:avLst/>
              <a:gdLst>
                <a:gd name="T0" fmla="*/ 1822 w 1822"/>
                <a:gd name="T1" fmla="*/ 301 h 1954"/>
                <a:gd name="T2" fmla="*/ 600 w 1822"/>
                <a:gd name="T3" fmla="*/ 1954 h 1954"/>
                <a:gd name="T4" fmla="*/ 0 w 1822"/>
                <a:gd name="T5" fmla="*/ 1025 h 1954"/>
                <a:gd name="T6" fmla="*/ 758 w 1822"/>
                <a:gd name="T7" fmla="*/ 0 h 1954"/>
                <a:gd name="T8" fmla="*/ 1822 w 1822"/>
                <a:gd name="T9" fmla="*/ 301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22" h="1954">
                  <a:moveTo>
                    <a:pt x="1822" y="301"/>
                  </a:moveTo>
                  <a:cubicBezTo>
                    <a:pt x="1629" y="982"/>
                    <a:pt x="1195" y="1570"/>
                    <a:pt x="600" y="1954"/>
                  </a:cubicBezTo>
                  <a:lnTo>
                    <a:pt x="0" y="1025"/>
                  </a:lnTo>
                  <a:cubicBezTo>
                    <a:pt x="369" y="787"/>
                    <a:pt x="639" y="422"/>
                    <a:pt x="758" y="0"/>
                  </a:cubicBezTo>
                  <a:lnTo>
                    <a:pt x="1822" y="30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54F8B018-6BF6-41D8-8C83-C4889DF234AB}"/>
                </a:ext>
              </a:extLst>
            </p:cNvPr>
            <p:cNvSpPr/>
            <p:nvPr/>
          </p:nvSpPr>
          <p:spPr bwMode="auto">
            <a:xfrm>
              <a:off x="2998788" y="4365626"/>
              <a:ext cx="820738" cy="844550"/>
            </a:xfrm>
            <a:custGeom>
              <a:avLst/>
              <a:gdLst>
                <a:gd name="T0" fmla="*/ 1327 w 1327"/>
                <a:gd name="T1" fmla="*/ 929 h 1365"/>
                <a:gd name="T2" fmla="*/ 154 w 1327"/>
                <a:gd name="T3" fmla="*/ 1365 h 1365"/>
                <a:gd name="T4" fmla="*/ 0 w 1327"/>
                <a:gd name="T5" fmla="*/ 270 h 1365"/>
                <a:gd name="T6" fmla="*/ 727 w 1327"/>
                <a:gd name="T7" fmla="*/ 0 h 1365"/>
                <a:gd name="T8" fmla="*/ 1327 w 1327"/>
                <a:gd name="T9" fmla="*/ 929 h 1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7" h="1365">
                  <a:moveTo>
                    <a:pt x="1327" y="929"/>
                  </a:moveTo>
                  <a:cubicBezTo>
                    <a:pt x="972" y="1158"/>
                    <a:pt x="572" y="1306"/>
                    <a:pt x="154" y="1365"/>
                  </a:cubicBezTo>
                  <a:lnTo>
                    <a:pt x="0" y="270"/>
                  </a:lnTo>
                  <a:cubicBezTo>
                    <a:pt x="259" y="234"/>
                    <a:pt x="507" y="142"/>
                    <a:pt x="727" y="0"/>
                  </a:cubicBezTo>
                  <a:lnTo>
                    <a:pt x="1327" y="929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8" name="椭圆 17">
            <a:extLst>
              <a:ext uri="{FF2B5EF4-FFF2-40B4-BE49-F238E27FC236}">
                <a16:creationId xmlns:a16="http://schemas.microsoft.com/office/drawing/2014/main" id="{A42F3721-F1BF-4BCA-92FD-FCA0D1ADF03B}"/>
              </a:ext>
            </a:extLst>
          </p:cNvPr>
          <p:cNvSpPr/>
          <p:nvPr/>
        </p:nvSpPr>
        <p:spPr>
          <a:xfrm>
            <a:off x="761407" y="1478611"/>
            <a:ext cx="1043222" cy="104322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</p:spPr>
        <p:txBody>
          <a:bodyPr wrap="square" lIns="71437" tIns="71437" rIns="71437" bIns="71437" numCol="1" anchor="ctr">
            <a:noAutofit/>
          </a:bodyPr>
          <a:lstStyle/>
          <a:p>
            <a:pPr algn="ctr">
              <a:defRPr sz="3200" cap="none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200A1B7D-B5E7-4CD3-BCA6-397726554E27}"/>
              </a:ext>
            </a:extLst>
          </p:cNvPr>
          <p:cNvSpPr txBox="1"/>
          <p:nvPr/>
        </p:nvSpPr>
        <p:spPr>
          <a:xfrm>
            <a:off x="949011" y="1749717"/>
            <a:ext cx="668014" cy="501010"/>
          </a:xfrm>
          <a:prstGeom prst="rect">
            <a:avLst/>
          </a:prstGeom>
          <a:noFill/>
        </p:spPr>
        <p:txBody>
          <a:bodyPr wrap="none" lIns="0" tIns="0" rIns="0" bIns="0">
            <a:prstTxWarp prst="textPlain">
              <a:avLst/>
            </a:prstTxWarp>
            <a:normAutofit/>
          </a:bodyPr>
          <a:lstStyle/>
          <a:p>
            <a:pPr algn="ctr"/>
            <a:r>
              <a:rPr lang="en-US" altLang="zh-CN" dirty="0">
                <a:solidFill>
                  <a:schemeClr val="tx2"/>
                </a:solidFill>
                <a:latin typeface="Impact" panose="020B0806030902050204" pitchFamily="34" charset="0"/>
              </a:rPr>
              <a:t>14</a:t>
            </a:r>
            <a:r>
              <a:rPr lang="en-US" dirty="0">
                <a:solidFill>
                  <a:schemeClr val="tx2"/>
                </a:solidFill>
                <a:latin typeface="Impact" panose="020B0806030902050204" pitchFamily="34" charset="0"/>
              </a:rPr>
              <a:t>%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D728F216-36F6-4A71-8B8C-FC3EA0903FB5}"/>
              </a:ext>
            </a:extLst>
          </p:cNvPr>
          <p:cNvSpPr/>
          <p:nvPr/>
        </p:nvSpPr>
        <p:spPr bwMode="auto">
          <a:xfrm>
            <a:off x="1992233" y="1917559"/>
            <a:ext cx="4170933" cy="57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Supporting text here. </a:t>
            </a: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When you copy &amp; paste, choose "keep text only" option.</a:t>
            </a:r>
            <a:endParaRPr lang="zh-CN" altLang="en-US" sz="1100" dirty="0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DA290159-37B2-4E65-AA16-E9995B5012EE}"/>
              </a:ext>
            </a:extLst>
          </p:cNvPr>
          <p:cNvSpPr txBox="1"/>
          <p:nvPr/>
        </p:nvSpPr>
        <p:spPr bwMode="auto">
          <a:xfrm>
            <a:off x="1992233" y="1526000"/>
            <a:ext cx="4170933" cy="391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/>
              <a:t>Text here</a:t>
            </a:r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154396B1-39C9-41D2-AB5F-C6C381DB2B58}"/>
              </a:ext>
            </a:extLst>
          </p:cNvPr>
          <p:cNvSpPr/>
          <p:nvPr/>
        </p:nvSpPr>
        <p:spPr>
          <a:xfrm>
            <a:off x="761407" y="3116939"/>
            <a:ext cx="1043222" cy="1043222"/>
          </a:xfrm>
          <a:prstGeom prst="ellipse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71437" tIns="71437" rIns="71437" bIns="71437" numCol="1" anchor="ctr">
            <a:noAutofit/>
          </a:bodyPr>
          <a:lstStyle/>
          <a:p>
            <a:pPr algn="ctr">
              <a:defRPr sz="3200" cap="none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887C9650-2E7F-45CC-86B7-739F856A9DB2}"/>
              </a:ext>
            </a:extLst>
          </p:cNvPr>
          <p:cNvSpPr txBox="1"/>
          <p:nvPr/>
        </p:nvSpPr>
        <p:spPr>
          <a:xfrm>
            <a:off x="949011" y="3388045"/>
            <a:ext cx="668014" cy="501010"/>
          </a:xfrm>
          <a:prstGeom prst="rect">
            <a:avLst/>
          </a:prstGeom>
          <a:noFill/>
        </p:spPr>
        <p:txBody>
          <a:bodyPr wrap="none" lIns="0" tIns="0" rIns="0" bIns="0">
            <a:prstTxWarp prst="textPlain">
              <a:avLst/>
            </a:prstTxWarp>
            <a:normAutofit/>
          </a:bodyPr>
          <a:lstStyle/>
          <a:p>
            <a:pPr algn="ctr"/>
            <a:r>
              <a:rPr lang="en-US" altLang="zh-CN" dirty="0">
                <a:solidFill>
                  <a:schemeClr val="bg1"/>
                </a:solidFill>
                <a:latin typeface="Impact" panose="020B0806030902050204" pitchFamily="34" charset="0"/>
              </a:rPr>
              <a:t>7</a:t>
            </a:r>
            <a:r>
              <a:rPr lang="en-US" dirty="0">
                <a:solidFill>
                  <a:schemeClr val="bg1"/>
                </a:solidFill>
                <a:latin typeface="Impact" panose="020B0806030902050204" pitchFamily="34" charset="0"/>
              </a:rPr>
              <a:t>6%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F4572D32-383B-4F54-9ADE-C1AD3674093A}"/>
              </a:ext>
            </a:extLst>
          </p:cNvPr>
          <p:cNvSpPr/>
          <p:nvPr/>
        </p:nvSpPr>
        <p:spPr bwMode="auto">
          <a:xfrm>
            <a:off x="1992233" y="3555887"/>
            <a:ext cx="4170933" cy="57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Supporting text here. </a:t>
            </a: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When you copy &amp; paste, choose "keep text only" option.</a:t>
            </a:r>
            <a:endParaRPr lang="zh-CN" altLang="en-US" sz="1100" dirty="0"/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965A6584-6C44-4877-8D27-83F06BCF9AAE}"/>
              </a:ext>
            </a:extLst>
          </p:cNvPr>
          <p:cNvSpPr txBox="1"/>
          <p:nvPr/>
        </p:nvSpPr>
        <p:spPr bwMode="auto">
          <a:xfrm>
            <a:off x="1992233" y="3164328"/>
            <a:ext cx="4170933" cy="391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/>
              <a:t>Text here</a:t>
            </a:r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32EC155C-399F-4AA2-865A-065675735520}"/>
              </a:ext>
            </a:extLst>
          </p:cNvPr>
          <p:cNvSpPr/>
          <p:nvPr/>
        </p:nvSpPr>
        <p:spPr>
          <a:xfrm>
            <a:off x="761407" y="4755267"/>
            <a:ext cx="1043222" cy="1043222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 w="12700" cap="flat">
            <a:noFill/>
            <a:miter lim="400000"/>
          </a:ln>
          <a:effectLst/>
        </p:spPr>
        <p:txBody>
          <a:bodyPr wrap="square" lIns="71437" tIns="71437" rIns="71437" bIns="71437" numCol="1" anchor="ctr">
            <a:noAutofit/>
          </a:bodyPr>
          <a:lstStyle/>
          <a:p>
            <a:pPr algn="ctr">
              <a:defRPr sz="3200" cap="none">
                <a:solidFill>
                  <a:srgbClr val="FFFFFF"/>
                </a:solidFill>
              </a:defRPr>
            </a:pPr>
            <a:endParaRPr dirty="0"/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27330D03-01A4-41D9-B5DF-F90440C59664}"/>
              </a:ext>
            </a:extLst>
          </p:cNvPr>
          <p:cNvSpPr txBox="1"/>
          <p:nvPr/>
        </p:nvSpPr>
        <p:spPr>
          <a:xfrm>
            <a:off x="949011" y="5026373"/>
            <a:ext cx="668014" cy="501010"/>
          </a:xfrm>
          <a:prstGeom prst="rect">
            <a:avLst/>
          </a:prstGeom>
          <a:noFill/>
        </p:spPr>
        <p:txBody>
          <a:bodyPr wrap="none" lIns="0" tIns="0" rIns="0" bIns="0">
            <a:prstTxWarp prst="textPlain">
              <a:avLst/>
            </a:prstTxWarp>
            <a:normAutofit/>
          </a:bodyPr>
          <a:lstStyle/>
          <a:p>
            <a:pPr algn="ctr"/>
            <a:r>
              <a:rPr lang="en-US" altLang="zh-CN" dirty="0">
                <a:solidFill>
                  <a:schemeClr val="tx2"/>
                </a:solidFill>
                <a:latin typeface="Impact" panose="020B0806030902050204" pitchFamily="34" charset="0"/>
              </a:rPr>
              <a:t>10</a:t>
            </a:r>
            <a:r>
              <a:rPr lang="en-US" dirty="0">
                <a:solidFill>
                  <a:schemeClr val="tx2"/>
                </a:solidFill>
                <a:latin typeface="Impact" panose="020B0806030902050204" pitchFamily="34" charset="0"/>
              </a:rPr>
              <a:t>%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43FFDF42-C957-4286-9687-CEBE2E5EB469}"/>
              </a:ext>
            </a:extLst>
          </p:cNvPr>
          <p:cNvSpPr/>
          <p:nvPr/>
        </p:nvSpPr>
        <p:spPr bwMode="auto">
          <a:xfrm>
            <a:off x="1992233" y="5194215"/>
            <a:ext cx="4170933" cy="572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Supporting text here. </a:t>
            </a: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100" dirty="0"/>
              <a:t>When you copy &amp; paste, choose "keep text only" option.</a:t>
            </a:r>
            <a:endParaRPr lang="zh-CN" altLang="en-US" sz="1100" dirty="0"/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1869B8DA-0602-47E8-B028-1589B53D6A67}"/>
              </a:ext>
            </a:extLst>
          </p:cNvPr>
          <p:cNvSpPr txBox="1"/>
          <p:nvPr/>
        </p:nvSpPr>
        <p:spPr bwMode="auto">
          <a:xfrm>
            <a:off x="1992233" y="4802656"/>
            <a:ext cx="4170933" cy="3915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/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6256117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71F4150-91EC-4B71-9B14-6AB153B061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ECBE969-161F-439B-ACDF-EAD2386658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AF012EC-D1CA-4BAE-B832-AFDBF557B3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9</a:t>
            </a:fld>
            <a:endParaRPr lang="zh-CN" altLang="en-US"/>
          </a:p>
        </p:txBody>
      </p:sp>
      <p:grpSp>
        <p:nvGrpSpPr>
          <p:cNvPr id="96" name="组合 95">
            <a:extLst>
              <a:ext uri="{FF2B5EF4-FFF2-40B4-BE49-F238E27FC236}">
                <a16:creationId xmlns:a16="http://schemas.microsoft.com/office/drawing/2014/main" id="{4119AA91-714E-42A1-B5A4-ED8EB12435D8}"/>
              </a:ext>
            </a:extLst>
          </p:cNvPr>
          <p:cNvGrpSpPr/>
          <p:nvPr/>
        </p:nvGrpSpPr>
        <p:grpSpPr>
          <a:xfrm rot="21306788">
            <a:off x="-611711" y="803273"/>
            <a:ext cx="13434507" cy="4584510"/>
            <a:chOff x="-1587" y="1588"/>
            <a:chExt cx="1604962" cy="547687"/>
          </a:xfrm>
          <a:solidFill>
            <a:sysClr val="window" lastClr="FFFFFF">
              <a:lumMod val="95000"/>
              <a:alpha val="49000"/>
            </a:sysClr>
          </a:solidFill>
        </p:grpSpPr>
        <p:sp>
          <p:nvSpPr>
            <p:cNvPr id="255" name="任意多边形: 形状 254">
              <a:extLst>
                <a:ext uri="{FF2B5EF4-FFF2-40B4-BE49-F238E27FC236}">
                  <a16:creationId xmlns:a16="http://schemas.microsoft.com/office/drawing/2014/main" id="{92785969-C0E2-460E-B13F-E1A478074A7D}"/>
                </a:ext>
              </a:extLst>
            </p:cNvPr>
            <p:cNvSpPr/>
            <p:nvPr/>
          </p:nvSpPr>
          <p:spPr bwMode="auto">
            <a:xfrm>
              <a:off x="1593850" y="161925"/>
              <a:ext cx="9525" cy="7937"/>
            </a:xfrm>
            <a:custGeom>
              <a:avLst/>
              <a:gdLst>
                <a:gd name="T0" fmla="*/ 0 w 4"/>
                <a:gd name="T1" fmla="*/ 1 h 3"/>
                <a:gd name="T2" fmla="*/ 3 w 4"/>
                <a:gd name="T3" fmla="*/ 2 h 3"/>
                <a:gd name="T4" fmla="*/ 4 w 4"/>
                <a:gd name="T5" fmla="*/ 1 h 3"/>
                <a:gd name="T6" fmla="*/ 0 w 4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1"/>
                  </a:moveTo>
                  <a:cubicBezTo>
                    <a:pt x="0" y="2"/>
                    <a:pt x="2" y="3"/>
                    <a:pt x="3" y="2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2" y="0"/>
                    <a:pt x="1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256" name="任意多边形: 形状 255">
              <a:extLst>
                <a:ext uri="{FF2B5EF4-FFF2-40B4-BE49-F238E27FC236}">
                  <a16:creationId xmlns:a16="http://schemas.microsoft.com/office/drawing/2014/main" id="{92836595-ECA5-4514-B80D-E6F9F9C4B29B}"/>
                </a:ext>
              </a:extLst>
            </p:cNvPr>
            <p:cNvSpPr/>
            <p:nvPr/>
          </p:nvSpPr>
          <p:spPr bwMode="auto">
            <a:xfrm>
              <a:off x="25400" y="1588"/>
              <a:ext cx="1554162" cy="547687"/>
            </a:xfrm>
            <a:custGeom>
              <a:avLst/>
              <a:gdLst>
                <a:gd name="T0" fmla="*/ 509 w 597"/>
                <a:gd name="T1" fmla="*/ 51 h 208"/>
                <a:gd name="T2" fmla="*/ 494 w 597"/>
                <a:gd name="T3" fmla="*/ 38 h 208"/>
                <a:gd name="T4" fmla="*/ 549 w 597"/>
                <a:gd name="T5" fmla="*/ 32 h 208"/>
                <a:gd name="T6" fmla="*/ 571 w 597"/>
                <a:gd name="T7" fmla="*/ 24 h 208"/>
                <a:gd name="T8" fmla="*/ 451 w 597"/>
                <a:gd name="T9" fmla="*/ 4 h 208"/>
                <a:gd name="T10" fmla="*/ 146 w 597"/>
                <a:gd name="T11" fmla="*/ 4 h 208"/>
                <a:gd name="T12" fmla="*/ 25 w 597"/>
                <a:gd name="T13" fmla="*/ 24 h 208"/>
                <a:gd name="T14" fmla="*/ 47 w 597"/>
                <a:gd name="T15" fmla="*/ 32 h 208"/>
                <a:gd name="T16" fmla="*/ 102 w 597"/>
                <a:gd name="T17" fmla="*/ 39 h 208"/>
                <a:gd name="T18" fmla="*/ 87 w 597"/>
                <a:gd name="T19" fmla="*/ 51 h 208"/>
                <a:gd name="T20" fmla="*/ 9 w 597"/>
                <a:gd name="T21" fmla="*/ 63 h 208"/>
                <a:gd name="T22" fmla="*/ 86 w 597"/>
                <a:gd name="T23" fmla="*/ 86 h 208"/>
                <a:gd name="T24" fmla="*/ 56 w 597"/>
                <a:gd name="T25" fmla="*/ 105 h 208"/>
                <a:gd name="T26" fmla="*/ 86 w 597"/>
                <a:gd name="T27" fmla="*/ 123 h 208"/>
                <a:gd name="T28" fmla="*/ 106 w 597"/>
                <a:gd name="T29" fmla="*/ 133 h 208"/>
                <a:gd name="T30" fmla="*/ 66 w 597"/>
                <a:gd name="T31" fmla="*/ 169 h 208"/>
                <a:gd name="T32" fmla="*/ 48 w 597"/>
                <a:gd name="T33" fmla="*/ 192 h 208"/>
                <a:gd name="T34" fmla="*/ 84 w 597"/>
                <a:gd name="T35" fmla="*/ 205 h 208"/>
                <a:gd name="T36" fmla="*/ 141 w 597"/>
                <a:gd name="T37" fmla="*/ 200 h 208"/>
                <a:gd name="T38" fmla="*/ 205 w 597"/>
                <a:gd name="T39" fmla="*/ 196 h 208"/>
                <a:gd name="T40" fmla="*/ 299 w 597"/>
                <a:gd name="T41" fmla="*/ 198 h 208"/>
                <a:gd name="T42" fmla="*/ 401 w 597"/>
                <a:gd name="T43" fmla="*/ 197 h 208"/>
                <a:gd name="T44" fmla="*/ 456 w 597"/>
                <a:gd name="T45" fmla="*/ 199 h 208"/>
                <a:gd name="T46" fmla="*/ 523 w 597"/>
                <a:gd name="T47" fmla="*/ 201 h 208"/>
                <a:gd name="T48" fmla="*/ 549 w 597"/>
                <a:gd name="T49" fmla="*/ 190 h 208"/>
                <a:gd name="T50" fmla="*/ 532 w 597"/>
                <a:gd name="T51" fmla="*/ 169 h 208"/>
                <a:gd name="T52" fmla="*/ 492 w 597"/>
                <a:gd name="T53" fmla="*/ 131 h 208"/>
                <a:gd name="T54" fmla="*/ 510 w 597"/>
                <a:gd name="T55" fmla="*/ 123 h 208"/>
                <a:gd name="T56" fmla="*/ 540 w 597"/>
                <a:gd name="T57" fmla="*/ 105 h 208"/>
                <a:gd name="T58" fmla="*/ 510 w 597"/>
                <a:gd name="T59" fmla="*/ 85 h 208"/>
                <a:gd name="T60" fmla="*/ 557 w 597"/>
                <a:gd name="T61" fmla="*/ 61 h 208"/>
                <a:gd name="T62" fmla="*/ 538 w 597"/>
                <a:gd name="T63" fmla="*/ 27 h 208"/>
                <a:gd name="T64" fmla="*/ 53 w 597"/>
                <a:gd name="T65" fmla="*/ 27 h 208"/>
                <a:gd name="T66" fmla="*/ 102 w 597"/>
                <a:gd name="T67" fmla="*/ 22 h 208"/>
                <a:gd name="T68" fmla="*/ 65 w 597"/>
                <a:gd name="T69" fmla="*/ 62 h 208"/>
                <a:gd name="T70" fmla="*/ 98 w 597"/>
                <a:gd name="T71" fmla="*/ 78 h 208"/>
                <a:gd name="T72" fmla="*/ 79 w 597"/>
                <a:gd name="T73" fmla="*/ 178 h 208"/>
                <a:gd name="T74" fmla="*/ 117 w 597"/>
                <a:gd name="T75" fmla="*/ 11 h 208"/>
                <a:gd name="T76" fmla="*/ 141 w 597"/>
                <a:gd name="T77" fmla="*/ 96 h 208"/>
                <a:gd name="T78" fmla="*/ 153 w 597"/>
                <a:gd name="T79" fmla="*/ 160 h 208"/>
                <a:gd name="T80" fmla="*/ 188 w 597"/>
                <a:gd name="T81" fmla="*/ 57 h 208"/>
                <a:gd name="T82" fmla="*/ 197 w 597"/>
                <a:gd name="T83" fmla="*/ 28 h 208"/>
                <a:gd name="T84" fmla="*/ 197 w 597"/>
                <a:gd name="T85" fmla="*/ 136 h 208"/>
                <a:gd name="T86" fmla="*/ 202 w 597"/>
                <a:gd name="T87" fmla="*/ 142 h 208"/>
                <a:gd name="T88" fmla="*/ 227 w 597"/>
                <a:gd name="T89" fmla="*/ 149 h 208"/>
                <a:gd name="T90" fmla="*/ 251 w 597"/>
                <a:gd name="T91" fmla="*/ 55 h 208"/>
                <a:gd name="T92" fmla="*/ 272 w 597"/>
                <a:gd name="T93" fmla="*/ 137 h 208"/>
                <a:gd name="T94" fmla="*/ 307 w 597"/>
                <a:gd name="T95" fmla="*/ 196 h 208"/>
                <a:gd name="T96" fmla="*/ 306 w 597"/>
                <a:gd name="T97" fmla="*/ 196 h 208"/>
                <a:gd name="T98" fmla="*/ 324 w 597"/>
                <a:gd name="T99" fmla="*/ 137 h 208"/>
                <a:gd name="T100" fmla="*/ 345 w 597"/>
                <a:gd name="T101" fmla="*/ 55 h 208"/>
                <a:gd name="T102" fmla="*/ 369 w 597"/>
                <a:gd name="T103" fmla="*/ 149 h 208"/>
                <a:gd name="T104" fmla="*/ 399 w 597"/>
                <a:gd name="T105" fmla="*/ 28 h 208"/>
                <a:gd name="T106" fmla="*/ 395 w 597"/>
                <a:gd name="T107" fmla="*/ 189 h 208"/>
                <a:gd name="T108" fmla="*/ 400 w 597"/>
                <a:gd name="T109" fmla="*/ 136 h 208"/>
                <a:gd name="T110" fmla="*/ 408 w 597"/>
                <a:gd name="T111" fmla="*/ 102 h 208"/>
                <a:gd name="T112" fmla="*/ 443 w 597"/>
                <a:gd name="T113" fmla="*/ 160 h 208"/>
                <a:gd name="T114" fmla="*/ 455 w 597"/>
                <a:gd name="T115" fmla="*/ 96 h 208"/>
                <a:gd name="T116" fmla="*/ 480 w 597"/>
                <a:gd name="T117" fmla="*/ 11 h 208"/>
                <a:gd name="T118" fmla="*/ 504 w 597"/>
                <a:gd name="T119" fmla="*/ 194 h 208"/>
                <a:gd name="T120" fmla="*/ 497 w 597"/>
                <a:gd name="T121" fmla="*/ 81 h 208"/>
                <a:gd name="T122" fmla="*/ 530 w 597"/>
                <a:gd name="T123" fmla="*/ 68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7" h="208">
                  <a:moveTo>
                    <a:pt x="557" y="61"/>
                  </a:moveTo>
                  <a:cubicBezTo>
                    <a:pt x="553" y="61"/>
                    <a:pt x="549" y="61"/>
                    <a:pt x="545" y="61"/>
                  </a:cubicBezTo>
                  <a:cubicBezTo>
                    <a:pt x="545" y="61"/>
                    <a:pt x="545" y="61"/>
                    <a:pt x="545" y="61"/>
                  </a:cubicBezTo>
                  <a:cubicBezTo>
                    <a:pt x="545" y="61"/>
                    <a:pt x="545" y="61"/>
                    <a:pt x="545" y="61"/>
                  </a:cubicBezTo>
                  <a:cubicBezTo>
                    <a:pt x="545" y="61"/>
                    <a:pt x="545" y="61"/>
                    <a:pt x="545" y="61"/>
                  </a:cubicBezTo>
                  <a:cubicBezTo>
                    <a:pt x="541" y="58"/>
                    <a:pt x="536" y="60"/>
                    <a:pt x="531" y="60"/>
                  </a:cubicBezTo>
                  <a:cubicBezTo>
                    <a:pt x="533" y="58"/>
                    <a:pt x="536" y="57"/>
                    <a:pt x="538" y="55"/>
                  </a:cubicBezTo>
                  <a:cubicBezTo>
                    <a:pt x="539" y="53"/>
                    <a:pt x="539" y="51"/>
                    <a:pt x="536" y="51"/>
                  </a:cubicBezTo>
                  <a:cubicBezTo>
                    <a:pt x="530" y="51"/>
                    <a:pt x="525" y="48"/>
                    <a:pt x="519" y="49"/>
                  </a:cubicBezTo>
                  <a:cubicBezTo>
                    <a:pt x="518" y="49"/>
                    <a:pt x="517" y="49"/>
                    <a:pt x="516" y="49"/>
                  </a:cubicBezTo>
                  <a:cubicBezTo>
                    <a:pt x="513" y="49"/>
                    <a:pt x="510" y="49"/>
                    <a:pt x="507" y="49"/>
                  </a:cubicBezTo>
                  <a:cubicBezTo>
                    <a:pt x="508" y="50"/>
                    <a:pt x="508" y="50"/>
                    <a:pt x="509" y="51"/>
                  </a:cubicBezTo>
                  <a:cubicBezTo>
                    <a:pt x="509" y="51"/>
                    <a:pt x="508" y="51"/>
                    <a:pt x="508" y="51"/>
                  </a:cubicBezTo>
                  <a:cubicBezTo>
                    <a:pt x="508" y="50"/>
                    <a:pt x="508" y="49"/>
                    <a:pt x="507" y="49"/>
                  </a:cubicBezTo>
                  <a:cubicBezTo>
                    <a:pt x="507" y="49"/>
                    <a:pt x="506" y="49"/>
                    <a:pt x="506" y="49"/>
                  </a:cubicBezTo>
                  <a:cubicBezTo>
                    <a:pt x="506" y="49"/>
                    <a:pt x="506" y="49"/>
                    <a:pt x="505" y="49"/>
                  </a:cubicBezTo>
                  <a:cubicBezTo>
                    <a:pt x="505" y="48"/>
                    <a:pt x="505" y="49"/>
                    <a:pt x="504" y="49"/>
                  </a:cubicBezTo>
                  <a:cubicBezTo>
                    <a:pt x="504" y="49"/>
                    <a:pt x="503" y="49"/>
                    <a:pt x="503" y="49"/>
                  </a:cubicBezTo>
                  <a:cubicBezTo>
                    <a:pt x="499" y="46"/>
                    <a:pt x="495" y="48"/>
                    <a:pt x="491" y="47"/>
                  </a:cubicBezTo>
                  <a:cubicBezTo>
                    <a:pt x="490" y="45"/>
                    <a:pt x="488" y="44"/>
                    <a:pt x="486" y="43"/>
                  </a:cubicBezTo>
                  <a:cubicBezTo>
                    <a:pt x="486" y="43"/>
                    <a:pt x="485" y="43"/>
                    <a:pt x="485" y="43"/>
                  </a:cubicBezTo>
                  <a:cubicBezTo>
                    <a:pt x="485" y="42"/>
                    <a:pt x="486" y="41"/>
                    <a:pt x="486" y="40"/>
                  </a:cubicBezTo>
                  <a:cubicBezTo>
                    <a:pt x="488" y="40"/>
                    <a:pt x="489" y="40"/>
                    <a:pt x="489" y="38"/>
                  </a:cubicBezTo>
                  <a:cubicBezTo>
                    <a:pt x="491" y="38"/>
                    <a:pt x="492" y="38"/>
                    <a:pt x="494" y="38"/>
                  </a:cubicBezTo>
                  <a:cubicBezTo>
                    <a:pt x="495" y="38"/>
                    <a:pt x="496" y="38"/>
                    <a:pt x="497" y="37"/>
                  </a:cubicBezTo>
                  <a:cubicBezTo>
                    <a:pt x="498" y="37"/>
                    <a:pt x="499" y="37"/>
                    <a:pt x="500" y="37"/>
                  </a:cubicBezTo>
                  <a:cubicBezTo>
                    <a:pt x="501" y="38"/>
                    <a:pt x="503" y="38"/>
                    <a:pt x="504" y="37"/>
                  </a:cubicBezTo>
                  <a:cubicBezTo>
                    <a:pt x="505" y="37"/>
                    <a:pt x="505" y="37"/>
                    <a:pt x="506" y="37"/>
                  </a:cubicBezTo>
                  <a:cubicBezTo>
                    <a:pt x="507" y="37"/>
                    <a:pt x="508" y="37"/>
                    <a:pt x="509" y="37"/>
                  </a:cubicBezTo>
                  <a:cubicBezTo>
                    <a:pt x="510" y="36"/>
                    <a:pt x="511" y="36"/>
                    <a:pt x="512" y="35"/>
                  </a:cubicBezTo>
                  <a:cubicBezTo>
                    <a:pt x="513" y="35"/>
                    <a:pt x="515" y="35"/>
                    <a:pt x="516" y="35"/>
                  </a:cubicBezTo>
                  <a:cubicBezTo>
                    <a:pt x="518" y="34"/>
                    <a:pt x="519" y="34"/>
                    <a:pt x="521" y="35"/>
                  </a:cubicBezTo>
                  <a:cubicBezTo>
                    <a:pt x="522" y="35"/>
                    <a:pt x="523" y="35"/>
                    <a:pt x="524" y="35"/>
                  </a:cubicBezTo>
                  <a:cubicBezTo>
                    <a:pt x="527" y="35"/>
                    <a:pt x="531" y="37"/>
                    <a:pt x="534" y="34"/>
                  </a:cubicBezTo>
                  <a:cubicBezTo>
                    <a:pt x="539" y="34"/>
                    <a:pt x="543" y="34"/>
                    <a:pt x="548" y="34"/>
                  </a:cubicBezTo>
                  <a:cubicBezTo>
                    <a:pt x="548" y="33"/>
                    <a:pt x="549" y="33"/>
                    <a:pt x="549" y="32"/>
                  </a:cubicBezTo>
                  <a:cubicBezTo>
                    <a:pt x="551" y="32"/>
                    <a:pt x="552" y="32"/>
                    <a:pt x="554" y="32"/>
                  </a:cubicBezTo>
                  <a:cubicBezTo>
                    <a:pt x="555" y="31"/>
                    <a:pt x="556" y="32"/>
                    <a:pt x="557" y="31"/>
                  </a:cubicBezTo>
                  <a:cubicBezTo>
                    <a:pt x="559" y="31"/>
                    <a:pt x="561" y="31"/>
                    <a:pt x="563" y="31"/>
                  </a:cubicBezTo>
                  <a:cubicBezTo>
                    <a:pt x="563" y="30"/>
                    <a:pt x="564" y="30"/>
                    <a:pt x="564" y="29"/>
                  </a:cubicBezTo>
                  <a:cubicBezTo>
                    <a:pt x="568" y="29"/>
                    <a:pt x="571" y="29"/>
                    <a:pt x="575" y="29"/>
                  </a:cubicBezTo>
                  <a:cubicBezTo>
                    <a:pt x="576" y="28"/>
                    <a:pt x="577" y="29"/>
                    <a:pt x="578" y="28"/>
                  </a:cubicBezTo>
                  <a:cubicBezTo>
                    <a:pt x="579" y="28"/>
                    <a:pt x="581" y="28"/>
                    <a:pt x="582" y="28"/>
                  </a:cubicBezTo>
                  <a:cubicBezTo>
                    <a:pt x="587" y="27"/>
                    <a:pt x="587" y="27"/>
                    <a:pt x="585" y="25"/>
                  </a:cubicBezTo>
                  <a:cubicBezTo>
                    <a:pt x="584" y="25"/>
                    <a:pt x="582" y="25"/>
                    <a:pt x="581" y="25"/>
                  </a:cubicBezTo>
                  <a:cubicBezTo>
                    <a:pt x="579" y="22"/>
                    <a:pt x="577" y="23"/>
                    <a:pt x="575" y="23"/>
                  </a:cubicBezTo>
                  <a:cubicBezTo>
                    <a:pt x="574" y="23"/>
                    <a:pt x="573" y="23"/>
                    <a:pt x="572" y="23"/>
                  </a:cubicBezTo>
                  <a:cubicBezTo>
                    <a:pt x="572" y="23"/>
                    <a:pt x="572" y="23"/>
                    <a:pt x="571" y="24"/>
                  </a:cubicBezTo>
                  <a:cubicBezTo>
                    <a:pt x="571" y="24"/>
                    <a:pt x="571" y="24"/>
                    <a:pt x="570" y="23"/>
                  </a:cubicBezTo>
                  <a:cubicBezTo>
                    <a:pt x="567" y="23"/>
                    <a:pt x="563" y="23"/>
                    <a:pt x="560" y="23"/>
                  </a:cubicBezTo>
                  <a:cubicBezTo>
                    <a:pt x="558" y="21"/>
                    <a:pt x="556" y="22"/>
                    <a:pt x="554" y="22"/>
                  </a:cubicBezTo>
                  <a:cubicBezTo>
                    <a:pt x="550" y="22"/>
                    <a:pt x="545" y="22"/>
                    <a:pt x="540" y="22"/>
                  </a:cubicBezTo>
                  <a:cubicBezTo>
                    <a:pt x="538" y="22"/>
                    <a:pt x="536" y="22"/>
                    <a:pt x="534" y="22"/>
                  </a:cubicBezTo>
                  <a:cubicBezTo>
                    <a:pt x="533" y="19"/>
                    <a:pt x="530" y="20"/>
                    <a:pt x="528" y="20"/>
                  </a:cubicBezTo>
                  <a:cubicBezTo>
                    <a:pt x="520" y="20"/>
                    <a:pt x="511" y="20"/>
                    <a:pt x="503" y="20"/>
                  </a:cubicBezTo>
                  <a:cubicBezTo>
                    <a:pt x="501" y="18"/>
                    <a:pt x="498" y="19"/>
                    <a:pt x="495" y="19"/>
                  </a:cubicBezTo>
                  <a:cubicBezTo>
                    <a:pt x="494" y="19"/>
                    <a:pt x="493" y="19"/>
                    <a:pt x="492" y="19"/>
                  </a:cubicBezTo>
                  <a:cubicBezTo>
                    <a:pt x="490" y="15"/>
                    <a:pt x="485" y="19"/>
                    <a:pt x="483" y="16"/>
                  </a:cubicBezTo>
                  <a:cubicBezTo>
                    <a:pt x="485" y="9"/>
                    <a:pt x="485" y="7"/>
                    <a:pt x="477" y="8"/>
                  </a:cubicBezTo>
                  <a:cubicBezTo>
                    <a:pt x="468" y="9"/>
                    <a:pt x="459" y="6"/>
                    <a:pt x="451" y="4"/>
                  </a:cubicBezTo>
                  <a:cubicBezTo>
                    <a:pt x="441" y="2"/>
                    <a:pt x="431" y="2"/>
                    <a:pt x="422" y="1"/>
                  </a:cubicBezTo>
                  <a:cubicBezTo>
                    <a:pt x="412" y="0"/>
                    <a:pt x="403" y="0"/>
                    <a:pt x="393" y="0"/>
                  </a:cubicBezTo>
                  <a:cubicBezTo>
                    <a:pt x="378" y="1"/>
                    <a:pt x="363" y="0"/>
                    <a:pt x="347" y="0"/>
                  </a:cubicBezTo>
                  <a:cubicBezTo>
                    <a:pt x="345" y="0"/>
                    <a:pt x="343" y="0"/>
                    <a:pt x="341" y="0"/>
                  </a:cubicBezTo>
                  <a:cubicBezTo>
                    <a:pt x="330" y="3"/>
                    <a:pt x="319" y="2"/>
                    <a:pt x="308" y="3"/>
                  </a:cubicBezTo>
                  <a:cubicBezTo>
                    <a:pt x="305" y="4"/>
                    <a:pt x="301" y="4"/>
                    <a:pt x="298" y="5"/>
                  </a:cubicBezTo>
                  <a:cubicBezTo>
                    <a:pt x="295" y="4"/>
                    <a:pt x="291" y="4"/>
                    <a:pt x="288" y="3"/>
                  </a:cubicBezTo>
                  <a:cubicBezTo>
                    <a:pt x="277" y="2"/>
                    <a:pt x="266" y="3"/>
                    <a:pt x="255" y="1"/>
                  </a:cubicBezTo>
                  <a:cubicBezTo>
                    <a:pt x="253" y="0"/>
                    <a:pt x="251" y="0"/>
                    <a:pt x="249" y="0"/>
                  </a:cubicBezTo>
                  <a:cubicBezTo>
                    <a:pt x="234" y="0"/>
                    <a:pt x="218" y="1"/>
                    <a:pt x="203" y="0"/>
                  </a:cubicBezTo>
                  <a:cubicBezTo>
                    <a:pt x="194" y="0"/>
                    <a:pt x="184" y="0"/>
                    <a:pt x="174" y="1"/>
                  </a:cubicBezTo>
                  <a:cubicBezTo>
                    <a:pt x="165" y="2"/>
                    <a:pt x="155" y="2"/>
                    <a:pt x="146" y="4"/>
                  </a:cubicBezTo>
                  <a:cubicBezTo>
                    <a:pt x="137" y="6"/>
                    <a:pt x="128" y="9"/>
                    <a:pt x="119" y="8"/>
                  </a:cubicBezTo>
                  <a:cubicBezTo>
                    <a:pt x="111" y="8"/>
                    <a:pt x="111" y="9"/>
                    <a:pt x="114" y="16"/>
                  </a:cubicBezTo>
                  <a:cubicBezTo>
                    <a:pt x="111" y="19"/>
                    <a:pt x="107" y="16"/>
                    <a:pt x="104" y="19"/>
                  </a:cubicBezTo>
                  <a:cubicBezTo>
                    <a:pt x="103" y="19"/>
                    <a:pt x="102" y="19"/>
                    <a:pt x="101" y="19"/>
                  </a:cubicBezTo>
                  <a:cubicBezTo>
                    <a:pt x="98" y="19"/>
                    <a:pt x="96" y="18"/>
                    <a:pt x="94" y="20"/>
                  </a:cubicBezTo>
                  <a:cubicBezTo>
                    <a:pt x="85" y="20"/>
                    <a:pt x="76" y="20"/>
                    <a:pt x="68" y="20"/>
                  </a:cubicBezTo>
                  <a:cubicBezTo>
                    <a:pt x="66" y="20"/>
                    <a:pt x="64" y="19"/>
                    <a:pt x="62" y="22"/>
                  </a:cubicBezTo>
                  <a:cubicBezTo>
                    <a:pt x="60" y="22"/>
                    <a:pt x="58" y="22"/>
                    <a:pt x="56" y="22"/>
                  </a:cubicBezTo>
                  <a:cubicBezTo>
                    <a:pt x="51" y="22"/>
                    <a:pt x="47" y="22"/>
                    <a:pt x="42" y="22"/>
                  </a:cubicBezTo>
                  <a:cubicBezTo>
                    <a:pt x="40" y="22"/>
                    <a:pt x="38" y="21"/>
                    <a:pt x="36" y="23"/>
                  </a:cubicBezTo>
                  <a:cubicBezTo>
                    <a:pt x="33" y="23"/>
                    <a:pt x="29" y="23"/>
                    <a:pt x="26" y="23"/>
                  </a:cubicBezTo>
                  <a:cubicBezTo>
                    <a:pt x="26" y="24"/>
                    <a:pt x="25" y="24"/>
                    <a:pt x="25" y="24"/>
                  </a:cubicBezTo>
                  <a:cubicBezTo>
                    <a:pt x="25" y="23"/>
                    <a:pt x="24" y="23"/>
                    <a:pt x="24" y="23"/>
                  </a:cubicBezTo>
                  <a:cubicBezTo>
                    <a:pt x="23" y="23"/>
                    <a:pt x="22" y="23"/>
                    <a:pt x="21" y="23"/>
                  </a:cubicBezTo>
                  <a:cubicBezTo>
                    <a:pt x="19" y="23"/>
                    <a:pt x="17" y="22"/>
                    <a:pt x="15" y="25"/>
                  </a:cubicBezTo>
                  <a:cubicBezTo>
                    <a:pt x="14" y="25"/>
                    <a:pt x="12" y="25"/>
                    <a:pt x="11" y="25"/>
                  </a:cubicBezTo>
                  <a:cubicBezTo>
                    <a:pt x="9" y="27"/>
                    <a:pt x="10" y="27"/>
                    <a:pt x="14" y="28"/>
                  </a:cubicBezTo>
                  <a:cubicBezTo>
                    <a:pt x="15" y="28"/>
                    <a:pt x="17" y="28"/>
                    <a:pt x="18" y="28"/>
                  </a:cubicBezTo>
                  <a:cubicBezTo>
                    <a:pt x="19" y="29"/>
                    <a:pt x="21" y="28"/>
                    <a:pt x="21" y="29"/>
                  </a:cubicBezTo>
                  <a:cubicBezTo>
                    <a:pt x="25" y="29"/>
                    <a:pt x="28" y="29"/>
                    <a:pt x="32" y="29"/>
                  </a:cubicBezTo>
                  <a:cubicBezTo>
                    <a:pt x="32" y="30"/>
                    <a:pt x="33" y="30"/>
                    <a:pt x="33" y="31"/>
                  </a:cubicBezTo>
                  <a:cubicBezTo>
                    <a:pt x="35" y="31"/>
                    <a:pt x="38" y="31"/>
                    <a:pt x="39" y="31"/>
                  </a:cubicBezTo>
                  <a:cubicBezTo>
                    <a:pt x="40" y="32"/>
                    <a:pt x="42" y="31"/>
                    <a:pt x="42" y="32"/>
                  </a:cubicBezTo>
                  <a:cubicBezTo>
                    <a:pt x="44" y="32"/>
                    <a:pt x="45" y="32"/>
                    <a:pt x="47" y="32"/>
                  </a:cubicBezTo>
                  <a:cubicBezTo>
                    <a:pt x="47" y="33"/>
                    <a:pt x="48" y="33"/>
                    <a:pt x="48" y="34"/>
                  </a:cubicBezTo>
                  <a:cubicBezTo>
                    <a:pt x="53" y="34"/>
                    <a:pt x="57" y="34"/>
                    <a:pt x="62" y="34"/>
                  </a:cubicBezTo>
                  <a:cubicBezTo>
                    <a:pt x="65" y="37"/>
                    <a:pt x="69" y="35"/>
                    <a:pt x="72" y="35"/>
                  </a:cubicBezTo>
                  <a:cubicBezTo>
                    <a:pt x="73" y="35"/>
                    <a:pt x="74" y="35"/>
                    <a:pt x="75" y="35"/>
                  </a:cubicBezTo>
                  <a:cubicBezTo>
                    <a:pt x="77" y="34"/>
                    <a:pt x="78" y="34"/>
                    <a:pt x="80" y="35"/>
                  </a:cubicBezTo>
                  <a:cubicBezTo>
                    <a:pt x="81" y="35"/>
                    <a:pt x="83" y="35"/>
                    <a:pt x="84" y="35"/>
                  </a:cubicBezTo>
                  <a:cubicBezTo>
                    <a:pt x="85" y="36"/>
                    <a:pt x="87" y="36"/>
                    <a:pt x="87" y="37"/>
                  </a:cubicBezTo>
                  <a:cubicBezTo>
                    <a:pt x="88" y="37"/>
                    <a:pt x="90" y="37"/>
                    <a:pt x="91" y="37"/>
                  </a:cubicBezTo>
                  <a:cubicBezTo>
                    <a:pt x="91" y="37"/>
                    <a:pt x="91" y="37"/>
                    <a:pt x="92" y="37"/>
                  </a:cubicBezTo>
                  <a:cubicBezTo>
                    <a:pt x="93" y="38"/>
                    <a:pt x="95" y="38"/>
                    <a:pt x="96" y="37"/>
                  </a:cubicBezTo>
                  <a:cubicBezTo>
                    <a:pt x="97" y="37"/>
                    <a:pt x="98" y="37"/>
                    <a:pt x="100" y="37"/>
                  </a:cubicBezTo>
                  <a:cubicBezTo>
                    <a:pt x="100" y="38"/>
                    <a:pt x="101" y="38"/>
                    <a:pt x="102" y="39"/>
                  </a:cubicBezTo>
                  <a:cubicBezTo>
                    <a:pt x="104" y="39"/>
                    <a:pt x="105" y="39"/>
                    <a:pt x="107" y="39"/>
                  </a:cubicBezTo>
                  <a:cubicBezTo>
                    <a:pt x="108" y="40"/>
                    <a:pt x="109" y="40"/>
                    <a:pt x="110" y="40"/>
                  </a:cubicBezTo>
                  <a:cubicBezTo>
                    <a:pt x="110" y="41"/>
                    <a:pt x="111" y="42"/>
                    <a:pt x="111" y="43"/>
                  </a:cubicBezTo>
                  <a:cubicBezTo>
                    <a:pt x="111" y="43"/>
                    <a:pt x="110" y="43"/>
                    <a:pt x="110" y="43"/>
                  </a:cubicBezTo>
                  <a:cubicBezTo>
                    <a:pt x="108" y="44"/>
                    <a:pt x="107" y="45"/>
                    <a:pt x="105" y="48"/>
                  </a:cubicBezTo>
                  <a:cubicBezTo>
                    <a:pt x="102" y="48"/>
                    <a:pt x="97" y="46"/>
                    <a:pt x="93" y="49"/>
                  </a:cubicBezTo>
                  <a:cubicBezTo>
                    <a:pt x="93" y="49"/>
                    <a:pt x="92" y="49"/>
                    <a:pt x="92" y="49"/>
                  </a:cubicBezTo>
                  <a:cubicBezTo>
                    <a:pt x="92" y="49"/>
                    <a:pt x="91" y="49"/>
                    <a:pt x="91" y="49"/>
                  </a:cubicBezTo>
                  <a:cubicBezTo>
                    <a:pt x="91" y="49"/>
                    <a:pt x="90" y="49"/>
                    <a:pt x="90" y="49"/>
                  </a:cubicBezTo>
                  <a:cubicBezTo>
                    <a:pt x="90" y="49"/>
                    <a:pt x="90" y="49"/>
                    <a:pt x="89" y="49"/>
                  </a:cubicBezTo>
                  <a:cubicBezTo>
                    <a:pt x="88" y="49"/>
                    <a:pt x="88" y="50"/>
                    <a:pt x="88" y="51"/>
                  </a:cubicBezTo>
                  <a:cubicBezTo>
                    <a:pt x="88" y="51"/>
                    <a:pt x="88" y="51"/>
                    <a:pt x="87" y="51"/>
                  </a:cubicBezTo>
                  <a:cubicBezTo>
                    <a:pt x="88" y="50"/>
                    <a:pt x="88" y="50"/>
                    <a:pt x="89" y="49"/>
                  </a:cubicBezTo>
                  <a:cubicBezTo>
                    <a:pt x="86" y="49"/>
                    <a:pt x="83" y="49"/>
                    <a:pt x="80" y="49"/>
                  </a:cubicBezTo>
                  <a:cubicBezTo>
                    <a:pt x="79" y="49"/>
                    <a:pt x="78" y="49"/>
                    <a:pt x="77" y="49"/>
                  </a:cubicBezTo>
                  <a:cubicBezTo>
                    <a:pt x="71" y="48"/>
                    <a:pt x="66" y="51"/>
                    <a:pt x="60" y="51"/>
                  </a:cubicBezTo>
                  <a:cubicBezTo>
                    <a:pt x="58" y="51"/>
                    <a:pt x="57" y="53"/>
                    <a:pt x="59" y="55"/>
                  </a:cubicBezTo>
                  <a:cubicBezTo>
                    <a:pt x="60" y="57"/>
                    <a:pt x="63" y="58"/>
                    <a:pt x="65" y="60"/>
                  </a:cubicBezTo>
                  <a:cubicBezTo>
                    <a:pt x="60" y="60"/>
                    <a:pt x="56" y="58"/>
                    <a:pt x="51" y="61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51" y="61"/>
                    <a:pt x="51" y="61"/>
                    <a:pt x="51" y="61"/>
                  </a:cubicBezTo>
                  <a:cubicBezTo>
                    <a:pt x="47" y="61"/>
                    <a:pt x="43" y="61"/>
                    <a:pt x="39" y="61"/>
                  </a:cubicBezTo>
                  <a:cubicBezTo>
                    <a:pt x="29" y="61"/>
                    <a:pt x="19" y="62"/>
                    <a:pt x="9" y="63"/>
                  </a:cubicBezTo>
                  <a:cubicBezTo>
                    <a:pt x="6" y="63"/>
                    <a:pt x="3" y="62"/>
                    <a:pt x="0" y="63"/>
                  </a:cubicBezTo>
                  <a:cubicBezTo>
                    <a:pt x="0" y="65"/>
                    <a:pt x="1" y="67"/>
                    <a:pt x="3" y="67"/>
                  </a:cubicBezTo>
                  <a:cubicBezTo>
                    <a:pt x="7" y="66"/>
                    <a:pt x="12" y="70"/>
                    <a:pt x="17" y="67"/>
                  </a:cubicBezTo>
                  <a:cubicBezTo>
                    <a:pt x="18" y="67"/>
                    <a:pt x="19" y="67"/>
                    <a:pt x="20" y="68"/>
                  </a:cubicBezTo>
                  <a:cubicBezTo>
                    <a:pt x="27" y="69"/>
                    <a:pt x="34" y="71"/>
                    <a:pt x="41" y="72"/>
                  </a:cubicBezTo>
                  <a:cubicBezTo>
                    <a:pt x="57" y="73"/>
                    <a:pt x="72" y="77"/>
                    <a:pt x="87" y="80"/>
                  </a:cubicBezTo>
                  <a:cubicBezTo>
                    <a:pt x="89" y="80"/>
                    <a:pt x="91" y="82"/>
                    <a:pt x="92" y="84"/>
                  </a:cubicBezTo>
                  <a:cubicBezTo>
                    <a:pt x="92" y="84"/>
                    <a:pt x="92" y="84"/>
                    <a:pt x="92" y="84"/>
                  </a:cubicBezTo>
                  <a:cubicBezTo>
                    <a:pt x="92" y="84"/>
                    <a:pt x="92" y="84"/>
                    <a:pt x="92" y="84"/>
                  </a:cubicBezTo>
                  <a:cubicBezTo>
                    <a:pt x="92" y="84"/>
                    <a:pt x="92" y="84"/>
                    <a:pt x="92" y="84"/>
                  </a:cubicBezTo>
                  <a:cubicBezTo>
                    <a:pt x="90" y="84"/>
                    <a:pt x="87" y="83"/>
                    <a:pt x="86" y="86"/>
                  </a:cubicBezTo>
                  <a:cubicBezTo>
                    <a:pt x="86" y="86"/>
                    <a:pt x="86" y="86"/>
                    <a:pt x="86" y="86"/>
                  </a:cubicBezTo>
                  <a:cubicBezTo>
                    <a:pt x="86" y="86"/>
                    <a:pt x="86" y="86"/>
                    <a:pt x="86" y="86"/>
                  </a:cubicBezTo>
                  <a:cubicBezTo>
                    <a:pt x="86" y="86"/>
                    <a:pt x="86" y="86"/>
                    <a:pt x="86" y="86"/>
                  </a:cubicBezTo>
                  <a:cubicBezTo>
                    <a:pt x="74" y="85"/>
                    <a:pt x="63" y="87"/>
                    <a:pt x="52" y="87"/>
                  </a:cubicBezTo>
                  <a:cubicBezTo>
                    <a:pt x="49" y="87"/>
                    <a:pt x="47" y="88"/>
                    <a:pt x="45" y="89"/>
                  </a:cubicBezTo>
                  <a:cubicBezTo>
                    <a:pt x="42" y="90"/>
                    <a:pt x="42" y="91"/>
                    <a:pt x="44" y="93"/>
                  </a:cubicBezTo>
                  <a:cubicBezTo>
                    <a:pt x="45" y="94"/>
                    <a:pt x="46" y="95"/>
                    <a:pt x="47" y="95"/>
                  </a:cubicBezTo>
                  <a:cubicBezTo>
                    <a:pt x="48" y="97"/>
                    <a:pt x="49" y="98"/>
                    <a:pt x="51" y="99"/>
                  </a:cubicBezTo>
                  <a:cubicBezTo>
                    <a:pt x="52" y="99"/>
                    <a:pt x="52" y="99"/>
                    <a:pt x="52" y="99"/>
                  </a:cubicBezTo>
                  <a:cubicBezTo>
                    <a:pt x="52" y="99"/>
                    <a:pt x="52" y="99"/>
                    <a:pt x="52" y="99"/>
                  </a:cubicBezTo>
                  <a:cubicBezTo>
                    <a:pt x="52" y="99"/>
                    <a:pt x="51" y="99"/>
                    <a:pt x="51" y="99"/>
                  </a:cubicBezTo>
                  <a:cubicBezTo>
                    <a:pt x="51" y="102"/>
                    <a:pt x="52" y="105"/>
                    <a:pt x="56" y="105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57" y="106"/>
                    <a:pt x="58" y="107"/>
                    <a:pt x="59" y="107"/>
                  </a:cubicBezTo>
                  <a:cubicBezTo>
                    <a:pt x="59" y="107"/>
                    <a:pt x="59" y="107"/>
                    <a:pt x="59" y="107"/>
                  </a:cubicBezTo>
                  <a:cubicBezTo>
                    <a:pt x="59" y="107"/>
                    <a:pt x="59" y="107"/>
                    <a:pt x="59" y="107"/>
                  </a:cubicBezTo>
                  <a:cubicBezTo>
                    <a:pt x="59" y="107"/>
                    <a:pt x="59" y="107"/>
                    <a:pt x="59" y="107"/>
                  </a:cubicBezTo>
                  <a:cubicBezTo>
                    <a:pt x="64" y="109"/>
                    <a:pt x="69" y="114"/>
                    <a:pt x="75" y="114"/>
                  </a:cubicBezTo>
                  <a:cubicBezTo>
                    <a:pt x="75" y="114"/>
                    <a:pt x="76" y="114"/>
                    <a:pt x="76" y="114"/>
                  </a:cubicBezTo>
                  <a:cubicBezTo>
                    <a:pt x="76" y="114"/>
                    <a:pt x="76" y="114"/>
                    <a:pt x="76" y="114"/>
                  </a:cubicBezTo>
                  <a:cubicBezTo>
                    <a:pt x="75" y="114"/>
                    <a:pt x="75" y="114"/>
                    <a:pt x="75" y="114"/>
                  </a:cubicBezTo>
                  <a:cubicBezTo>
                    <a:pt x="80" y="116"/>
                    <a:pt x="82" y="120"/>
                    <a:pt x="86" y="123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6" y="123"/>
                    <a:pt x="86" y="123"/>
                    <a:pt x="86" y="123"/>
                  </a:cubicBezTo>
                  <a:cubicBezTo>
                    <a:pt x="87" y="125"/>
                    <a:pt x="88" y="125"/>
                    <a:pt x="89" y="125"/>
                  </a:cubicBezTo>
                  <a:cubicBezTo>
                    <a:pt x="89" y="125"/>
                    <a:pt x="89" y="125"/>
                    <a:pt x="89" y="125"/>
                  </a:cubicBezTo>
                  <a:cubicBezTo>
                    <a:pt x="89" y="125"/>
                    <a:pt x="89" y="125"/>
                    <a:pt x="89" y="125"/>
                  </a:cubicBezTo>
                  <a:cubicBezTo>
                    <a:pt x="89" y="125"/>
                    <a:pt x="89" y="125"/>
                    <a:pt x="89" y="125"/>
                  </a:cubicBezTo>
                  <a:cubicBezTo>
                    <a:pt x="90" y="126"/>
                    <a:pt x="91" y="126"/>
                    <a:pt x="92" y="125"/>
                  </a:cubicBezTo>
                  <a:cubicBezTo>
                    <a:pt x="94" y="125"/>
                    <a:pt x="97" y="125"/>
                    <a:pt x="99" y="125"/>
                  </a:cubicBezTo>
                  <a:cubicBezTo>
                    <a:pt x="101" y="126"/>
                    <a:pt x="103" y="128"/>
                    <a:pt x="104" y="130"/>
                  </a:cubicBezTo>
                  <a:cubicBezTo>
                    <a:pt x="104" y="130"/>
                    <a:pt x="104" y="130"/>
                    <a:pt x="104" y="130"/>
                  </a:cubicBezTo>
                  <a:cubicBezTo>
                    <a:pt x="104" y="131"/>
                    <a:pt x="104" y="131"/>
                    <a:pt x="104" y="131"/>
                  </a:cubicBezTo>
                  <a:cubicBezTo>
                    <a:pt x="104" y="132"/>
                    <a:pt x="105" y="132"/>
                    <a:pt x="106" y="133"/>
                  </a:cubicBezTo>
                  <a:cubicBezTo>
                    <a:pt x="106" y="135"/>
                    <a:pt x="107" y="138"/>
                    <a:pt x="103" y="139"/>
                  </a:cubicBezTo>
                  <a:cubicBezTo>
                    <a:pt x="100" y="139"/>
                    <a:pt x="99" y="142"/>
                    <a:pt x="98" y="145"/>
                  </a:cubicBezTo>
                  <a:cubicBezTo>
                    <a:pt x="98" y="145"/>
                    <a:pt x="98" y="145"/>
                    <a:pt x="98" y="145"/>
                  </a:cubicBezTo>
                  <a:cubicBezTo>
                    <a:pt x="97" y="147"/>
                    <a:pt x="95" y="148"/>
                    <a:pt x="94" y="149"/>
                  </a:cubicBezTo>
                  <a:cubicBezTo>
                    <a:pt x="94" y="149"/>
                    <a:pt x="94" y="149"/>
                    <a:pt x="94" y="149"/>
                  </a:cubicBezTo>
                  <a:cubicBezTo>
                    <a:pt x="93" y="150"/>
                    <a:pt x="92" y="150"/>
                    <a:pt x="92" y="151"/>
                  </a:cubicBezTo>
                  <a:cubicBezTo>
                    <a:pt x="81" y="151"/>
                    <a:pt x="71" y="155"/>
                    <a:pt x="63" y="162"/>
                  </a:cubicBezTo>
                  <a:cubicBezTo>
                    <a:pt x="60" y="164"/>
                    <a:pt x="61" y="166"/>
                    <a:pt x="63" y="168"/>
                  </a:cubicBezTo>
                  <a:cubicBezTo>
                    <a:pt x="63" y="168"/>
                    <a:pt x="63" y="168"/>
                    <a:pt x="63" y="168"/>
                  </a:cubicBezTo>
                  <a:cubicBezTo>
                    <a:pt x="63" y="168"/>
                    <a:pt x="63" y="168"/>
                    <a:pt x="63" y="168"/>
                  </a:cubicBezTo>
                  <a:cubicBezTo>
                    <a:pt x="64" y="168"/>
                    <a:pt x="64" y="169"/>
                    <a:pt x="65" y="169"/>
                  </a:cubicBezTo>
                  <a:cubicBezTo>
                    <a:pt x="65" y="169"/>
                    <a:pt x="66" y="169"/>
                    <a:pt x="66" y="169"/>
                  </a:cubicBezTo>
                  <a:cubicBezTo>
                    <a:pt x="69" y="169"/>
                    <a:pt x="71" y="170"/>
                    <a:pt x="74" y="170"/>
                  </a:cubicBezTo>
                  <a:cubicBezTo>
                    <a:pt x="74" y="171"/>
                    <a:pt x="74" y="172"/>
                    <a:pt x="75" y="172"/>
                  </a:cubicBezTo>
                  <a:cubicBezTo>
                    <a:pt x="75" y="174"/>
                    <a:pt x="77" y="176"/>
                    <a:pt x="77" y="178"/>
                  </a:cubicBezTo>
                  <a:cubicBezTo>
                    <a:pt x="77" y="178"/>
                    <a:pt x="77" y="178"/>
                    <a:pt x="77" y="178"/>
                  </a:cubicBezTo>
                  <a:cubicBezTo>
                    <a:pt x="77" y="178"/>
                    <a:pt x="77" y="178"/>
                    <a:pt x="77" y="178"/>
                  </a:cubicBezTo>
                  <a:cubicBezTo>
                    <a:pt x="77" y="178"/>
                    <a:pt x="77" y="178"/>
                    <a:pt x="77" y="178"/>
                  </a:cubicBezTo>
                  <a:cubicBezTo>
                    <a:pt x="72" y="178"/>
                    <a:pt x="70" y="182"/>
                    <a:pt x="66" y="184"/>
                  </a:cubicBezTo>
                  <a:cubicBezTo>
                    <a:pt x="65" y="186"/>
                    <a:pt x="63" y="184"/>
                    <a:pt x="62" y="186"/>
                  </a:cubicBezTo>
                  <a:cubicBezTo>
                    <a:pt x="60" y="186"/>
                    <a:pt x="57" y="185"/>
                    <a:pt x="56" y="187"/>
                  </a:cubicBezTo>
                  <a:cubicBezTo>
                    <a:pt x="55" y="187"/>
                    <a:pt x="54" y="187"/>
                    <a:pt x="53" y="187"/>
                  </a:cubicBezTo>
                  <a:cubicBezTo>
                    <a:pt x="51" y="188"/>
                    <a:pt x="48" y="188"/>
                    <a:pt x="47" y="190"/>
                  </a:cubicBezTo>
                  <a:cubicBezTo>
                    <a:pt x="47" y="191"/>
                    <a:pt x="47" y="192"/>
                    <a:pt x="48" y="192"/>
                  </a:cubicBezTo>
                  <a:cubicBezTo>
                    <a:pt x="50" y="194"/>
                    <a:pt x="52" y="194"/>
                    <a:pt x="54" y="192"/>
                  </a:cubicBezTo>
                  <a:cubicBezTo>
                    <a:pt x="54" y="192"/>
                    <a:pt x="54" y="192"/>
                    <a:pt x="54" y="192"/>
                  </a:cubicBezTo>
                  <a:cubicBezTo>
                    <a:pt x="55" y="191"/>
                    <a:pt x="55" y="191"/>
                    <a:pt x="55" y="191"/>
                  </a:cubicBezTo>
                  <a:cubicBezTo>
                    <a:pt x="56" y="192"/>
                    <a:pt x="56" y="192"/>
                    <a:pt x="56" y="192"/>
                  </a:cubicBezTo>
                  <a:cubicBezTo>
                    <a:pt x="56" y="192"/>
                    <a:pt x="57" y="192"/>
                    <a:pt x="57" y="192"/>
                  </a:cubicBezTo>
                  <a:cubicBezTo>
                    <a:pt x="60" y="191"/>
                    <a:pt x="63" y="193"/>
                    <a:pt x="65" y="190"/>
                  </a:cubicBezTo>
                  <a:cubicBezTo>
                    <a:pt x="66" y="190"/>
                    <a:pt x="67" y="190"/>
                    <a:pt x="68" y="190"/>
                  </a:cubicBezTo>
                  <a:cubicBezTo>
                    <a:pt x="73" y="190"/>
                    <a:pt x="78" y="191"/>
                    <a:pt x="83" y="190"/>
                  </a:cubicBezTo>
                  <a:cubicBezTo>
                    <a:pt x="85" y="189"/>
                    <a:pt x="87" y="190"/>
                    <a:pt x="88" y="191"/>
                  </a:cubicBezTo>
                  <a:cubicBezTo>
                    <a:pt x="89" y="194"/>
                    <a:pt x="86" y="194"/>
                    <a:pt x="85" y="195"/>
                  </a:cubicBezTo>
                  <a:cubicBezTo>
                    <a:pt x="82" y="198"/>
                    <a:pt x="78" y="200"/>
                    <a:pt x="74" y="201"/>
                  </a:cubicBezTo>
                  <a:cubicBezTo>
                    <a:pt x="77" y="204"/>
                    <a:pt x="81" y="203"/>
                    <a:pt x="84" y="205"/>
                  </a:cubicBezTo>
                  <a:cubicBezTo>
                    <a:pt x="84" y="205"/>
                    <a:pt x="84" y="205"/>
                    <a:pt x="84" y="205"/>
                  </a:cubicBezTo>
                  <a:cubicBezTo>
                    <a:pt x="90" y="208"/>
                    <a:pt x="95" y="208"/>
                    <a:pt x="101" y="205"/>
                  </a:cubicBezTo>
                  <a:cubicBezTo>
                    <a:pt x="101" y="205"/>
                    <a:pt x="102" y="205"/>
                    <a:pt x="102" y="205"/>
                  </a:cubicBezTo>
                  <a:cubicBezTo>
                    <a:pt x="105" y="205"/>
                    <a:pt x="108" y="207"/>
                    <a:pt x="110" y="204"/>
                  </a:cubicBezTo>
                  <a:cubicBezTo>
                    <a:pt x="112" y="204"/>
                    <a:pt x="115" y="205"/>
                    <a:pt x="117" y="202"/>
                  </a:cubicBezTo>
                  <a:cubicBezTo>
                    <a:pt x="117" y="202"/>
                    <a:pt x="117" y="202"/>
                    <a:pt x="117" y="202"/>
                  </a:cubicBezTo>
                  <a:cubicBezTo>
                    <a:pt x="121" y="202"/>
                    <a:pt x="125" y="204"/>
                    <a:pt x="128" y="201"/>
                  </a:cubicBezTo>
                  <a:cubicBezTo>
                    <a:pt x="128" y="201"/>
                    <a:pt x="129" y="201"/>
                    <a:pt x="129" y="201"/>
                  </a:cubicBezTo>
                  <a:cubicBezTo>
                    <a:pt x="131" y="201"/>
                    <a:pt x="134" y="202"/>
                    <a:pt x="135" y="199"/>
                  </a:cubicBezTo>
                  <a:cubicBezTo>
                    <a:pt x="136" y="199"/>
                    <a:pt x="136" y="199"/>
                    <a:pt x="137" y="199"/>
                  </a:cubicBezTo>
                  <a:cubicBezTo>
                    <a:pt x="138" y="198"/>
                    <a:pt x="139" y="198"/>
                    <a:pt x="140" y="199"/>
                  </a:cubicBezTo>
                  <a:cubicBezTo>
                    <a:pt x="140" y="200"/>
                    <a:pt x="141" y="200"/>
                    <a:pt x="141" y="200"/>
                  </a:cubicBezTo>
                  <a:cubicBezTo>
                    <a:pt x="141" y="200"/>
                    <a:pt x="141" y="200"/>
                    <a:pt x="141" y="199"/>
                  </a:cubicBezTo>
                  <a:cubicBezTo>
                    <a:pt x="142" y="199"/>
                    <a:pt x="142" y="200"/>
                    <a:pt x="143" y="200"/>
                  </a:cubicBezTo>
                  <a:cubicBezTo>
                    <a:pt x="143" y="200"/>
                    <a:pt x="144" y="200"/>
                    <a:pt x="144" y="201"/>
                  </a:cubicBezTo>
                  <a:cubicBezTo>
                    <a:pt x="145" y="201"/>
                    <a:pt x="146" y="201"/>
                    <a:pt x="148" y="201"/>
                  </a:cubicBezTo>
                  <a:cubicBezTo>
                    <a:pt x="153" y="203"/>
                    <a:pt x="158" y="204"/>
                    <a:pt x="164" y="201"/>
                  </a:cubicBezTo>
                  <a:cubicBezTo>
                    <a:pt x="165" y="201"/>
                    <a:pt x="166" y="201"/>
                    <a:pt x="167" y="199"/>
                  </a:cubicBezTo>
                  <a:cubicBezTo>
                    <a:pt x="167" y="199"/>
                    <a:pt x="168" y="199"/>
                    <a:pt x="168" y="199"/>
                  </a:cubicBezTo>
                  <a:cubicBezTo>
                    <a:pt x="172" y="203"/>
                    <a:pt x="176" y="199"/>
                    <a:pt x="180" y="199"/>
                  </a:cubicBezTo>
                  <a:cubicBezTo>
                    <a:pt x="182" y="199"/>
                    <a:pt x="185" y="198"/>
                    <a:pt x="188" y="199"/>
                  </a:cubicBezTo>
                  <a:cubicBezTo>
                    <a:pt x="189" y="200"/>
                    <a:pt x="190" y="199"/>
                    <a:pt x="192" y="198"/>
                  </a:cubicBezTo>
                  <a:cubicBezTo>
                    <a:pt x="193" y="197"/>
                    <a:pt x="194" y="196"/>
                    <a:pt x="195" y="197"/>
                  </a:cubicBezTo>
                  <a:cubicBezTo>
                    <a:pt x="199" y="198"/>
                    <a:pt x="202" y="197"/>
                    <a:pt x="205" y="196"/>
                  </a:cubicBezTo>
                  <a:cubicBezTo>
                    <a:pt x="206" y="196"/>
                    <a:pt x="207" y="196"/>
                    <a:pt x="207" y="196"/>
                  </a:cubicBezTo>
                  <a:cubicBezTo>
                    <a:pt x="213" y="197"/>
                    <a:pt x="219" y="198"/>
                    <a:pt x="225" y="196"/>
                  </a:cubicBezTo>
                  <a:cubicBezTo>
                    <a:pt x="226" y="196"/>
                    <a:pt x="227" y="196"/>
                    <a:pt x="227" y="196"/>
                  </a:cubicBezTo>
                  <a:cubicBezTo>
                    <a:pt x="228" y="196"/>
                    <a:pt x="228" y="197"/>
                    <a:pt x="228" y="197"/>
                  </a:cubicBezTo>
                  <a:cubicBezTo>
                    <a:pt x="229" y="197"/>
                    <a:pt x="230" y="197"/>
                    <a:pt x="231" y="199"/>
                  </a:cubicBezTo>
                  <a:cubicBezTo>
                    <a:pt x="227" y="200"/>
                    <a:pt x="224" y="201"/>
                    <a:pt x="221" y="202"/>
                  </a:cubicBezTo>
                  <a:cubicBezTo>
                    <a:pt x="233" y="201"/>
                    <a:pt x="244" y="204"/>
                    <a:pt x="256" y="201"/>
                  </a:cubicBezTo>
                  <a:cubicBezTo>
                    <a:pt x="258" y="201"/>
                    <a:pt x="262" y="201"/>
                    <a:pt x="264" y="201"/>
                  </a:cubicBezTo>
                  <a:cubicBezTo>
                    <a:pt x="269" y="201"/>
                    <a:pt x="273" y="201"/>
                    <a:pt x="277" y="200"/>
                  </a:cubicBezTo>
                  <a:cubicBezTo>
                    <a:pt x="282" y="198"/>
                    <a:pt x="288" y="198"/>
                    <a:pt x="293" y="198"/>
                  </a:cubicBezTo>
                  <a:cubicBezTo>
                    <a:pt x="294" y="198"/>
                    <a:pt x="295" y="198"/>
                    <a:pt x="296" y="198"/>
                  </a:cubicBezTo>
                  <a:cubicBezTo>
                    <a:pt x="297" y="198"/>
                    <a:pt x="298" y="198"/>
                    <a:pt x="299" y="198"/>
                  </a:cubicBezTo>
                  <a:cubicBezTo>
                    <a:pt x="300" y="198"/>
                    <a:pt x="302" y="198"/>
                    <a:pt x="303" y="198"/>
                  </a:cubicBezTo>
                  <a:cubicBezTo>
                    <a:pt x="309" y="198"/>
                    <a:pt x="314" y="198"/>
                    <a:pt x="319" y="200"/>
                  </a:cubicBezTo>
                  <a:cubicBezTo>
                    <a:pt x="323" y="201"/>
                    <a:pt x="328" y="201"/>
                    <a:pt x="332" y="201"/>
                  </a:cubicBezTo>
                  <a:cubicBezTo>
                    <a:pt x="335" y="201"/>
                    <a:pt x="338" y="200"/>
                    <a:pt x="341" y="201"/>
                  </a:cubicBezTo>
                  <a:cubicBezTo>
                    <a:pt x="352" y="204"/>
                    <a:pt x="364" y="201"/>
                    <a:pt x="375" y="202"/>
                  </a:cubicBezTo>
                  <a:cubicBezTo>
                    <a:pt x="372" y="200"/>
                    <a:pt x="369" y="200"/>
                    <a:pt x="366" y="199"/>
                  </a:cubicBezTo>
                  <a:cubicBezTo>
                    <a:pt x="366" y="197"/>
                    <a:pt x="367" y="197"/>
                    <a:pt x="368" y="197"/>
                  </a:cubicBezTo>
                  <a:cubicBezTo>
                    <a:pt x="368" y="196"/>
                    <a:pt x="368" y="196"/>
                    <a:pt x="369" y="196"/>
                  </a:cubicBezTo>
                  <a:cubicBezTo>
                    <a:pt x="370" y="196"/>
                    <a:pt x="370" y="196"/>
                    <a:pt x="371" y="196"/>
                  </a:cubicBezTo>
                  <a:cubicBezTo>
                    <a:pt x="377" y="198"/>
                    <a:pt x="383" y="197"/>
                    <a:pt x="389" y="196"/>
                  </a:cubicBezTo>
                  <a:cubicBezTo>
                    <a:pt x="389" y="196"/>
                    <a:pt x="390" y="196"/>
                    <a:pt x="391" y="196"/>
                  </a:cubicBezTo>
                  <a:cubicBezTo>
                    <a:pt x="394" y="197"/>
                    <a:pt x="398" y="198"/>
                    <a:pt x="401" y="197"/>
                  </a:cubicBezTo>
                  <a:cubicBezTo>
                    <a:pt x="402" y="196"/>
                    <a:pt x="403" y="197"/>
                    <a:pt x="405" y="198"/>
                  </a:cubicBezTo>
                  <a:cubicBezTo>
                    <a:pt x="406" y="199"/>
                    <a:pt x="407" y="200"/>
                    <a:pt x="409" y="199"/>
                  </a:cubicBezTo>
                  <a:cubicBezTo>
                    <a:pt x="411" y="198"/>
                    <a:pt x="414" y="199"/>
                    <a:pt x="417" y="199"/>
                  </a:cubicBezTo>
                  <a:cubicBezTo>
                    <a:pt x="420" y="198"/>
                    <a:pt x="424" y="203"/>
                    <a:pt x="428" y="199"/>
                  </a:cubicBezTo>
                  <a:cubicBezTo>
                    <a:pt x="428" y="199"/>
                    <a:pt x="429" y="199"/>
                    <a:pt x="429" y="199"/>
                  </a:cubicBezTo>
                  <a:cubicBezTo>
                    <a:pt x="430" y="201"/>
                    <a:pt x="431" y="201"/>
                    <a:pt x="432" y="201"/>
                  </a:cubicBezTo>
                  <a:cubicBezTo>
                    <a:pt x="438" y="204"/>
                    <a:pt x="443" y="203"/>
                    <a:pt x="449" y="201"/>
                  </a:cubicBezTo>
                  <a:cubicBezTo>
                    <a:pt x="450" y="201"/>
                    <a:pt x="451" y="201"/>
                    <a:pt x="452" y="201"/>
                  </a:cubicBezTo>
                  <a:cubicBezTo>
                    <a:pt x="452" y="200"/>
                    <a:pt x="453" y="200"/>
                    <a:pt x="453" y="200"/>
                  </a:cubicBezTo>
                  <a:cubicBezTo>
                    <a:pt x="454" y="199"/>
                    <a:pt x="454" y="199"/>
                    <a:pt x="455" y="199"/>
                  </a:cubicBezTo>
                  <a:cubicBezTo>
                    <a:pt x="455" y="199"/>
                    <a:pt x="455" y="200"/>
                    <a:pt x="455" y="200"/>
                  </a:cubicBezTo>
                  <a:cubicBezTo>
                    <a:pt x="456" y="200"/>
                    <a:pt x="456" y="200"/>
                    <a:pt x="456" y="199"/>
                  </a:cubicBezTo>
                  <a:cubicBezTo>
                    <a:pt x="457" y="198"/>
                    <a:pt x="458" y="198"/>
                    <a:pt x="459" y="199"/>
                  </a:cubicBezTo>
                  <a:cubicBezTo>
                    <a:pt x="460" y="199"/>
                    <a:pt x="460" y="199"/>
                    <a:pt x="461" y="199"/>
                  </a:cubicBezTo>
                  <a:cubicBezTo>
                    <a:pt x="462" y="202"/>
                    <a:pt x="465" y="201"/>
                    <a:pt x="467" y="201"/>
                  </a:cubicBezTo>
                  <a:cubicBezTo>
                    <a:pt x="467" y="201"/>
                    <a:pt x="468" y="201"/>
                    <a:pt x="468" y="201"/>
                  </a:cubicBezTo>
                  <a:cubicBezTo>
                    <a:pt x="471" y="204"/>
                    <a:pt x="475" y="202"/>
                    <a:pt x="479" y="202"/>
                  </a:cubicBezTo>
                  <a:cubicBezTo>
                    <a:pt x="479" y="202"/>
                    <a:pt x="479" y="202"/>
                    <a:pt x="479" y="202"/>
                  </a:cubicBezTo>
                  <a:cubicBezTo>
                    <a:pt x="481" y="205"/>
                    <a:pt x="484" y="204"/>
                    <a:pt x="486" y="204"/>
                  </a:cubicBezTo>
                  <a:cubicBezTo>
                    <a:pt x="488" y="207"/>
                    <a:pt x="491" y="205"/>
                    <a:pt x="494" y="205"/>
                  </a:cubicBezTo>
                  <a:cubicBezTo>
                    <a:pt x="494" y="205"/>
                    <a:pt x="495" y="205"/>
                    <a:pt x="495" y="205"/>
                  </a:cubicBezTo>
                  <a:cubicBezTo>
                    <a:pt x="501" y="208"/>
                    <a:pt x="506" y="208"/>
                    <a:pt x="512" y="205"/>
                  </a:cubicBezTo>
                  <a:cubicBezTo>
                    <a:pt x="512" y="205"/>
                    <a:pt x="512" y="205"/>
                    <a:pt x="512" y="205"/>
                  </a:cubicBezTo>
                  <a:cubicBezTo>
                    <a:pt x="515" y="203"/>
                    <a:pt x="519" y="204"/>
                    <a:pt x="523" y="201"/>
                  </a:cubicBezTo>
                  <a:cubicBezTo>
                    <a:pt x="518" y="200"/>
                    <a:pt x="515" y="198"/>
                    <a:pt x="511" y="195"/>
                  </a:cubicBezTo>
                  <a:cubicBezTo>
                    <a:pt x="510" y="194"/>
                    <a:pt x="507" y="194"/>
                    <a:pt x="508" y="191"/>
                  </a:cubicBezTo>
                  <a:cubicBezTo>
                    <a:pt x="509" y="190"/>
                    <a:pt x="512" y="189"/>
                    <a:pt x="514" y="190"/>
                  </a:cubicBezTo>
                  <a:cubicBezTo>
                    <a:pt x="518" y="191"/>
                    <a:pt x="523" y="190"/>
                    <a:pt x="528" y="190"/>
                  </a:cubicBezTo>
                  <a:cubicBezTo>
                    <a:pt x="529" y="190"/>
                    <a:pt x="530" y="190"/>
                    <a:pt x="531" y="190"/>
                  </a:cubicBezTo>
                  <a:cubicBezTo>
                    <a:pt x="533" y="193"/>
                    <a:pt x="536" y="191"/>
                    <a:pt x="539" y="192"/>
                  </a:cubicBezTo>
                  <a:cubicBezTo>
                    <a:pt x="539" y="192"/>
                    <a:pt x="540" y="192"/>
                    <a:pt x="540" y="192"/>
                  </a:cubicBezTo>
                  <a:cubicBezTo>
                    <a:pt x="540" y="192"/>
                    <a:pt x="540" y="191"/>
                    <a:pt x="541" y="191"/>
                  </a:cubicBezTo>
                  <a:cubicBezTo>
                    <a:pt x="541" y="191"/>
                    <a:pt x="542" y="191"/>
                    <a:pt x="542" y="192"/>
                  </a:cubicBezTo>
                  <a:cubicBezTo>
                    <a:pt x="542" y="192"/>
                    <a:pt x="542" y="192"/>
                    <a:pt x="542" y="192"/>
                  </a:cubicBezTo>
                  <a:cubicBezTo>
                    <a:pt x="544" y="194"/>
                    <a:pt x="546" y="194"/>
                    <a:pt x="548" y="192"/>
                  </a:cubicBezTo>
                  <a:cubicBezTo>
                    <a:pt x="549" y="192"/>
                    <a:pt x="549" y="191"/>
                    <a:pt x="549" y="190"/>
                  </a:cubicBezTo>
                  <a:cubicBezTo>
                    <a:pt x="548" y="188"/>
                    <a:pt x="546" y="187"/>
                    <a:pt x="543" y="187"/>
                  </a:cubicBezTo>
                  <a:cubicBezTo>
                    <a:pt x="542" y="187"/>
                    <a:pt x="541" y="187"/>
                    <a:pt x="540" y="187"/>
                  </a:cubicBezTo>
                  <a:cubicBezTo>
                    <a:pt x="539" y="185"/>
                    <a:pt x="536" y="186"/>
                    <a:pt x="534" y="186"/>
                  </a:cubicBezTo>
                  <a:cubicBezTo>
                    <a:pt x="533" y="184"/>
                    <a:pt x="531" y="186"/>
                    <a:pt x="530" y="184"/>
                  </a:cubicBezTo>
                  <a:cubicBezTo>
                    <a:pt x="526" y="182"/>
                    <a:pt x="524" y="178"/>
                    <a:pt x="519" y="178"/>
                  </a:cubicBezTo>
                  <a:cubicBezTo>
                    <a:pt x="519" y="178"/>
                    <a:pt x="519" y="178"/>
                    <a:pt x="519" y="178"/>
                  </a:cubicBezTo>
                  <a:cubicBezTo>
                    <a:pt x="519" y="178"/>
                    <a:pt x="519" y="178"/>
                    <a:pt x="519" y="178"/>
                  </a:cubicBezTo>
                  <a:cubicBezTo>
                    <a:pt x="519" y="178"/>
                    <a:pt x="519" y="178"/>
                    <a:pt x="519" y="178"/>
                  </a:cubicBezTo>
                  <a:cubicBezTo>
                    <a:pt x="519" y="176"/>
                    <a:pt x="521" y="174"/>
                    <a:pt x="521" y="172"/>
                  </a:cubicBezTo>
                  <a:cubicBezTo>
                    <a:pt x="522" y="172"/>
                    <a:pt x="522" y="171"/>
                    <a:pt x="522" y="170"/>
                  </a:cubicBezTo>
                  <a:cubicBezTo>
                    <a:pt x="525" y="170"/>
                    <a:pt x="527" y="169"/>
                    <a:pt x="530" y="169"/>
                  </a:cubicBezTo>
                  <a:cubicBezTo>
                    <a:pt x="531" y="169"/>
                    <a:pt x="531" y="169"/>
                    <a:pt x="532" y="169"/>
                  </a:cubicBezTo>
                  <a:cubicBezTo>
                    <a:pt x="532" y="169"/>
                    <a:pt x="532" y="168"/>
                    <a:pt x="533" y="168"/>
                  </a:cubicBezTo>
                  <a:cubicBezTo>
                    <a:pt x="533" y="168"/>
                    <a:pt x="533" y="168"/>
                    <a:pt x="533" y="168"/>
                  </a:cubicBezTo>
                  <a:cubicBezTo>
                    <a:pt x="533" y="168"/>
                    <a:pt x="533" y="168"/>
                    <a:pt x="533" y="168"/>
                  </a:cubicBezTo>
                  <a:cubicBezTo>
                    <a:pt x="535" y="166"/>
                    <a:pt x="536" y="164"/>
                    <a:pt x="533" y="162"/>
                  </a:cubicBezTo>
                  <a:cubicBezTo>
                    <a:pt x="525" y="154"/>
                    <a:pt x="515" y="151"/>
                    <a:pt x="504" y="151"/>
                  </a:cubicBezTo>
                  <a:cubicBezTo>
                    <a:pt x="504" y="150"/>
                    <a:pt x="503" y="150"/>
                    <a:pt x="503" y="149"/>
                  </a:cubicBezTo>
                  <a:cubicBezTo>
                    <a:pt x="503" y="149"/>
                    <a:pt x="503" y="149"/>
                    <a:pt x="503" y="149"/>
                  </a:cubicBezTo>
                  <a:cubicBezTo>
                    <a:pt x="501" y="148"/>
                    <a:pt x="499" y="147"/>
                    <a:pt x="498" y="145"/>
                  </a:cubicBezTo>
                  <a:cubicBezTo>
                    <a:pt x="498" y="145"/>
                    <a:pt x="498" y="145"/>
                    <a:pt x="498" y="145"/>
                  </a:cubicBezTo>
                  <a:cubicBezTo>
                    <a:pt x="497" y="142"/>
                    <a:pt x="496" y="139"/>
                    <a:pt x="493" y="139"/>
                  </a:cubicBezTo>
                  <a:cubicBezTo>
                    <a:pt x="489" y="138"/>
                    <a:pt x="491" y="135"/>
                    <a:pt x="491" y="132"/>
                  </a:cubicBezTo>
                  <a:cubicBezTo>
                    <a:pt x="491" y="132"/>
                    <a:pt x="492" y="131"/>
                    <a:pt x="492" y="131"/>
                  </a:cubicBezTo>
                  <a:cubicBezTo>
                    <a:pt x="492" y="130"/>
                    <a:pt x="492" y="130"/>
                    <a:pt x="492" y="130"/>
                  </a:cubicBezTo>
                  <a:cubicBezTo>
                    <a:pt x="492" y="130"/>
                    <a:pt x="492" y="130"/>
                    <a:pt x="492" y="130"/>
                  </a:cubicBezTo>
                  <a:cubicBezTo>
                    <a:pt x="493" y="127"/>
                    <a:pt x="495" y="126"/>
                    <a:pt x="497" y="125"/>
                  </a:cubicBezTo>
                  <a:cubicBezTo>
                    <a:pt x="499" y="125"/>
                    <a:pt x="502" y="125"/>
                    <a:pt x="504" y="125"/>
                  </a:cubicBezTo>
                  <a:cubicBezTo>
                    <a:pt x="505" y="126"/>
                    <a:pt x="506" y="126"/>
                    <a:pt x="507" y="125"/>
                  </a:cubicBezTo>
                  <a:cubicBezTo>
                    <a:pt x="507" y="125"/>
                    <a:pt x="507" y="125"/>
                    <a:pt x="507" y="125"/>
                  </a:cubicBezTo>
                  <a:cubicBezTo>
                    <a:pt x="507" y="125"/>
                    <a:pt x="507" y="125"/>
                    <a:pt x="507" y="125"/>
                  </a:cubicBezTo>
                  <a:cubicBezTo>
                    <a:pt x="507" y="125"/>
                    <a:pt x="507" y="125"/>
                    <a:pt x="507" y="125"/>
                  </a:cubicBezTo>
                  <a:cubicBezTo>
                    <a:pt x="508" y="125"/>
                    <a:pt x="510" y="125"/>
                    <a:pt x="510" y="123"/>
                  </a:cubicBezTo>
                  <a:cubicBezTo>
                    <a:pt x="510" y="123"/>
                    <a:pt x="510" y="123"/>
                    <a:pt x="510" y="123"/>
                  </a:cubicBezTo>
                  <a:cubicBezTo>
                    <a:pt x="510" y="123"/>
                    <a:pt x="510" y="123"/>
                    <a:pt x="510" y="123"/>
                  </a:cubicBezTo>
                  <a:cubicBezTo>
                    <a:pt x="510" y="123"/>
                    <a:pt x="510" y="123"/>
                    <a:pt x="510" y="123"/>
                  </a:cubicBezTo>
                  <a:cubicBezTo>
                    <a:pt x="514" y="120"/>
                    <a:pt x="516" y="116"/>
                    <a:pt x="521" y="114"/>
                  </a:cubicBezTo>
                  <a:cubicBezTo>
                    <a:pt x="521" y="114"/>
                    <a:pt x="521" y="114"/>
                    <a:pt x="521" y="114"/>
                  </a:cubicBezTo>
                  <a:cubicBezTo>
                    <a:pt x="521" y="114"/>
                    <a:pt x="521" y="114"/>
                    <a:pt x="521" y="114"/>
                  </a:cubicBezTo>
                  <a:cubicBezTo>
                    <a:pt x="521" y="114"/>
                    <a:pt x="521" y="114"/>
                    <a:pt x="521" y="114"/>
                  </a:cubicBezTo>
                  <a:cubicBezTo>
                    <a:pt x="527" y="114"/>
                    <a:pt x="532" y="109"/>
                    <a:pt x="537" y="107"/>
                  </a:cubicBezTo>
                  <a:cubicBezTo>
                    <a:pt x="537" y="107"/>
                    <a:pt x="537" y="107"/>
                    <a:pt x="537" y="107"/>
                  </a:cubicBezTo>
                  <a:cubicBezTo>
                    <a:pt x="537" y="107"/>
                    <a:pt x="537" y="107"/>
                    <a:pt x="537" y="107"/>
                  </a:cubicBezTo>
                  <a:cubicBezTo>
                    <a:pt x="537" y="107"/>
                    <a:pt x="537" y="107"/>
                    <a:pt x="537" y="107"/>
                  </a:cubicBezTo>
                  <a:cubicBezTo>
                    <a:pt x="539" y="107"/>
                    <a:pt x="540" y="106"/>
                    <a:pt x="540" y="105"/>
                  </a:cubicBezTo>
                  <a:cubicBezTo>
                    <a:pt x="540" y="105"/>
                    <a:pt x="540" y="105"/>
                    <a:pt x="540" y="105"/>
                  </a:cubicBezTo>
                  <a:cubicBezTo>
                    <a:pt x="540" y="105"/>
                    <a:pt x="540" y="105"/>
                    <a:pt x="540" y="105"/>
                  </a:cubicBezTo>
                  <a:cubicBezTo>
                    <a:pt x="540" y="105"/>
                    <a:pt x="540" y="105"/>
                    <a:pt x="540" y="105"/>
                  </a:cubicBezTo>
                  <a:cubicBezTo>
                    <a:pt x="544" y="105"/>
                    <a:pt x="545" y="102"/>
                    <a:pt x="545" y="99"/>
                  </a:cubicBezTo>
                  <a:cubicBezTo>
                    <a:pt x="545" y="99"/>
                    <a:pt x="545" y="99"/>
                    <a:pt x="545" y="99"/>
                  </a:cubicBezTo>
                  <a:cubicBezTo>
                    <a:pt x="545" y="99"/>
                    <a:pt x="545" y="99"/>
                    <a:pt x="545" y="99"/>
                  </a:cubicBezTo>
                  <a:cubicBezTo>
                    <a:pt x="545" y="99"/>
                    <a:pt x="545" y="99"/>
                    <a:pt x="545" y="99"/>
                  </a:cubicBezTo>
                  <a:cubicBezTo>
                    <a:pt x="547" y="98"/>
                    <a:pt x="548" y="97"/>
                    <a:pt x="549" y="95"/>
                  </a:cubicBezTo>
                  <a:cubicBezTo>
                    <a:pt x="551" y="95"/>
                    <a:pt x="552" y="94"/>
                    <a:pt x="552" y="93"/>
                  </a:cubicBezTo>
                  <a:cubicBezTo>
                    <a:pt x="554" y="91"/>
                    <a:pt x="554" y="90"/>
                    <a:pt x="552" y="89"/>
                  </a:cubicBezTo>
                  <a:cubicBezTo>
                    <a:pt x="549" y="88"/>
                    <a:pt x="547" y="87"/>
                    <a:pt x="544" y="87"/>
                  </a:cubicBezTo>
                  <a:cubicBezTo>
                    <a:pt x="533" y="87"/>
                    <a:pt x="522" y="84"/>
                    <a:pt x="510" y="85"/>
                  </a:cubicBezTo>
                  <a:cubicBezTo>
                    <a:pt x="510" y="86"/>
                    <a:pt x="510" y="86"/>
                    <a:pt x="510" y="86"/>
                  </a:cubicBezTo>
                  <a:cubicBezTo>
                    <a:pt x="510" y="86"/>
                    <a:pt x="510" y="86"/>
                    <a:pt x="510" y="86"/>
                  </a:cubicBezTo>
                  <a:cubicBezTo>
                    <a:pt x="510" y="85"/>
                    <a:pt x="510" y="85"/>
                    <a:pt x="510" y="85"/>
                  </a:cubicBezTo>
                  <a:cubicBezTo>
                    <a:pt x="509" y="83"/>
                    <a:pt x="506" y="84"/>
                    <a:pt x="504" y="84"/>
                  </a:cubicBezTo>
                  <a:cubicBezTo>
                    <a:pt x="504" y="84"/>
                    <a:pt x="504" y="84"/>
                    <a:pt x="504" y="84"/>
                  </a:cubicBezTo>
                  <a:cubicBezTo>
                    <a:pt x="504" y="84"/>
                    <a:pt x="504" y="84"/>
                    <a:pt x="504" y="84"/>
                  </a:cubicBezTo>
                  <a:cubicBezTo>
                    <a:pt x="504" y="84"/>
                    <a:pt x="504" y="84"/>
                    <a:pt x="504" y="84"/>
                  </a:cubicBezTo>
                  <a:cubicBezTo>
                    <a:pt x="505" y="82"/>
                    <a:pt x="507" y="80"/>
                    <a:pt x="509" y="79"/>
                  </a:cubicBezTo>
                  <a:cubicBezTo>
                    <a:pt x="524" y="77"/>
                    <a:pt x="539" y="73"/>
                    <a:pt x="555" y="72"/>
                  </a:cubicBezTo>
                  <a:cubicBezTo>
                    <a:pt x="562" y="71"/>
                    <a:pt x="569" y="69"/>
                    <a:pt x="576" y="67"/>
                  </a:cubicBezTo>
                  <a:cubicBezTo>
                    <a:pt x="577" y="67"/>
                    <a:pt x="578" y="67"/>
                    <a:pt x="579" y="67"/>
                  </a:cubicBezTo>
                  <a:cubicBezTo>
                    <a:pt x="584" y="70"/>
                    <a:pt x="589" y="66"/>
                    <a:pt x="593" y="67"/>
                  </a:cubicBezTo>
                  <a:cubicBezTo>
                    <a:pt x="595" y="67"/>
                    <a:pt x="597" y="65"/>
                    <a:pt x="596" y="63"/>
                  </a:cubicBezTo>
                  <a:cubicBezTo>
                    <a:pt x="593" y="62"/>
                    <a:pt x="590" y="63"/>
                    <a:pt x="587" y="63"/>
                  </a:cubicBezTo>
                  <a:cubicBezTo>
                    <a:pt x="577" y="62"/>
                    <a:pt x="567" y="61"/>
                    <a:pt x="557" y="61"/>
                  </a:cubicBezTo>
                  <a:close/>
                  <a:moveTo>
                    <a:pt x="534" y="53"/>
                  </a:moveTo>
                  <a:cubicBezTo>
                    <a:pt x="534" y="53"/>
                    <a:pt x="534" y="53"/>
                    <a:pt x="534" y="53"/>
                  </a:cubicBezTo>
                  <a:cubicBezTo>
                    <a:pt x="534" y="53"/>
                    <a:pt x="534" y="53"/>
                    <a:pt x="534" y="53"/>
                  </a:cubicBezTo>
                  <a:cubicBezTo>
                    <a:pt x="534" y="53"/>
                    <a:pt x="534" y="53"/>
                    <a:pt x="534" y="53"/>
                  </a:cubicBezTo>
                  <a:close/>
                  <a:moveTo>
                    <a:pt x="542" y="27"/>
                  </a:moveTo>
                  <a:cubicBezTo>
                    <a:pt x="543" y="27"/>
                    <a:pt x="543" y="27"/>
                    <a:pt x="543" y="27"/>
                  </a:cubicBezTo>
                  <a:cubicBezTo>
                    <a:pt x="543" y="27"/>
                    <a:pt x="542" y="27"/>
                    <a:pt x="542" y="27"/>
                  </a:cubicBezTo>
                  <a:cubicBezTo>
                    <a:pt x="542" y="27"/>
                    <a:pt x="542" y="27"/>
                    <a:pt x="542" y="27"/>
                  </a:cubicBezTo>
                  <a:close/>
                  <a:moveTo>
                    <a:pt x="536" y="26"/>
                  </a:moveTo>
                  <a:cubicBezTo>
                    <a:pt x="536" y="26"/>
                    <a:pt x="536" y="26"/>
                    <a:pt x="536" y="26"/>
                  </a:cubicBezTo>
                  <a:cubicBezTo>
                    <a:pt x="536" y="27"/>
                    <a:pt x="537" y="27"/>
                    <a:pt x="537" y="27"/>
                  </a:cubicBezTo>
                  <a:cubicBezTo>
                    <a:pt x="537" y="27"/>
                    <a:pt x="538" y="27"/>
                    <a:pt x="538" y="27"/>
                  </a:cubicBezTo>
                  <a:cubicBezTo>
                    <a:pt x="538" y="27"/>
                    <a:pt x="537" y="27"/>
                    <a:pt x="537" y="27"/>
                  </a:cubicBezTo>
                  <a:cubicBezTo>
                    <a:pt x="536" y="26"/>
                    <a:pt x="536" y="26"/>
                    <a:pt x="535" y="26"/>
                  </a:cubicBezTo>
                  <a:cubicBezTo>
                    <a:pt x="535" y="26"/>
                    <a:pt x="535" y="26"/>
                    <a:pt x="536" y="26"/>
                  </a:cubicBezTo>
                  <a:close/>
                  <a:moveTo>
                    <a:pt x="493" y="21"/>
                  </a:moveTo>
                  <a:cubicBezTo>
                    <a:pt x="493" y="21"/>
                    <a:pt x="494" y="21"/>
                    <a:pt x="494" y="21"/>
                  </a:cubicBezTo>
                  <a:cubicBezTo>
                    <a:pt x="494" y="21"/>
                    <a:pt x="494" y="21"/>
                    <a:pt x="494" y="21"/>
                  </a:cubicBezTo>
                  <a:cubicBezTo>
                    <a:pt x="494" y="21"/>
                    <a:pt x="493" y="22"/>
                    <a:pt x="493" y="22"/>
                  </a:cubicBezTo>
                  <a:cubicBezTo>
                    <a:pt x="493" y="22"/>
                    <a:pt x="493" y="21"/>
                    <a:pt x="493" y="21"/>
                  </a:cubicBezTo>
                  <a:close/>
                  <a:moveTo>
                    <a:pt x="53" y="27"/>
                  </a:moveTo>
                  <a:cubicBezTo>
                    <a:pt x="53" y="27"/>
                    <a:pt x="54" y="27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3" y="27"/>
                    <a:pt x="53" y="27"/>
                  </a:cubicBezTo>
                  <a:close/>
                  <a:moveTo>
                    <a:pt x="60" y="27"/>
                  </a:moveTo>
                  <a:cubicBezTo>
                    <a:pt x="59" y="27"/>
                    <a:pt x="59" y="27"/>
                    <a:pt x="58" y="27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60" y="27"/>
                    <a:pt x="60" y="27"/>
                  </a:cubicBezTo>
                  <a:cubicBezTo>
                    <a:pt x="60" y="26"/>
                    <a:pt x="60" y="26"/>
                    <a:pt x="61" y="26"/>
                  </a:cubicBezTo>
                  <a:cubicBezTo>
                    <a:pt x="61" y="26"/>
                    <a:pt x="61" y="26"/>
                    <a:pt x="61" y="26"/>
                  </a:cubicBezTo>
                  <a:cubicBezTo>
                    <a:pt x="61" y="27"/>
                    <a:pt x="60" y="26"/>
                    <a:pt x="60" y="27"/>
                  </a:cubicBezTo>
                  <a:close/>
                  <a:moveTo>
                    <a:pt x="102" y="22"/>
                  </a:moveTo>
                  <a:cubicBezTo>
                    <a:pt x="102" y="22"/>
                    <a:pt x="102" y="22"/>
                    <a:pt x="102" y="22"/>
                  </a:cubicBezTo>
                  <a:cubicBezTo>
                    <a:pt x="102" y="21"/>
                    <a:pt x="103" y="21"/>
                    <a:pt x="103" y="21"/>
                  </a:cubicBezTo>
                  <a:cubicBezTo>
                    <a:pt x="103" y="21"/>
                    <a:pt x="103" y="22"/>
                    <a:pt x="103" y="22"/>
                  </a:cubicBezTo>
                  <a:cubicBezTo>
                    <a:pt x="103" y="22"/>
                    <a:pt x="103" y="22"/>
                    <a:pt x="102" y="22"/>
                  </a:cubicBezTo>
                  <a:close/>
                  <a:moveTo>
                    <a:pt x="62" y="53"/>
                  </a:moveTo>
                  <a:cubicBezTo>
                    <a:pt x="62" y="53"/>
                    <a:pt x="62" y="53"/>
                    <a:pt x="62" y="53"/>
                  </a:cubicBezTo>
                  <a:cubicBezTo>
                    <a:pt x="62" y="53"/>
                    <a:pt x="62" y="53"/>
                    <a:pt x="62" y="53"/>
                  </a:cubicBezTo>
                  <a:cubicBezTo>
                    <a:pt x="62" y="53"/>
                    <a:pt x="62" y="53"/>
                    <a:pt x="62" y="53"/>
                  </a:cubicBezTo>
                  <a:close/>
                  <a:moveTo>
                    <a:pt x="54" y="63"/>
                  </a:moveTo>
                  <a:cubicBezTo>
                    <a:pt x="54" y="63"/>
                    <a:pt x="54" y="63"/>
                    <a:pt x="54" y="63"/>
                  </a:cubicBezTo>
                  <a:cubicBezTo>
                    <a:pt x="54" y="63"/>
                    <a:pt x="54" y="63"/>
                    <a:pt x="54" y="63"/>
                  </a:cubicBezTo>
                  <a:cubicBezTo>
                    <a:pt x="54" y="63"/>
                    <a:pt x="54" y="63"/>
                    <a:pt x="54" y="63"/>
                  </a:cubicBezTo>
                  <a:close/>
                  <a:moveTo>
                    <a:pt x="65" y="62"/>
                  </a:moveTo>
                  <a:cubicBezTo>
                    <a:pt x="65" y="62"/>
                    <a:pt x="65" y="62"/>
                    <a:pt x="65" y="62"/>
                  </a:cubicBezTo>
                  <a:cubicBezTo>
                    <a:pt x="65" y="62"/>
                    <a:pt x="65" y="62"/>
                    <a:pt x="65" y="61"/>
                  </a:cubicBezTo>
                  <a:cubicBezTo>
                    <a:pt x="65" y="62"/>
                    <a:pt x="65" y="62"/>
                    <a:pt x="65" y="62"/>
                  </a:cubicBezTo>
                  <a:close/>
                  <a:moveTo>
                    <a:pt x="66" y="69"/>
                  </a:moveTo>
                  <a:cubicBezTo>
                    <a:pt x="66" y="68"/>
                    <a:pt x="66" y="68"/>
                    <a:pt x="66" y="68"/>
                  </a:cubicBezTo>
                  <a:cubicBezTo>
                    <a:pt x="66" y="68"/>
                    <a:pt x="66" y="68"/>
                    <a:pt x="66" y="69"/>
                  </a:cubicBezTo>
                  <a:cubicBezTo>
                    <a:pt x="66" y="69"/>
                    <a:pt x="66" y="69"/>
                    <a:pt x="66" y="69"/>
                  </a:cubicBezTo>
                  <a:close/>
                  <a:moveTo>
                    <a:pt x="91" y="101"/>
                  </a:moveTo>
                  <a:cubicBezTo>
                    <a:pt x="91" y="101"/>
                    <a:pt x="90" y="101"/>
                    <a:pt x="90" y="101"/>
                  </a:cubicBezTo>
                  <a:cubicBezTo>
                    <a:pt x="91" y="100"/>
                    <a:pt x="91" y="100"/>
                    <a:pt x="91" y="100"/>
                  </a:cubicBezTo>
                  <a:cubicBezTo>
                    <a:pt x="91" y="100"/>
                    <a:pt x="91" y="100"/>
                    <a:pt x="91" y="101"/>
                  </a:cubicBezTo>
                  <a:close/>
                  <a:moveTo>
                    <a:pt x="98" y="78"/>
                  </a:moveTo>
                  <a:cubicBezTo>
                    <a:pt x="98" y="78"/>
                    <a:pt x="98" y="78"/>
                    <a:pt x="98" y="78"/>
                  </a:cubicBezTo>
                  <a:cubicBezTo>
                    <a:pt x="98" y="78"/>
                    <a:pt x="98" y="78"/>
                    <a:pt x="99" y="78"/>
                  </a:cubicBezTo>
                  <a:cubicBezTo>
                    <a:pt x="98" y="78"/>
                    <a:pt x="98" y="78"/>
                    <a:pt x="98" y="78"/>
                  </a:cubicBezTo>
                  <a:close/>
                  <a:moveTo>
                    <a:pt x="99" y="81"/>
                  </a:moveTo>
                  <a:cubicBezTo>
                    <a:pt x="99" y="81"/>
                    <a:pt x="99" y="81"/>
                    <a:pt x="99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81"/>
                    <a:pt x="99" y="81"/>
                    <a:pt x="99" y="81"/>
                  </a:cubicBezTo>
                  <a:close/>
                  <a:moveTo>
                    <a:pt x="99" y="118"/>
                  </a:moveTo>
                  <a:cubicBezTo>
                    <a:pt x="99" y="118"/>
                    <a:pt x="99" y="118"/>
                    <a:pt x="99" y="118"/>
                  </a:cubicBezTo>
                  <a:cubicBezTo>
                    <a:pt x="99" y="118"/>
                    <a:pt x="99" y="118"/>
                    <a:pt x="99" y="118"/>
                  </a:cubicBezTo>
                  <a:close/>
                  <a:moveTo>
                    <a:pt x="78" y="178"/>
                  </a:moveTo>
                  <a:cubicBezTo>
                    <a:pt x="78" y="178"/>
                    <a:pt x="78" y="178"/>
                    <a:pt x="78" y="178"/>
                  </a:cubicBezTo>
                  <a:cubicBezTo>
                    <a:pt x="79" y="178"/>
                    <a:pt x="79" y="178"/>
                    <a:pt x="79" y="178"/>
                  </a:cubicBezTo>
                  <a:cubicBezTo>
                    <a:pt x="79" y="178"/>
                    <a:pt x="79" y="178"/>
                    <a:pt x="78" y="178"/>
                  </a:cubicBezTo>
                  <a:close/>
                  <a:moveTo>
                    <a:pt x="82" y="175"/>
                  </a:moveTo>
                  <a:cubicBezTo>
                    <a:pt x="82" y="175"/>
                    <a:pt x="82" y="175"/>
                    <a:pt x="82" y="175"/>
                  </a:cubicBezTo>
                  <a:cubicBezTo>
                    <a:pt x="83" y="174"/>
                    <a:pt x="83" y="174"/>
                    <a:pt x="83" y="174"/>
                  </a:cubicBezTo>
                  <a:cubicBezTo>
                    <a:pt x="83" y="173"/>
                    <a:pt x="83" y="173"/>
                    <a:pt x="83" y="173"/>
                  </a:cubicBezTo>
                  <a:cubicBezTo>
                    <a:pt x="83" y="174"/>
                    <a:pt x="83" y="174"/>
                    <a:pt x="83" y="174"/>
                  </a:cubicBezTo>
                  <a:cubicBezTo>
                    <a:pt x="83" y="174"/>
                    <a:pt x="83" y="174"/>
                    <a:pt x="82" y="175"/>
                  </a:cubicBezTo>
                  <a:close/>
                  <a:moveTo>
                    <a:pt x="89" y="196"/>
                  </a:moveTo>
                  <a:cubicBezTo>
                    <a:pt x="89" y="196"/>
                    <a:pt x="89" y="196"/>
                    <a:pt x="89" y="196"/>
                  </a:cubicBezTo>
                  <a:cubicBezTo>
                    <a:pt x="91" y="196"/>
                    <a:pt x="91" y="195"/>
                    <a:pt x="92" y="194"/>
                  </a:cubicBezTo>
                  <a:cubicBezTo>
                    <a:pt x="91" y="194"/>
                    <a:pt x="90" y="195"/>
                    <a:pt x="89" y="196"/>
                  </a:cubicBezTo>
                  <a:close/>
                  <a:moveTo>
                    <a:pt x="117" y="11"/>
                  </a:moveTo>
                  <a:cubicBezTo>
                    <a:pt x="117" y="11"/>
                    <a:pt x="116" y="11"/>
                    <a:pt x="117" y="10"/>
                  </a:cubicBezTo>
                  <a:cubicBezTo>
                    <a:pt x="117" y="10"/>
                    <a:pt x="117" y="10"/>
                    <a:pt x="117" y="10"/>
                  </a:cubicBezTo>
                  <a:cubicBezTo>
                    <a:pt x="117" y="10"/>
                    <a:pt x="117" y="11"/>
                    <a:pt x="117" y="11"/>
                  </a:cubicBezTo>
                  <a:close/>
                  <a:moveTo>
                    <a:pt x="123" y="50"/>
                  </a:moveTo>
                  <a:cubicBezTo>
                    <a:pt x="123" y="50"/>
                    <a:pt x="123" y="50"/>
                    <a:pt x="124" y="49"/>
                  </a:cubicBezTo>
                  <a:cubicBezTo>
                    <a:pt x="124" y="49"/>
                    <a:pt x="124" y="49"/>
                    <a:pt x="124" y="49"/>
                  </a:cubicBezTo>
                  <a:cubicBezTo>
                    <a:pt x="124" y="50"/>
                    <a:pt x="123" y="50"/>
                    <a:pt x="123" y="50"/>
                  </a:cubicBezTo>
                  <a:close/>
                  <a:moveTo>
                    <a:pt x="128" y="93"/>
                  </a:moveTo>
                  <a:cubicBezTo>
                    <a:pt x="128" y="93"/>
                    <a:pt x="128" y="93"/>
                    <a:pt x="128" y="93"/>
                  </a:cubicBezTo>
                  <a:cubicBezTo>
                    <a:pt x="128" y="93"/>
                    <a:pt x="128" y="93"/>
                    <a:pt x="128" y="93"/>
                  </a:cubicBezTo>
                  <a:cubicBezTo>
                    <a:pt x="128" y="93"/>
                    <a:pt x="128" y="93"/>
                    <a:pt x="128" y="93"/>
                  </a:cubicBezTo>
                  <a:close/>
                  <a:moveTo>
                    <a:pt x="141" y="96"/>
                  </a:moveTo>
                  <a:cubicBezTo>
                    <a:pt x="141" y="96"/>
                    <a:pt x="141" y="96"/>
                    <a:pt x="141" y="95"/>
                  </a:cubicBezTo>
                  <a:cubicBezTo>
                    <a:pt x="142" y="97"/>
                    <a:pt x="142" y="97"/>
                    <a:pt x="141" y="99"/>
                  </a:cubicBezTo>
                  <a:cubicBezTo>
                    <a:pt x="142" y="98"/>
                    <a:pt x="142" y="97"/>
                    <a:pt x="141" y="96"/>
                  </a:cubicBezTo>
                  <a:close/>
                  <a:moveTo>
                    <a:pt x="147" y="175"/>
                  </a:moveTo>
                  <a:cubicBezTo>
                    <a:pt x="147" y="175"/>
                    <a:pt x="147" y="175"/>
                    <a:pt x="147" y="175"/>
                  </a:cubicBezTo>
                  <a:cubicBezTo>
                    <a:pt x="147" y="175"/>
                    <a:pt x="147" y="175"/>
                    <a:pt x="147" y="175"/>
                  </a:cubicBezTo>
                  <a:cubicBezTo>
                    <a:pt x="147" y="175"/>
                    <a:pt x="147" y="175"/>
                    <a:pt x="147" y="175"/>
                  </a:cubicBezTo>
                  <a:cubicBezTo>
                    <a:pt x="147" y="175"/>
                    <a:pt x="147" y="175"/>
                    <a:pt x="147" y="175"/>
                  </a:cubicBezTo>
                  <a:cubicBezTo>
                    <a:pt x="147" y="175"/>
                    <a:pt x="147" y="175"/>
                    <a:pt x="148" y="175"/>
                  </a:cubicBezTo>
                  <a:cubicBezTo>
                    <a:pt x="147" y="175"/>
                    <a:pt x="147" y="175"/>
                    <a:pt x="147" y="175"/>
                  </a:cubicBezTo>
                  <a:close/>
                  <a:moveTo>
                    <a:pt x="153" y="160"/>
                  </a:moveTo>
                  <a:cubicBezTo>
                    <a:pt x="153" y="160"/>
                    <a:pt x="153" y="160"/>
                    <a:pt x="153" y="160"/>
                  </a:cubicBezTo>
                  <a:cubicBezTo>
                    <a:pt x="153" y="160"/>
                    <a:pt x="153" y="160"/>
                    <a:pt x="153" y="160"/>
                  </a:cubicBezTo>
                  <a:cubicBezTo>
                    <a:pt x="153" y="160"/>
                    <a:pt x="153" y="160"/>
                    <a:pt x="153" y="160"/>
                  </a:cubicBezTo>
                  <a:cubicBezTo>
                    <a:pt x="153" y="160"/>
                    <a:pt x="153" y="160"/>
                    <a:pt x="153" y="160"/>
                  </a:cubicBezTo>
                  <a:close/>
                  <a:moveTo>
                    <a:pt x="155" y="174"/>
                  </a:moveTo>
                  <a:cubicBezTo>
                    <a:pt x="155" y="174"/>
                    <a:pt x="155" y="174"/>
                    <a:pt x="155" y="174"/>
                  </a:cubicBezTo>
                  <a:cubicBezTo>
                    <a:pt x="155" y="174"/>
                    <a:pt x="155" y="174"/>
                    <a:pt x="155" y="174"/>
                  </a:cubicBezTo>
                  <a:cubicBezTo>
                    <a:pt x="155" y="174"/>
                    <a:pt x="155" y="174"/>
                    <a:pt x="155" y="174"/>
                  </a:cubicBezTo>
                  <a:close/>
                  <a:moveTo>
                    <a:pt x="159" y="199"/>
                  </a:moveTo>
                  <a:cubicBezTo>
                    <a:pt x="159" y="199"/>
                    <a:pt x="159" y="199"/>
                    <a:pt x="159" y="199"/>
                  </a:cubicBezTo>
                  <a:cubicBezTo>
                    <a:pt x="159" y="199"/>
                    <a:pt x="159" y="199"/>
                    <a:pt x="159" y="199"/>
                  </a:cubicBezTo>
                  <a:close/>
                  <a:moveTo>
                    <a:pt x="189" y="56"/>
                  </a:moveTo>
                  <a:cubicBezTo>
                    <a:pt x="189" y="57"/>
                    <a:pt x="188" y="57"/>
                    <a:pt x="188" y="57"/>
                  </a:cubicBezTo>
                  <a:cubicBezTo>
                    <a:pt x="188" y="57"/>
                    <a:pt x="188" y="57"/>
                    <a:pt x="188" y="57"/>
                  </a:cubicBezTo>
                  <a:cubicBezTo>
                    <a:pt x="188" y="57"/>
                    <a:pt x="189" y="56"/>
                    <a:pt x="189" y="56"/>
                  </a:cubicBezTo>
                  <a:close/>
                  <a:moveTo>
                    <a:pt x="188" y="103"/>
                  </a:moveTo>
                  <a:cubicBezTo>
                    <a:pt x="188" y="103"/>
                    <a:pt x="188" y="102"/>
                    <a:pt x="188" y="102"/>
                  </a:cubicBezTo>
                  <a:cubicBezTo>
                    <a:pt x="188" y="102"/>
                    <a:pt x="188" y="102"/>
                    <a:pt x="188" y="102"/>
                  </a:cubicBezTo>
                  <a:cubicBezTo>
                    <a:pt x="188" y="102"/>
                    <a:pt x="188" y="102"/>
                    <a:pt x="188" y="102"/>
                  </a:cubicBezTo>
                  <a:cubicBezTo>
                    <a:pt x="188" y="102"/>
                    <a:pt x="188" y="102"/>
                    <a:pt x="188" y="102"/>
                  </a:cubicBezTo>
                  <a:cubicBezTo>
                    <a:pt x="188" y="102"/>
                    <a:pt x="188" y="102"/>
                    <a:pt x="188" y="102"/>
                  </a:cubicBezTo>
                  <a:cubicBezTo>
                    <a:pt x="188" y="102"/>
                    <a:pt x="189" y="103"/>
                    <a:pt x="189" y="103"/>
                  </a:cubicBezTo>
                  <a:cubicBezTo>
                    <a:pt x="189" y="103"/>
                    <a:pt x="188" y="103"/>
                    <a:pt x="188" y="103"/>
                  </a:cubicBezTo>
                  <a:close/>
                  <a:moveTo>
                    <a:pt x="197" y="28"/>
                  </a:moveTo>
                  <a:cubicBezTo>
                    <a:pt x="197" y="28"/>
                    <a:pt x="197" y="28"/>
                    <a:pt x="197" y="28"/>
                  </a:cubicBezTo>
                  <a:cubicBezTo>
                    <a:pt x="197" y="28"/>
                    <a:pt x="197" y="28"/>
                    <a:pt x="197" y="28"/>
                  </a:cubicBezTo>
                  <a:cubicBezTo>
                    <a:pt x="197" y="28"/>
                    <a:pt x="197" y="28"/>
                    <a:pt x="197" y="28"/>
                  </a:cubicBezTo>
                  <a:close/>
                  <a:moveTo>
                    <a:pt x="198" y="34"/>
                  </a:moveTo>
                  <a:cubicBezTo>
                    <a:pt x="198" y="35"/>
                    <a:pt x="197" y="35"/>
                    <a:pt x="197" y="35"/>
                  </a:cubicBezTo>
                  <a:cubicBezTo>
                    <a:pt x="197" y="35"/>
                    <a:pt x="197" y="35"/>
                    <a:pt x="197" y="35"/>
                  </a:cubicBezTo>
                  <a:cubicBezTo>
                    <a:pt x="197" y="35"/>
                    <a:pt x="198" y="35"/>
                    <a:pt x="198" y="34"/>
                  </a:cubicBezTo>
                  <a:close/>
                  <a:moveTo>
                    <a:pt x="197" y="43"/>
                  </a:moveTo>
                  <a:cubicBezTo>
                    <a:pt x="197" y="43"/>
                    <a:pt x="197" y="43"/>
                    <a:pt x="197" y="43"/>
                  </a:cubicBezTo>
                  <a:cubicBezTo>
                    <a:pt x="197" y="43"/>
                    <a:pt x="197" y="43"/>
                    <a:pt x="197" y="43"/>
                  </a:cubicBezTo>
                  <a:close/>
                  <a:moveTo>
                    <a:pt x="196" y="136"/>
                  </a:moveTo>
                  <a:cubicBezTo>
                    <a:pt x="197" y="136"/>
                    <a:pt x="197" y="136"/>
                    <a:pt x="198" y="136"/>
                  </a:cubicBezTo>
                  <a:cubicBezTo>
                    <a:pt x="198" y="136"/>
                    <a:pt x="197" y="136"/>
                    <a:pt x="197" y="136"/>
                  </a:cubicBezTo>
                  <a:cubicBezTo>
                    <a:pt x="196" y="136"/>
                    <a:pt x="196" y="136"/>
                    <a:pt x="196" y="136"/>
                  </a:cubicBezTo>
                  <a:close/>
                  <a:moveTo>
                    <a:pt x="201" y="189"/>
                  </a:moveTo>
                  <a:cubicBezTo>
                    <a:pt x="201" y="189"/>
                    <a:pt x="201" y="189"/>
                    <a:pt x="201" y="189"/>
                  </a:cubicBezTo>
                  <a:cubicBezTo>
                    <a:pt x="200" y="189"/>
                    <a:pt x="201" y="188"/>
                    <a:pt x="200" y="188"/>
                  </a:cubicBezTo>
                  <a:cubicBezTo>
                    <a:pt x="201" y="188"/>
                    <a:pt x="201" y="189"/>
                    <a:pt x="201" y="189"/>
                  </a:cubicBezTo>
                  <a:cubicBezTo>
                    <a:pt x="201" y="189"/>
                    <a:pt x="201" y="189"/>
                    <a:pt x="201" y="189"/>
                  </a:cubicBezTo>
                  <a:cubicBezTo>
                    <a:pt x="201" y="189"/>
                    <a:pt x="202" y="189"/>
                    <a:pt x="202" y="189"/>
                  </a:cubicBezTo>
                  <a:cubicBezTo>
                    <a:pt x="202" y="189"/>
                    <a:pt x="202" y="189"/>
                    <a:pt x="201" y="189"/>
                  </a:cubicBezTo>
                  <a:close/>
                  <a:moveTo>
                    <a:pt x="201" y="143"/>
                  </a:moveTo>
                  <a:cubicBezTo>
                    <a:pt x="200" y="144"/>
                    <a:pt x="199" y="145"/>
                    <a:pt x="197" y="146"/>
                  </a:cubicBezTo>
                  <a:cubicBezTo>
                    <a:pt x="200" y="146"/>
                    <a:pt x="202" y="144"/>
                    <a:pt x="202" y="141"/>
                  </a:cubicBezTo>
                  <a:cubicBezTo>
                    <a:pt x="202" y="142"/>
                    <a:pt x="202" y="142"/>
                    <a:pt x="202" y="142"/>
                  </a:cubicBezTo>
                  <a:cubicBezTo>
                    <a:pt x="202" y="142"/>
                    <a:pt x="201" y="142"/>
                    <a:pt x="201" y="143"/>
                  </a:cubicBezTo>
                  <a:close/>
                  <a:moveTo>
                    <a:pt x="210" y="83"/>
                  </a:moveTo>
                  <a:cubicBezTo>
                    <a:pt x="210" y="83"/>
                    <a:pt x="210" y="83"/>
                    <a:pt x="210" y="83"/>
                  </a:cubicBezTo>
                  <a:cubicBezTo>
                    <a:pt x="210" y="82"/>
                    <a:pt x="210" y="82"/>
                    <a:pt x="210" y="82"/>
                  </a:cubicBezTo>
                  <a:lnTo>
                    <a:pt x="210" y="83"/>
                  </a:lnTo>
                  <a:close/>
                  <a:moveTo>
                    <a:pt x="218" y="130"/>
                  </a:moveTo>
                  <a:cubicBezTo>
                    <a:pt x="218" y="130"/>
                    <a:pt x="218" y="130"/>
                    <a:pt x="218" y="130"/>
                  </a:cubicBezTo>
                  <a:cubicBezTo>
                    <a:pt x="218" y="130"/>
                    <a:pt x="218" y="130"/>
                    <a:pt x="218" y="130"/>
                  </a:cubicBezTo>
                  <a:cubicBezTo>
                    <a:pt x="218" y="130"/>
                    <a:pt x="218" y="130"/>
                    <a:pt x="218" y="130"/>
                  </a:cubicBezTo>
                  <a:close/>
                  <a:moveTo>
                    <a:pt x="227" y="149"/>
                  </a:moveTo>
                  <a:cubicBezTo>
                    <a:pt x="227" y="149"/>
                    <a:pt x="227" y="149"/>
                    <a:pt x="227" y="149"/>
                  </a:cubicBezTo>
                  <a:cubicBezTo>
                    <a:pt x="227" y="149"/>
                    <a:pt x="227" y="149"/>
                    <a:pt x="227" y="149"/>
                  </a:cubicBezTo>
                  <a:cubicBezTo>
                    <a:pt x="227" y="149"/>
                    <a:pt x="227" y="149"/>
                    <a:pt x="227" y="149"/>
                  </a:cubicBezTo>
                  <a:close/>
                  <a:moveTo>
                    <a:pt x="235" y="80"/>
                  </a:moveTo>
                  <a:cubicBezTo>
                    <a:pt x="235" y="80"/>
                    <a:pt x="235" y="80"/>
                    <a:pt x="235" y="79"/>
                  </a:cubicBezTo>
                  <a:cubicBezTo>
                    <a:pt x="235" y="79"/>
                    <a:pt x="235" y="79"/>
                    <a:pt x="235" y="79"/>
                  </a:cubicBezTo>
                  <a:cubicBezTo>
                    <a:pt x="235" y="79"/>
                    <a:pt x="235" y="80"/>
                    <a:pt x="235" y="80"/>
                  </a:cubicBezTo>
                  <a:close/>
                  <a:moveTo>
                    <a:pt x="241" y="12"/>
                  </a:moveTo>
                  <a:cubicBezTo>
                    <a:pt x="242" y="12"/>
                    <a:pt x="242" y="11"/>
                    <a:pt x="242" y="11"/>
                  </a:cubicBezTo>
                  <a:cubicBezTo>
                    <a:pt x="242" y="11"/>
                    <a:pt x="242" y="11"/>
                    <a:pt x="242" y="12"/>
                  </a:cubicBezTo>
                  <a:cubicBezTo>
                    <a:pt x="242" y="12"/>
                    <a:pt x="242" y="12"/>
                    <a:pt x="241" y="12"/>
                  </a:cubicBezTo>
                  <a:close/>
                  <a:moveTo>
                    <a:pt x="251" y="55"/>
                  </a:moveTo>
                  <a:cubicBezTo>
                    <a:pt x="251" y="55"/>
                    <a:pt x="251" y="55"/>
                    <a:pt x="251" y="55"/>
                  </a:cubicBezTo>
                  <a:cubicBezTo>
                    <a:pt x="251" y="55"/>
                    <a:pt x="251" y="55"/>
                    <a:pt x="251" y="55"/>
                  </a:cubicBezTo>
                  <a:cubicBezTo>
                    <a:pt x="251" y="55"/>
                    <a:pt x="251" y="55"/>
                    <a:pt x="251" y="55"/>
                  </a:cubicBezTo>
                  <a:close/>
                  <a:moveTo>
                    <a:pt x="258" y="77"/>
                  </a:moveTo>
                  <a:cubicBezTo>
                    <a:pt x="258" y="77"/>
                    <a:pt x="258" y="77"/>
                    <a:pt x="258" y="77"/>
                  </a:cubicBezTo>
                  <a:cubicBezTo>
                    <a:pt x="258" y="77"/>
                    <a:pt x="258" y="77"/>
                    <a:pt x="259" y="77"/>
                  </a:cubicBezTo>
                  <a:lnTo>
                    <a:pt x="258" y="77"/>
                  </a:lnTo>
                  <a:close/>
                  <a:moveTo>
                    <a:pt x="261" y="167"/>
                  </a:moveTo>
                  <a:cubicBezTo>
                    <a:pt x="260" y="167"/>
                    <a:pt x="261" y="167"/>
                    <a:pt x="260" y="167"/>
                  </a:cubicBezTo>
                  <a:cubicBezTo>
                    <a:pt x="261" y="167"/>
                    <a:pt x="261" y="166"/>
                    <a:pt x="261" y="166"/>
                  </a:cubicBezTo>
                  <a:cubicBezTo>
                    <a:pt x="261" y="167"/>
                    <a:pt x="261" y="167"/>
                    <a:pt x="261" y="167"/>
                  </a:cubicBezTo>
                  <a:close/>
                  <a:moveTo>
                    <a:pt x="272" y="137"/>
                  </a:moveTo>
                  <a:cubicBezTo>
                    <a:pt x="272" y="137"/>
                    <a:pt x="272" y="137"/>
                    <a:pt x="272" y="137"/>
                  </a:cubicBezTo>
                  <a:cubicBezTo>
                    <a:pt x="272" y="137"/>
                    <a:pt x="272" y="137"/>
                    <a:pt x="272" y="137"/>
                  </a:cubicBezTo>
                  <a:cubicBezTo>
                    <a:pt x="272" y="137"/>
                    <a:pt x="272" y="137"/>
                    <a:pt x="273" y="137"/>
                  </a:cubicBezTo>
                  <a:cubicBezTo>
                    <a:pt x="272" y="137"/>
                    <a:pt x="272" y="137"/>
                    <a:pt x="272" y="137"/>
                  </a:cubicBezTo>
                  <a:close/>
                  <a:moveTo>
                    <a:pt x="276" y="129"/>
                  </a:moveTo>
                  <a:cubicBezTo>
                    <a:pt x="276" y="128"/>
                    <a:pt x="276" y="128"/>
                    <a:pt x="276" y="128"/>
                  </a:cubicBezTo>
                  <a:cubicBezTo>
                    <a:pt x="277" y="128"/>
                    <a:pt x="277" y="128"/>
                    <a:pt x="277" y="128"/>
                  </a:cubicBezTo>
                  <a:cubicBezTo>
                    <a:pt x="276" y="128"/>
                    <a:pt x="277" y="128"/>
                    <a:pt x="276" y="129"/>
                  </a:cubicBezTo>
                  <a:close/>
                  <a:moveTo>
                    <a:pt x="278" y="9"/>
                  </a:moveTo>
                  <a:cubicBezTo>
                    <a:pt x="278" y="9"/>
                    <a:pt x="279" y="9"/>
                    <a:pt x="279" y="9"/>
                  </a:cubicBezTo>
                  <a:cubicBezTo>
                    <a:pt x="279" y="10"/>
                    <a:pt x="279" y="11"/>
                    <a:pt x="280" y="11"/>
                  </a:cubicBezTo>
                  <a:cubicBezTo>
                    <a:pt x="279" y="11"/>
                    <a:pt x="278" y="10"/>
                    <a:pt x="278" y="9"/>
                  </a:cubicBezTo>
                  <a:close/>
                  <a:moveTo>
                    <a:pt x="306" y="196"/>
                  </a:moveTo>
                  <a:cubicBezTo>
                    <a:pt x="306" y="196"/>
                    <a:pt x="306" y="196"/>
                    <a:pt x="307" y="196"/>
                  </a:cubicBezTo>
                  <a:cubicBezTo>
                    <a:pt x="305" y="196"/>
                    <a:pt x="304" y="196"/>
                    <a:pt x="303" y="196"/>
                  </a:cubicBezTo>
                  <a:cubicBezTo>
                    <a:pt x="299" y="196"/>
                    <a:pt x="294" y="195"/>
                    <a:pt x="290" y="196"/>
                  </a:cubicBezTo>
                  <a:cubicBezTo>
                    <a:pt x="290" y="196"/>
                    <a:pt x="290" y="196"/>
                    <a:pt x="290" y="196"/>
                  </a:cubicBezTo>
                  <a:cubicBezTo>
                    <a:pt x="289" y="196"/>
                    <a:pt x="287" y="196"/>
                    <a:pt x="286" y="196"/>
                  </a:cubicBezTo>
                  <a:cubicBezTo>
                    <a:pt x="286" y="196"/>
                    <a:pt x="286" y="196"/>
                    <a:pt x="287" y="196"/>
                  </a:cubicBezTo>
                  <a:cubicBezTo>
                    <a:pt x="287" y="196"/>
                    <a:pt x="288" y="196"/>
                    <a:pt x="289" y="196"/>
                  </a:cubicBezTo>
                  <a:cubicBezTo>
                    <a:pt x="289" y="196"/>
                    <a:pt x="289" y="196"/>
                    <a:pt x="290" y="196"/>
                  </a:cubicBezTo>
                  <a:cubicBezTo>
                    <a:pt x="292" y="196"/>
                    <a:pt x="295" y="196"/>
                    <a:pt x="298" y="196"/>
                  </a:cubicBezTo>
                  <a:cubicBezTo>
                    <a:pt x="301" y="196"/>
                    <a:pt x="304" y="196"/>
                    <a:pt x="307" y="196"/>
                  </a:cubicBezTo>
                  <a:cubicBezTo>
                    <a:pt x="307" y="196"/>
                    <a:pt x="307" y="196"/>
                    <a:pt x="308" y="196"/>
                  </a:cubicBezTo>
                  <a:cubicBezTo>
                    <a:pt x="308" y="196"/>
                    <a:pt x="309" y="196"/>
                    <a:pt x="309" y="196"/>
                  </a:cubicBezTo>
                  <a:cubicBezTo>
                    <a:pt x="308" y="196"/>
                    <a:pt x="307" y="196"/>
                    <a:pt x="306" y="196"/>
                  </a:cubicBezTo>
                  <a:close/>
                  <a:moveTo>
                    <a:pt x="316" y="11"/>
                  </a:moveTo>
                  <a:cubicBezTo>
                    <a:pt x="317" y="10"/>
                    <a:pt x="317" y="10"/>
                    <a:pt x="317" y="9"/>
                  </a:cubicBezTo>
                  <a:cubicBezTo>
                    <a:pt x="318" y="9"/>
                    <a:pt x="318" y="9"/>
                    <a:pt x="318" y="9"/>
                  </a:cubicBezTo>
                  <a:cubicBezTo>
                    <a:pt x="318" y="10"/>
                    <a:pt x="317" y="11"/>
                    <a:pt x="316" y="11"/>
                  </a:cubicBezTo>
                  <a:close/>
                  <a:moveTo>
                    <a:pt x="320" y="128"/>
                  </a:moveTo>
                  <a:cubicBezTo>
                    <a:pt x="320" y="128"/>
                    <a:pt x="320" y="128"/>
                    <a:pt x="320" y="128"/>
                  </a:cubicBezTo>
                  <a:cubicBezTo>
                    <a:pt x="320" y="128"/>
                    <a:pt x="320" y="128"/>
                    <a:pt x="320" y="128"/>
                  </a:cubicBezTo>
                  <a:cubicBezTo>
                    <a:pt x="320" y="128"/>
                    <a:pt x="320" y="128"/>
                    <a:pt x="320" y="128"/>
                  </a:cubicBezTo>
                  <a:close/>
                  <a:moveTo>
                    <a:pt x="324" y="137"/>
                  </a:moveTo>
                  <a:cubicBezTo>
                    <a:pt x="324" y="137"/>
                    <a:pt x="324" y="137"/>
                    <a:pt x="324" y="137"/>
                  </a:cubicBezTo>
                  <a:cubicBezTo>
                    <a:pt x="324" y="137"/>
                    <a:pt x="324" y="137"/>
                    <a:pt x="324" y="137"/>
                  </a:cubicBezTo>
                  <a:cubicBezTo>
                    <a:pt x="324" y="137"/>
                    <a:pt x="324" y="137"/>
                    <a:pt x="324" y="137"/>
                  </a:cubicBezTo>
                  <a:cubicBezTo>
                    <a:pt x="324" y="137"/>
                    <a:pt x="324" y="137"/>
                    <a:pt x="324" y="137"/>
                  </a:cubicBezTo>
                  <a:close/>
                  <a:moveTo>
                    <a:pt x="336" y="167"/>
                  </a:moveTo>
                  <a:cubicBezTo>
                    <a:pt x="335" y="167"/>
                    <a:pt x="335" y="167"/>
                    <a:pt x="335" y="166"/>
                  </a:cubicBezTo>
                  <a:cubicBezTo>
                    <a:pt x="335" y="166"/>
                    <a:pt x="335" y="167"/>
                    <a:pt x="336" y="167"/>
                  </a:cubicBezTo>
                  <a:cubicBezTo>
                    <a:pt x="336" y="167"/>
                    <a:pt x="336" y="167"/>
                    <a:pt x="336" y="167"/>
                  </a:cubicBezTo>
                  <a:close/>
                  <a:moveTo>
                    <a:pt x="338" y="77"/>
                  </a:moveTo>
                  <a:cubicBezTo>
                    <a:pt x="338" y="77"/>
                    <a:pt x="338" y="77"/>
                    <a:pt x="338" y="77"/>
                  </a:cubicBezTo>
                  <a:cubicBezTo>
                    <a:pt x="338" y="76"/>
                    <a:pt x="338" y="76"/>
                    <a:pt x="338" y="76"/>
                  </a:cubicBezTo>
                  <a:cubicBezTo>
                    <a:pt x="338" y="77"/>
                    <a:pt x="338" y="76"/>
                    <a:pt x="338" y="77"/>
                  </a:cubicBezTo>
                  <a:close/>
                  <a:moveTo>
                    <a:pt x="345" y="55"/>
                  </a:moveTo>
                  <a:cubicBezTo>
                    <a:pt x="345" y="55"/>
                    <a:pt x="345" y="55"/>
                    <a:pt x="345" y="55"/>
                  </a:cubicBezTo>
                  <a:cubicBezTo>
                    <a:pt x="345" y="55"/>
                    <a:pt x="345" y="55"/>
                    <a:pt x="345" y="55"/>
                  </a:cubicBezTo>
                  <a:cubicBezTo>
                    <a:pt x="345" y="55"/>
                    <a:pt x="345" y="55"/>
                    <a:pt x="345" y="55"/>
                  </a:cubicBezTo>
                  <a:close/>
                  <a:moveTo>
                    <a:pt x="354" y="12"/>
                  </a:moveTo>
                  <a:cubicBezTo>
                    <a:pt x="354" y="11"/>
                    <a:pt x="354" y="11"/>
                    <a:pt x="354" y="11"/>
                  </a:cubicBezTo>
                  <a:cubicBezTo>
                    <a:pt x="354" y="11"/>
                    <a:pt x="354" y="12"/>
                    <a:pt x="355" y="12"/>
                  </a:cubicBezTo>
                  <a:cubicBezTo>
                    <a:pt x="354" y="12"/>
                    <a:pt x="354" y="12"/>
                    <a:pt x="354" y="12"/>
                  </a:cubicBezTo>
                  <a:close/>
                  <a:moveTo>
                    <a:pt x="362" y="79"/>
                  </a:moveTo>
                  <a:cubicBezTo>
                    <a:pt x="362" y="79"/>
                    <a:pt x="362" y="80"/>
                    <a:pt x="361" y="80"/>
                  </a:cubicBezTo>
                  <a:cubicBezTo>
                    <a:pt x="361" y="80"/>
                    <a:pt x="361" y="80"/>
                    <a:pt x="361" y="80"/>
                  </a:cubicBezTo>
                  <a:cubicBezTo>
                    <a:pt x="361" y="80"/>
                    <a:pt x="362" y="79"/>
                    <a:pt x="362" y="79"/>
                  </a:cubicBezTo>
                  <a:close/>
                  <a:moveTo>
                    <a:pt x="369" y="149"/>
                  </a:moveTo>
                  <a:cubicBezTo>
                    <a:pt x="369" y="149"/>
                    <a:pt x="369" y="149"/>
                    <a:pt x="369" y="149"/>
                  </a:cubicBezTo>
                  <a:cubicBezTo>
                    <a:pt x="369" y="149"/>
                    <a:pt x="369" y="149"/>
                    <a:pt x="369" y="149"/>
                  </a:cubicBezTo>
                  <a:cubicBezTo>
                    <a:pt x="369" y="149"/>
                    <a:pt x="369" y="149"/>
                    <a:pt x="369" y="149"/>
                  </a:cubicBezTo>
                  <a:close/>
                  <a:moveTo>
                    <a:pt x="378" y="130"/>
                  </a:moveTo>
                  <a:cubicBezTo>
                    <a:pt x="378" y="130"/>
                    <a:pt x="378" y="130"/>
                    <a:pt x="378" y="130"/>
                  </a:cubicBezTo>
                  <a:cubicBezTo>
                    <a:pt x="378" y="130"/>
                    <a:pt x="378" y="130"/>
                    <a:pt x="378" y="130"/>
                  </a:cubicBezTo>
                  <a:cubicBezTo>
                    <a:pt x="378" y="130"/>
                    <a:pt x="378" y="130"/>
                    <a:pt x="378" y="130"/>
                  </a:cubicBezTo>
                  <a:close/>
                  <a:moveTo>
                    <a:pt x="386" y="82"/>
                  </a:moveTo>
                  <a:cubicBezTo>
                    <a:pt x="386" y="82"/>
                    <a:pt x="386" y="82"/>
                    <a:pt x="386" y="82"/>
                  </a:cubicBezTo>
                  <a:cubicBezTo>
                    <a:pt x="386" y="82"/>
                    <a:pt x="386" y="82"/>
                    <a:pt x="386" y="82"/>
                  </a:cubicBezTo>
                  <a:cubicBezTo>
                    <a:pt x="386" y="82"/>
                    <a:pt x="386" y="82"/>
                    <a:pt x="386" y="82"/>
                  </a:cubicBezTo>
                  <a:close/>
                  <a:moveTo>
                    <a:pt x="399" y="28"/>
                  </a:moveTo>
                  <a:cubicBezTo>
                    <a:pt x="399" y="28"/>
                    <a:pt x="399" y="28"/>
                    <a:pt x="399" y="28"/>
                  </a:cubicBezTo>
                  <a:cubicBezTo>
                    <a:pt x="399" y="28"/>
                    <a:pt x="399" y="28"/>
                    <a:pt x="399" y="28"/>
                  </a:cubicBezTo>
                  <a:cubicBezTo>
                    <a:pt x="399" y="28"/>
                    <a:pt x="399" y="28"/>
                    <a:pt x="399" y="28"/>
                  </a:cubicBezTo>
                  <a:close/>
                  <a:moveTo>
                    <a:pt x="399" y="35"/>
                  </a:moveTo>
                  <a:cubicBezTo>
                    <a:pt x="399" y="35"/>
                    <a:pt x="399" y="35"/>
                    <a:pt x="399" y="35"/>
                  </a:cubicBezTo>
                  <a:cubicBezTo>
                    <a:pt x="399" y="35"/>
                    <a:pt x="399" y="34"/>
                    <a:pt x="398" y="34"/>
                  </a:cubicBezTo>
                  <a:cubicBezTo>
                    <a:pt x="399" y="34"/>
                    <a:pt x="399" y="35"/>
                    <a:pt x="399" y="35"/>
                  </a:cubicBezTo>
                  <a:close/>
                  <a:moveTo>
                    <a:pt x="399" y="43"/>
                  </a:moveTo>
                  <a:cubicBezTo>
                    <a:pt x="399" y="43"/>
                    <a:pt x="399" y="43"/>
                    <a:pt x="399" y="43"/>
                  </a:cubicBezTo>
                  <a:cubicBezTo>
                    <a:pt x="399" y="43"/>
                    <a:pt x="399" y="43"/>
                    <a:pt x="399" y="43"/>
                  </a:cubicBezTo>
                  <a:cubicBezTo>
                    <a:pt x="399" y="43"/>
                    <a:pt x="399" y="43"/>
                    <a:pt x="399" y="43"/>
                  </a:cubicBezTo>
                  <a:close/>
                  <a:moveTo>
                    <a:pt x="395" y="189"/>
                  </a:moveTo>
                  <a:cubicBezTo>
                    <a:pt x="395" y="189"/>
                    <a:pt x="395" y="189"/>
                    <a:pt x="395" y="189"/>
                  </a:cubicBezTo>
                  <a:cubicBezTo>
                    <a:pt x="395" y="189"/>
                    <a:pt x="395" y="189"/>
                    <a:pt x="395" y="189"/>
                  </a:cubicBezTo>
                  <a:cubicBezTo>
                    <a:pt x="395" y="189"/>
                    <a:pt x="395" y="189"/>
                    <a:pt x="395" y="189"/>
                  </a:cubicBezTo>
                  <a:cubicBezTo>
                    <a:pt x="395" y="189"/>
                    <a:pt x="395" y="189"/>
                    <a:pt x="395" y="189"/>
                  </a:cubicBezTo>
                  <a:cubicBezTo>
                    <a:pt x="395" y="189"/>
                    <a:pt x="396" y="188"/>
                    <a:pt x="396" y="188"/>
                  </a:cubicBezTo>
                  <a:cubicBezTo>
                    <a:pt x="396" y="188"/>
                    <a:pt x="396" y="189"/>
                    <a:pt x="395" y="189"/>
                  </a:cubicBezTo>
                  <a:close/>
                  <a:moveTo>
                    <a:pt x="395" y="143"/>
                  </a:moveTo>
                  <a:cubicBezTo>
                    <a:pt x="395" y="142"/>
                    <a:pt x="394" y="142"/>
                    <a:pt x="394" y="142"/>
                  </a:cubicBezTo>
                  <a:cubicBezTo>
                    <a:pt x="394" y="142"/>
                    <a:pt x="394" y="142"/>
                    <a:pt x="394" y="141"/>
                  </a:cubicBezTo>
                  <a:cubicBezTo>
                    <a:pt x="394" y="144"/>
                    <a:pt x="396" y="146"/>
                    <a:pt x="399" y="146"/>
                  </a:cubicBezTo>
                  <a:cubicBezTo>
                    <a:pt x="397" y="145"/>
                    <a:pt x="396" y="144"/>
                    <a:pt x="395" y="143"/>
                  </a:cubicBezTo>
                  <a:close/>
                  <a:moveTo>
                    <a:pt x="399" y="136"/>
                  </a:moveTo>
                  <a:cubicBezTo>
                    <a:pt x="399" y="136"/>
                    <a:pt x="399" y="136"/>
                    <a:pt x="398" y="136"/>
                  </a:cubicBezTo>
                  <a:cubicBezTo>
                    <a:pt x="399" y="136"/>
                    <a:pt x="399" y="136"/>
                    <a:pt x="400" y="136"/>
                  </a:cubicBezTo>
                  <a:cubicBezTo>
                    <a:pt x="400" y="136"/>
                    <a:pt x="400" y="136"/>
                    <a:pt x="399" y="136"/>
                  </a:cubicBezTo>
                  <a:close/>
                  <a:moveTo>
                    <a:pt x="408" y="57"/>
                  </a:moveTo>
                  <a:cubicBezTo>
                    <a:pt x="408" y="57"/>
                    <a:pt x="408" y="57"/>
                    <a:pt x="408" y="57"/>
                  </a:cubicBezTo>
                  <a:cubicBezTo>
                    <a:pt x="408" y="57"/>
                    <a:pt x="408" y="56"/>
                    <a:pt x="407" y="56"/>
                  </a:cubicBezTo>
                  <a:cubicBezTo>
                    <a:pt x="408" y="56"/>
                    <a:pt x="408" y="57"/>
                    <a:pt x="408" y="57"/>
                  </a:cubicBezTo>
                  <a:close/>
                  <a:moveTo>
                    <a:pt x="408" y="102"/>
                  </a:moveTo>
                  <a:cubicBezTo>
                    <a:pt x="408" y="102"/>
                    <a:pt x="408" y="102"/>
                    <a:pt x="408" y="102"/>
                  </a:cubicBezTo>
                  <a:cubicBezTo>
                    <a:pt x="408" y="102"/>
                    <a:pt x="408" y="102"/>
                    <a:pt x="408" y="103"/>
                  </a:cubicBezTo>
                  <a:cubicBezTo>
                    <a:pt x="408" y="103"/>
                    <a:pt x="408" y="103"/>
                    <a:pt x="407" y="103"/>
                  </a:cubicBezTo>
                  <a:cubicBezTo>
                    <a:pt x="407" y="103"/>
                    <a:pt x="408" y="102"/>
                    <a:pt x="408" y="102"/>
                  </a:cubicBezTo>
                  <a:cubicBezTo>
                    <a:pt x="408" y="102"/>
                    <a:pt x="408" y="102"/>
                    <a:pt x="408" y="102"/>
                  </a:cubicBezTo>
                  <a:cubicBezTo>
                    <a:pt x="408" y="102"/>
                    <a:pt x="408" y="102"/>
                    <a:pt x="408" y="102"/>
                  </a:cubicBezTo>
                  <a:cubicBezTo>
                    <a:pt x="408" y="102"/>
                    <a:pt x="408" y="102"/>
                    <a:pt x="408" y="102"/>
                  </a:cubicBezTo>
                  <a:close/>
                  <a:moveTo>
                    <a:pt x="437" y="199"/>
                  </a:moveTo>
                  <a:cubicBezTo>
                    <a:pt x="437" y="199"/>
                    <a:pt x="437" y="199"/>
                    <a:pt x="437" y="199"/>
                  </a:cubicBezTo>
                  <a:cubicBezTo>
                    <a:pt x="437" y="199"/>
                    <a:pt x="437" y="199"/>
                    <a:pt x="437" y="199"/>
                  </a:cubicBezTo>
                  <a:cubicBezTo>
                    <a:pt x="437" y="199"/>
                    <a:pt x="437" y="199"/>
                    <a:pt x="437" y="199"/>
                  </a:cubicBezTo>
                  <a:close/>
                  <a:moveTo>
                    <a:pt x="441" y="174"/>
                  </a:moveTo>
                  <a:cubicBezTo>
                    <a:pt x="441" y="174"/>
                    <a:pt x="441" y="174"/>
                    <a:pt x="441" y="174"/>
                  </a:cubicBezTo>
                  <a:cubicBezTo>
                    <a:pt x="441" y="174"/>
                    <a:pt x="441" y="174"/>
                    <a:pt x="441" y="174"/>
                  </a:cubicBezTo>
                  <a:cubicBezTo>
                    <a:pt x="441" y="174"/>
                    <a:pt x="441" y="174"/>
                    <a:pt x="441" y="174"/>
                  </a:cubicBezTo>
                  <a:close/>
                  <a:moveTo>
                    <a:pt x="443" y="160"/>
                  </a:moveTo>
                  <a:cubicBezTo>
                    <a:pt x="443" y="160"/>
                    <a:pt x="443" y="160"/>
                    <a:pt x="443" y="160"/>
                  </a:cubicBezTo>
                  <a:cubicBezTo>
                    <a:pt x="443" y="160"/>
                    <a:pt x="443" y="160"/>
                    <a:pt x="443" y="160"/>
                  </a:cubicBezTo>
                  <a:cubicBezTo>
                    <a:pt x="443" y="160"/>
                    <a:pt x="443" y="160"/>
                    <a:pt x="443" y="160"/>
                  </a:cubicBezTo>
                  <a:cubicBezTo>
                    <a:pt x="443" y="160"/>
                    <a:pt x="443" y="160"/>
                    <a:pt x="443" y="160"/>
                  </a:cubicBezTo>
                  <a:close/>
                  <a:moveTo>
                    <a:pt x="449" y="175"/>
                  </a:moveTo>
                  <a:cubicBezTo>
                    <a:pt x="449" y="175"/>
                    <a:pt x="449" y="175"/>
                    <a:pt x="449" y="175"/>
                  </a:cubicBezTo>
                  <a:cubicBezTo>
                    <a:pt x="449" y="175"/>
                    <a:pt x="449" y="175"/>
                    <a:pt x="449" y="175"/>
                  </a:cubicBezTo>
                  <a:cubicBezTo>
                    <a:pt x="449" y="175"/>
                    <a:pt x="449" y="175"/>
                    <a:pt x="449" y="175"/>
                  </a:cubicBezTo>
                  <a:cubicBezTo>
                    <a:pt x="449" y="175"/>
                    <a:pt x="449" y="175"/>
                    <a:pt x="449" y="175"/>
                  </a:cubicBezTo>
                  <a:cubicBezTo>
                    <a:pt x="449" y="175"/>
                    <a:pt x="449" y="175"/>
                    <a:pt x="449" y="175"/>
                  </a:cubicBezTo>
                  <a:close/>
                  <a:moveTo>
                    <a:pt x="455" y="96"/>
                  </a:moveTo>
                  <a:cubicBezTo>
                    <a:pt x="454" y="97"/>
                    <a:pt x="454" y="98"/>
                    <a:pt x="455" y="99"/>
                  </a:cubicBezTo>
                  <a:cubicBezTo>
                    <a:pt x="454" y="97"/>
                    <a:pt x="454" y="96"/>
                    <a:pt x="455" y="95"/>
                  </a:cubicBezTo>
                  <a:lnTo>
                    <a:pt x="455" y="96"/>
                  </a:lnTo>
                  <a:close/>
                  <a:moveTo>
                    <a:pt x="468" y="93"/>
                  </a:moveTo>
                  <a:cubicBezTo>
                    <a:pt x="468" y="93"/>
                    <a:pt x="468" y="93"/>
                    <a:pt x="468" y="93"/>
                  </a:cubicBezTo>
                  <a:cubicBezTo>
                    <a:pt x="468" y="93"/>
                    <a:pt x="468" y="93"/>
                    <a:pt x="468" y="93"/>
                  </a:cubicBezTo>
                  <a:cubicBezTo>
                    <a:pt x="468" y="93"/>
                    <a:pt x="468" y="93"/>
                    <a:pt x="468" y="93"/>
                  </a:cubicBezTo>
                  <a:close/>
                  <a:moveTo>
                    <a:pt x="472" y="49"/>
                  </a:moveTo>
                  <a:cubicBezTo>
                    <a:pt x="472" y="49"/>
                    <a:pt x="473" y="49"/>
                    <a:pt x="473" y="49"/>
                  </a:cubicBezTo>
                  <a:cubicBezTo>
                    <a:pt x="473" y="49"/>
                    <a:pt x="473" y="49"/>
                    <a:pt x="473" y="50"/>
                  </a:cubicBezTo>
                  <a:cubicBezTo>
                    <a:pt x="473" y="50"/>
                    <a:pt x="473" y="50"/>
                    <a:pt x="472" y="49"/>
                  </a:cubicBezTo>
                  <a:close/>
                  <a:moveTo>
                    <a:pt x="480" y="11"/>
                  </a:moveTo>
                  <a:cubicBezTo>
                    <a:pt x="479" y="11"/>
                    <a:pt x="480" y="10"/>
                    <a:pt x="479" y="10"/>
                  </a:cubicBezTo>
                  <a:cubicBezTo>
                    <a:pt x="479" y="10"/>
                    <a:pt x="479" y="10"/>
                    <a:pt x="480" y="10"/>
                  </a:cubicBezTo>
                  <a:cubicBezTo>
                    <a:pt x="480" y="11"/>
                    <a:pt x="479" y="11"/>
                    <a:pt x="480" y="11"/>
                  </a:cubicBezTo>
                  <a:close/>
                  <a:moveTo>
                    <a:pt x="518" y="178"/>
                  </a:moveTo>
                  <a:cubicBezTo>
                    <a:pt x="518" y="178"/>
                    <a:pt x="518" y="178"/>
                    <a:pt x="518" y="178"/>
                  </a:cubicBezTo>
                  <a:cubicBezTo>
                    <a:pt x="518" y="178"/>
                    <a:pt x="518" y="178"/>
                    <a:pt x="518" y="178"/>
                  </a:cubicBezTo>
                  <a:close/>
                  <a:moveTo>
                    <a:pt x="513" y="173"/>
                  </a:moveTo>
                  <a:cubicBezTo>
                    <a:pt x="513" y="174"/>
                    <a:pt x="513" y="174"/>
                    <a:pt x="513" y="174"/>
                  </a:cubicBezTo>
                  <a:cubicBezTo>
                    <a:pt x="513" y="174"/>
                    <a:pt x="514" y="174"/>
                    <a:pt x="514" y="175"/>
                  </a:cubicBezTo>
                  <a:cubicBezTo>
                    <a:pt x="514" y="175"/>
                    <a:pt x="514" y="175"/>
                    <a:pt x="514" y="175"/>
                  </a:cubicBezTo>
                  <a:cubicBezTo>
                    <a:pt x="514" y="174"/>
                    <a:pt x="514" y="174"/>
                    <a:pt x="513" y="174"/>
                  </a:cubicBezTo>
                  <a:lnTo>
                    <a:pt x="513" y="173"/>
                  </a:lnTo>
                  <a:close/>
                  <a:moveTo>
                    <a:pt x="507" y="196"/>
                  </a:moveTo>
                  <a:cubicBezTo>
                    <a:pt x="507" y="196"/>
                    <a:pt x="507" y="196"/>
                    <a:pt x="507" y="196"/>
                  </a:cubicBezTo>
                  <a:cubicBezTo>
                    <a:pt x="506" y="195"/>
                    <a:pt x="505" y="194"/>
                    <a:pt x="504" y="194"/>
                  </a:cubicBezTo>
                  <a:cubicBezTo>
                    <a:pt x="505" y="194"/>
                    <a:pt x="505" y="196"/>
                    <a:pt x="507" y="196"/>
                  </a:cubicBezTo>
                  <a:close/>
                  <a:moveTo>
                    <a:pt x="497" y="118"/>
                  </a:moveTo>
                  <a:cubicBezTo>
                    <a:pt x="497" y="118"/>
                    <a:pt x="497" y="118"/>
                    <a:pt x="497" y="118"/>
                  </a:cubicBezTo>
                  <a:cubicBezTo>
                    <a:pt x="497" y="118"/>
                    <a:pt x="497" y="118"/>
                    <a:pt x="497" y="118"/>
                  </a:cubicBezTo>
                  <a:cubicBezTo>
                    <a:pt x="497" y="118"/>
                    <a:pt x="497" y="118"/>
                    <a:pt x="497" y="118"/>
                  </a:cubicBezTo>
                  <a:close/>
                  <a:moveTo>
                    <a:pt x="497" y="81"/>
                  </a:moveTo>
                  <a:cubicBezTo>
                    <a:pt x="497" y="81"/>
                    <a:pt x="497" y="81"/>
                    <a:pt x="497" y="81"/>
                  </a:cubicBezTo>
                  <a:cubicBezTo>
                    <a:pt x="497" y="81"/>
                    <a:pt x="497" y="81"/>
                    <a:pt x="497" y="81"/>
                  </a:cubicBezTo>
                  <a:cubicBezTo>
                    <a:pt x="497" y="81"/>
                    <a:pt x="497" y="81"/>
                    <a:pt x="497" y="81"/>
                  </a:cubicBezTo>
                  <a:cubicBezTo>
                    <a:pt x="497" y="81"/>
                    <a:pt x="497" y="81"/>
                    <a:pt x="497" y="81"/>
                  </a:cubicBezTo>
                  <a:cubicBezTo>
                    <a:pt x="497" y="81"/>
                    <a:pt x="497" y="81"/>
                    <a:pt x="497" y="81"/>
                  </a:cubicBezTo>
                  <a:cubicBezTo>
                    <a:pt x="497" y="81"/>
                    <a:pt x="497" y="81"/>
                    <a:pt x="497" y="81"/>
                  </a:cubicBezTo>
                  <a:close/>
                  <a:moveTo>
                    <a:pt x="498" y="78"/>
                  </a:moveTo>
                  <a:cubicBezTo>
                    <a:pt x="498" y="78"/>
                    <a:pt x="498" y="78"/>
                    <a:pt x="498" y="78"/>
                  </a:cubicBezTo>
                  <a:cubicBezTo>
                    <a:pt x="498" y="78"/>
                    <a:pt x="498" y="78"/>
                    <a:pt x="498" y="78"/>
                  </a:cubicBezTo>
                  <a:cubicBezTo>
                    <a:pt x="498" y="78"/>
                    <a:pt x="498" y="78"/>
                    <a:pt x="498" y="78"/>
                  </a:cubicBezTo>
                  <a:close/>
                  <a:moveTo>
                    <a:pt x="506" y="100"/>
                  </a:moveTo>
                  <a:cubicBezTo>
                    <a:pt x="506" y="100"/>
                    <a:pt x="506" y="101"/>
                    <a:pt x="506" y="101"/>
                  </a:cubicBezTo>
                  <a:cubicBezTo>
                    <a:pt x="506" y="100"/>
                    <a:pt x="505" y="100"/>
                    <a:pt x="505" y="100"/>
                  </a:cubicBezTo>
                  <a:cubicBezTo>
                    <a:pt x="506" y="100"/>
                    <a:pt x="506" y="100"/>
                    <a:pt x="506" y="100"/>
                  </a:cubicBezTo>
                  <a:close/>
                  <a:moveTo>
                    <a:pt x="530" y="68"/>
                  </a:moveTo>
                  <a:cubicBezTo>
                    <a:pt x="530" y="68"/>
                    <a:pt x="530" y="68"/>
                    <a:pt x="530" y="68"/>
                  </a:cubicBezTo>
                  <a:cubicBezTo>
                    <a:pt x="530" y="68"/>
                    <a:pt x="530" y="68"/>
                    <a:pt x="530" y="68"/>
                  </a:cubicBezTo>
                  <a:cubicBezTo>
                    <a:pt x="530" y="68"/>
                    <a:pt x="530" y="68"/>
                    <a:pt x="530" y="68"/>
                  </a:cubicBezTo>
                  <a:close/>
                  <a:moveTo>
                    <a:pt x="532" y="62"/>
                  </a:moveTo>
                  <a:cubicBezTo>
                    <a:pt x="531" y="62"/>
                    <a:pt x="531" y="62"/>
                    <a:pt x="531" y="61"/>
                  </a:cubicBezTo>
                  <a:cubicBezTo>
                    <a:pt x="531" y="62"/>
                    <a:pt x="531" y="62"/>
                    <a:pt x="532" y="62"/>
                  </a:cubicBezTo>
                  <a:close/>
                  <a:moveTo>
                    <a:pt x="542" y="63"/>
                  </a:moveTo>
                  <a:cubicBezTo>
                    <a:pt x="542" y="63"/>
                    <a:pt x="542" y="63"/>
                    <a:pt x="542" y="63"/>
                  </a:cubicBezTo>
                  <a:cubicBezTo>
                    <a:pt x="542" y="63"/>
                    <a:pt x="542" y="63"/>
                    <a:pt x="542" y="63"/>
                  </a:cubicBezTo>
                  <a:cubicBezTo>
                    <a:pt x="542" y="63"/>
                    <a:pt x="542" y="63"/>
                    <a:pt x="542" y="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257" name="任意多边形: 形状 256">
              <a:extLst>
                <a:ext uri="{FF2B5EF4-FFF2-40B4-BE49-F238E27FC236}">
                  <a16:creationId xmlns:a16="http://schemas.microsoft.com/office/drawing/2014/main" id="{E0AB2B86-59DA-432A-9673-9ECDE5AD5A35}"/>
                </a:ext>
              </a:extLst>
            </p:cNvPr>
            <p:cNvSpPr/>
            <p:nvPr/>
          </p:nvSpPr>
          <p:spPr bwMode="auto">
            <a:xfrm>
              <a:off x="1098550" y="541338"/>
              <a:ext cx="1587" cy="4762"/>
            </a:xfrm>
            <a:custGeom>
              <a:avLst/>
              <a:gdLst>
                <a:gd name="T0" fmla="*/ 0 w 1"/>
                <a:gd name="T1" fmla="*/ 1 h 2"/>
                <a:gd name="T2" fmla="*/ 1 w 1"/>
                <a:gd name="T3" fmla="*/ 2 h 2"/>
                <a:gd name="T4" fmla="*/ 1 w 1"/>
                <a:gd name="T5" fmla="*/ 0 h 2"/>
                <a:gd name="T6" fmla="*/ 0 w 1"/>
                <a:gd name="T7" fmla="*/ 0 h 2"/>
                <a:gd name="T8" fmla="*/ 0 w 1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1"/>
                    <a:pt x="1" y="2"/>
                    <a:pt x="1" y="2"/>
                  </a:cubicBezTo>
                  <a:cubicBezTo>
                    <a:pt x="1" y="2"/>
                    <a:pt x="1" y="1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258" name="任意多边形: 形状 257">
              <a:extLst>
                <a:ext uri="{FF2B5EF4-FFF2-40B4-BE49-F238E27FC236}">
                  <a16:creationId xmlns:a16="http://schemas.microsoft.com/office/drawing/2014/main" id="{5EE9E74A-4DA3-4FEB-A88C-89BFD0AD328D}"/>
                </a:ext>
              </a:extLst>
            </p:cNvPr>
            <p:cNvSpPr/>
            <p:nvPr/>
          </p:nvSpPr>
          <p:spPr bwMode="auto">
            <a:xfrm>
              <a:off x="1484313" y="136525"/>
              <a:ext cx="1587" cy="4762"/>
            </a:xfrm>
            <a:custGeom>
              <a:avLst/>
              <a:gdLst>
                <a:gd name="T0" fmla="*/ 1 w 1"/>
                <a:gd name="T1" fmla="*/ 1 h 2"/>
                <a:gd name="T2" fmla="*/ 1 w 1"/>
                <a:gd name="T3" fmla="*/ 0 h 2"/>
                <a:gd name="T4" fmla="*/ 1 w 1"/>
                <a:gd name="T5" fmla="*/ 2 h 2"/>
                <a:gd name="T6" fmla="*/ 1 w 1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1"/>
                  </a:moveTo>
                  <a:cubicBezTo>
                    <a:pt x="1" y="1"/>
                    <a:pt x="1" y="1"/>
                    <a:pt x="1" y="0"/>
                  </a:cubicBezTo>
                  <a:cubicBezTo>
                    <a:pt x="0" y="1"/>
                    <a:pt x="0" y="1"/>
                    <a:pt x="1" y="2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259" name="任意多边形: 形状 258">
              <a:extLst>
                <a:ext uri="{FF2B5EF4-FFF2-40B4-BE49-F238E27FC236}">
                  <a16:creationId xmlns:a16="http://schemas.microsoft.com/office/drawing/2014/main" id="{9DC45921-C70A-4DC7-99C5-478EB796FB83}"/>
                </a:ext>
              </a:extLst>
            </p:cNvPr>
            <p:cNvSpPr/>
            <p:nvPr/>
          </p:nvSpPr>
          <p:spPr bwMode="auto">
            <a:xfrm>
              <a:off x="-1587" y="161925"/>
              <a:ext cx="14287" cy="7937"/>
            </a:xfrm>
            <a:custGeom>
              <a:avLst/>
              <a:gdLst>
                <a:gd name="T0" fmla="*/ 1 w 5"/>
                <a:gd name="T1" fmla="*/ 2 h 3"/>
                <a:gd name="T2" fmla="*/ 5 w 5"/>
                <a:gd name="T3" fmla="*/ 1 h 3"/>
                <a:gd name="T4" fmla="*/ 1 w 5"/>
                <a:gd name="T5" fmla="*/ 1 h 3"/>
                <a:gd name="T6" fmla="*/ 1 w 5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1" y="2"/>
                  </a:moveTo>
                  <a:cubicBezTo>
                    <a:pt x="3" y="3"/>
                    <a:pt x="4" y="2"/>
                    <a:pt x="5" y="1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0" y="2"/>
                    <a:pt x="0" y="2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260" name="任意多边形: 形状 259">
              <a:extLst>
                <a:ext uri="{FF2B5EF4-FFF2-40B4-BE49-F238E27FC236}">
                  <a16:creationId xmlns:a16="http://schemas.microsoft.com/office/drawing/2014/main" id="{3CFC504D-9834-4C12-B06B-B84E5408C2CF}"/>
                </a:ext>
              </a:extLst>
            </p:cNvPr>
            <p:cNvSpPr/>
            <p:nvPr/>
          </p:nvSpPr>
          <p:spPr bwMode="auto">
            <a:xfrm>
              <a:off x="501650" y="541338"/>
              <a:ext cx="3175" cy="4762"/>
            </a:xfrm>
            <a:custGeom>
              <a:avLst/>
              <a:gdLst>
                <a:gd name="T0" fmla="*/ 0 w 1"/>
                <a:gd name="T1" fmla="*/ 1 h 2"/>
                <a:gd name="T2" fmla="*/ 0 w 1"/>
                <a:gd name="T3" fmla="*/ 2 h 2"/>
                <a:gd name="T4" fmla="*/ 1 w 1"/>
                <a:gd name="T5" fmla="*/ 1 h 2"/>
                <a:gd name="T6" fmla="*/ 1 w 1"/>
                <a:gd name="T7" fmla="*/ 0 h 2"/>
                <a:gd name="T8" fmla="*/ 0 w 1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1"/>
                    <a:pt x="0" y="2"/>
                    <a:pt x="0" y="2"/>
                  </a:cubicBezTo>
                  <a:cubicBezTo>
                    <a:pt x="1" y="2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261" name="任意多边形: 形状 260">
              <a:extLst>
                <a:ext uri="{FF2B5EF4-FFF2-40B4-BE49-F238E27FC236}">
                  <a16:creationId xmlns:a16="http://schemas.microsoft.com/office/drawing/2014/main" id="{9C4ADD09-C6CF-41C9-865A-4FCA1932972C}"/>
                </a:ext>
              </a:extLst>
            </p:cNvPr>
            <p:cNvSpPr/>
            <p:nvPr/>
          </p:nvSpPr>
          <p:spPr bwMode="auto">
            <a:xfrm>
              <a:off x="115888" y="136525"/>
              <a:ext cx="3175" cy="4762"/>
            </a:xfrm>
            <a:custGeom>
              <a:avLst/>
              <a:gdLst>
                <a:gd name="T0" fmla="*/ 0 w 1"/>
                <a:gd name="T1" fmla="*/ 1 h 2"/>
                <a:gd name="T2" fmla="*/ 1 w 1"/>
                <a:gd name="T3" fmla="*/ 2 h 2"/>
                <a:gd name="T4" fmla="*/ 1 w 1"/>
                <a:gd name="T5" fmla="*/ 0 h 2"/>
                <a:gd name="T6" fmla="*/ 0 w 1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1"/>
                  </a:moveTo>
                  <a:cubicBezTo>
                    <a:pt x="0" y="1"/>
                    <a:pt x="1" y="1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1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7" name="组合 96">
            <a:extLst>
              <a:ext uri="{FF2B5EF4-FFF2-40B4-BE49-F238E27FC236}">
                <a16:creationId xmlns:a16="http://schemas.microsoft.com/office/drawing/2014/main" id="{969EF35D-7B56-4F4D-A1FD-522F897C44FC}"/>
              </a:ext>
            </a:extLst>
          </p:cNvPr>
          <p:cNvGrpSpPr/>
          <p:nvPr/>
        </p:nvGrpSpPr>
        <p:grpSpPr>
          <a:xfrm>
            <a:off x="3440114" y="809628"/>
            <a:ext cx="5200653" cy="3622678"/>
            <a:chOff x="3440113" y="1130306"/>
            <a:chExt cx="5200650" cy="3622676"/>
          </a:xfrm>
        </p:grpSpPr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1A9FAAA2-9DEA-4233-A7BF-529AFD3E7D74}"/>
                </a:ext>
              </a:extLst>
            </p:cNvPr>
            <p:cNvSpPr/>
            <p:nvPr/>
          </p:nvSpPr>
          <p:spPr bwMode="auto">
            <a:xfrm>
              <a:off x="3897313" y="2789244"/>
              <a:ext cx="1049338" cy="582613"/>
            </a:xfrm>
            <a:custGeom>
              <a:avLst/>
              <a:gdLst>
                <a:gd name="T0" fmla="*/ 617 w 653"/>
                <a:gd name="T1" fmla="*/ 145 h 363"/>
                <a:gd name="T2" fmla="*/ 566 w 653"/>
                <a:gd name="T3" fmla="*/ 145 h 363"/>
                <a:gd name="T4" fmla="*/ 530 w 653"/>
                <a:gd name="T5" fmla="*/ 109 h 363"/>
                <a:gd name="T6" fmla="*/ 566 w 653"/>
                <a:gd name="T7" fmla="*/ 73 h 363"/>
                <a:gd name="T8" fmla="*/ 587 w 653"/>
                <a:gd name="T9" fmla="*/ 73 h 363"/>
                <a:gd name="T10" fmla="*/ 623 w 653"/>
                <a:gd name="T11" fmla="*/ 36 h 363"/>
                <a:gd name="T12" fmla="*/ 587 w 653"/>
                <a:gd name="T13" fmla="*/ 0 h 363"/>
                <a:gd name="T14" fmla="*/ 490 w 653"/>
                <a:gd name="T15" fmla="*/ 0 h 363"/>
                <a:gd name="T16" fmla="*/ 478 w 653"/>
                <a:gd name="T17" fmla="*/ 0 h 363"/>
                <a:gd name="T18" fmla="*/ 462 w 653"/>
                <a:gd name="T19" fmla="*/ 0 h 363"/>
                <a:gd name="T20" fmla="*/ 425 w 653"/>
                <a:gd name="T21" fmla="*/ 0 h 363"/>
                <a:gd name="T22" fmla="*/ 359 w 653"/>
                <a:gd name="T23" fmla="*/ 0 h 363"/>
                <a:gd name="T24" fmla="*/ 299 w 653"/>
                <a:gd name="T25" fmla="*/ 0 h 363"/>
                <a:gd name="T26" fmla="*/ 197 w 653"/>
                <a:gd name="T27" fmla="*/ 0 h 363"/>
                <a:gd name="T28" fmla="*/ 160 w 653"/>
                <a:gd name="T29" fmla="*/ 36 h 363"/>
                <a:gd name="T30" fmla="*/ 197 w 653"/>
                <a:gd name="T31" fmla="*/ 73 h 363"/>
                <a:gd name="T32" fmla="*/ 250 w 653"/>
                <a:gd name="T33" fmla="*/ 73 h 363"/>
                <a:gd name="T34" fmla="*/ 261 w 653"/>
                <a:gd name="T35" fmla="*/ 73 h 363"/>
                <a:gd name="T36" fmla="*/ 299 w 653"/>
                <a:gd name="T37" fmla="*/ 73 h 363"/>
                <a:gd name="T38" fmla="*/ 305 w 653"/>
                <a:gd name="T39" fmla="*/ 73 h 363"/>
                <a:gd name="T40" fmla="*/ 341 w 653"/>
                <a:gd name="T41" fmla="*/ 109 h 363"/>
                <a:gd name="T42" fmla="*/ 305 w 653"/>
                <a:gd name="T43" fmla="*/ 145 h 363"/>
                <a:gd name="T44" fmla="*/ 304 w 653"/>
                <a:gd name="T45" fmla="*/ 145 h 363"/>
                <a:gd name="T46" fmla="*/ 153 w 653"/>
                <a:gd name="T47" fmla="*/ 145 h 363"/>
                <a:gd name="T48" fmla="*/ 117 w 653"/>
                <a:gd name="T49" fmla="*/ 182 h 363"/>
                <a:gd name="T50" fmla="*/ 153 w 653"/>
                <a:gd name="T51" fmla="*/ 218 h 363"/>
                <a:gd name="T52" fmla="*/ 175 w 653"/>
                <a:gd name="T53" fmla="*/ 218 h 363"/>
                <a:gd name="T54" fmla="*/ 211 w 653"/>
                <a:gd name="T55" fmla="*/ 254 h 363"/>
                <a:gd name="T56" fmla="*/ 175 w 653"/>
                <a:gd name="T57" fmla="*/ 290 h 363"/>
                <a:gd name="T58" fmla="*/ 37 w 653"/>
                <a:gd name="T59" fmla="*/ 290 h 363"/>
                <a:gd name="T60" fmla="*/ 0 w 653"/>
                <a:gd name="T61" fmla="*/ 327 h 363"/>
                <a:gd name="T62" fmla="*/ 37 w 653"/>
                <a:gd name="T63" fmla="*/ 363 h 363"/>
                <a:gd name="T64" fmla="*/ 90 w 653"/>
                <a:gd name="T65" fmla="*/ 363 h 363"/>
                <a:gd name="T66" fmla="*/ 102 w 653"/>
                <a:gd name="T67" fmla="*/ 363 h 363"/>
                <a:gd name="T68" fmla="*/ 188 w 653"/>
                <a:gd name="T69" fmla="*/ 363 h 363"/>
                <a:gd name="T70" fmla="*/ 199 w 653"/>
                <a:gd name="T71" fmla="*/ 363 h 363"/>
                <a:gd name="T72" fmla="*/ 242 w 653"/>
                <a:gd name="T73" fmla="*/ 363 h 363"/>
                <a:gd name="T74" fmla="*/ 253 w 653"/>
                <a:gd name="T75" fmla="*/ 363 h 363"/>
                <a:gd name="T76" fmla="*/ 338 w 653"/>
                <a:gd name="T77" fmla="*/ 363 h 363"/>
                <a:gd name="T78" fmla="*/ 350 w 653"/>
                <a:gd name="T79" fmla="*/ 363 h 363"/>
                <a:gd name="T80" fmla="*/ 392 w 653"/>
                <a:gd name="T81" fmla="*/ 363 h 363"/>
                <a:gd name="T82" fmla="*/ 403 w 653"/>
                <a:gd name="T83" fmla="*/ 363 h 363"/>
                <a:gd name="T84" fmla="*/ 501 w 653"/>
                <a:gd name="T85" fmla="*/ 363 h 363"/>
                <a:gd name="T86" fmla="*/ 537 w 653"/>
                <a:gd name="T87" fmla="*/ 327 h 363"/>
                <a:gd name="T88" fmla="*/ 501 w 653"/>
                <a:gd name="T89" fmla="*/ 290 h 363"/>
                <a:gd name="T90" fmla="*/ 436 w 653"/>
                <a:gd name="T91" fmla="*/ 290 h 363"/>
                <a:gd name="T92" fmla="*/ 399 w 653"/>
                <a:gd name="T93" fmla="*/ 254 h 363"/>
                <a:gd name="T94" fmla="*/ 436 w 653"/>
                <a:gd name="T95" fmla="*/ 218 h 363"/>
                <a:gd name="T96" fmla="*/ 455 w 653"/>
                <a:gd name="T97" fmla="*/ 218 h 363"/>
                <a:gd name="T98" fmla="*/ 467 w 653"/>
                <a:gd name="T99" fmla="*/ 218 h 363"/>
                <a:gd name="T100" fmla="*/ 508 w 653"/>
                <a:gd name="T101" fmla="*/ 218 h 363"/>
                <a:gd name="T102" fmla="*/ 519 w 653"/>
                <a:gd name="T103" fmla="*/ 218 h 363"/>
                <a:gd name="T104" fmla="*/ 617 w 653"/>
                <a:gd name="T105" fmla="*/ 218 h 363"/>
                <a:gd name="T106" fmla="*/ 653 w 653"/>
                <a:gd name="T107" fmla="*/ 182 h 363"/>
                <a:gd name="T108" fmla="*/ 617 w 653"/>
                <a:gd name="T109" fmla="*/ 145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53" h="363">
                  <a:moveTo>
                    <a:pt x="617" y="145"/>
                  </a:moveTo>
                  <a:cubicBezTo>
                    <a:pt x="566" y="145"/>
                    <a:pt x="566" y="145"/>
                    <a:pt x="566" y="145"/>
                  </a:cubicBezTo>
                  <a:cubicBezTo>
                    <a:pt x="546" y="145"/>
                    <a:pt x="530" y="129"/>
                    <a:pt x="530" y="109"/>
                  </a:cubicBezTo>
                  <a:cubicBezTo>
                    <a:pt x="530" y="89"/>
                    <a:pt x="546" y="73"/>
                    <a:pt x="566" y="73"/>
                  </a:cubicBezTo>
                  <a:cubicBezTo>
                    <a:pt x="587" y="73"/>
                    <a:pt x="587" y="73"/>
                    <a:pt x="587" y="73"/>
                  </a:cubicBezTo>
                  <a:cubicBezTo>
                    <a:pt x="607" y="73"/>
                    <a:pt x="623" y="56"/>
                    <a:pt x="623" y="36"/>
                  </a:cubicBezTo>
                  <a:cubicBezTo>
                    <a:pt x="623" y="16"/>
                    <a:pt x="607" y="0"/>
                    <a:pt x="587" y="0"/>
                  </a:cubicBezTo>
                  <a:cubicBezTo>
                    <a:pt x="490" y="0"/>
                    <a:pt x="490" y="0"/>
                    <a:pt x="490" y="0"/>
                  </a:cubicBezTo>
                  <a:cubicBezTo>
                    <a:pt x="478" y="0"/>
                    <a:pt x="478" y="0"/>
                    <a:pt x="478" y="0"/>
                  </a:cubicBezTo>
                  <a:cubicBezTo>
                    <a:pt x="462" y="0"/>
                    <a:pt x="462" y="0"/>
                    <a:pt x="462" y="0"/>
                  </a:cubicBezTo>
                  <a:cubicBezTo>
                    <a:pt x="425" y="0"/>
                    <a:pt x="425" y="0"/>
                    <a:pt x="425" y="0"/>
                  </a:cubicBezTo>
                  <a:cubicBezTo>
                    <a:pt x="359" y="0"/>
                    <a:pt x="359" y="0"/>
                    <a:pt x="359" y="0"/>
                  </a:cubicBezTo>
                  <a:cubicBezTo>
                    <a:pt x="299" y="0"/>
                    <a:pt x="299" y="0"/>
                    <a:pt x="299" y="0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177" y="0"/>
                    <a:pt x="160" y="16"/>
                    <a:pt x="160" y="36"/>
                  </a:cubicBezTo>
                  <a:cubicBezTo>
                    <a:pt x="160" y="56"/>
                    <a:pt x="177" y="73"/>
                    <a:pt x="197" y="73"/>
                  </a:cubicBezTo>
                  <a:cubicBezTo>
                    <a:pt x="250" y="73"/>
                    <a:pt x="250" y="73"/>
                    <a:pt x="250" y="73"/>
                  </a:cubicBezTo>
                  <a:cubicBezTo>
                    <a:pt x="261" y="73"/>
                    <a:pt x="261" y="73"/>
                    <a:pt x="261" y="73"/>
                  </a:cubicBezTo>
                  <a:cubicBezTo>
                    <a:pt x="299" y="73"/>
                    <a:pt x="299" y="73"/>
                    <a:pt x="299" y="73"/>
                  </a:cubicBezTo>
                  <a:cubicBezTo>
                    <a:pt x="305" y="73"/>
                    <a:pt x="305" y="73"/>
                    <a:pt x="305" y="73"/>
                  </a:cubicBezTo>
                  <a:cubicBezTo>
                    <a:pt x="325" y="73"/>
                    <a:pt x="341" y="89"/>
                    <a:pt x="341" y="109"/>
                  </a:cubicBezTo>
                  <a:cubicBezTo>
                    <a:pt x="341" y="129"/>
                    <a:pt x="325" y="145"/>
                    <a:pt x="305" y="145"/>
                  </a:cubicBezTo>
                  <a:cubicBezTo>
                    <a:pt x="304" y="145"/>
                    <a:pt x="304" y="145"/>
                    <a:pt x="304" y="145"/>
                  </a:cubicBezTo>
                  <a:cubicBezTo>
                    <a:pt x="153" y="145"/>
                    <a:pt x="153" y="145"/>
                    <a:pt x="153" y="145"/>
                  </a:cubicBezTo>
                  <a:cubicBezTo>
                    <a:pt x="133" y="145"/>
                    <a:pt x="117" y="162"/>
                    <a:pt x="117" y="182"/>
                  </a:cubicBezTo>
                  <a:cubicBezTo>
                    <a:pt x="117" y="202"/>
                    <a:pt x="133" y="218"/>
                    <a:pt x="153" y="218"/>
                  </a:cubicBezTo>
                  <a:cubicBezTo>
                    <a:pt x="175" y="218"/>
                    <a:pt x="175" y="218"/>
                    <a:pt x="175" y="218"/>
                  </a:cubicBezTo>
                  <a:cubicBezTo>
                    <a:pt x="195" y="218"/>
                    <a:pt x="211" y="234"/>
                    <a:pt x="211" y="254"/>
                  </a:cubicBezTo>
                  <a:cubicBezTo>
                    <a:pt x="211" y="274"/>
                    <a:pt x="195" y="290"/>
                    <a:pt x="175" y="290"/>
                  </a:cubicBezTo>
                  <a:cubicBezTo>
                    <a:pt x="37" y="290"/>
                    <a:pt x="37" y="290"/>
                    <a:pt x="37" y="290"/>
                  </a:cubicBezTo>
                  <a:cubicBezTo>
                    <a:pt x="17" y="290"/>
                    <a:pt x="0" y="307"/>
                    <a:pt x="0" y="327"/>
                  </a:cubicBezTo>
                  <a:cubicBezTo>
                    <a:pt x="0" y="347"/>
                    <a:pt x="17" y="363"/>
                    <a:pt x="37" y="363"/>
                  </a:cubicBezTo>
                  <a:cubicBezTo>
                    <a:pt x="90" y="363"/>
                    <a:pt x="90" y="363"/>
                    <a:pt x="90" y="363"/>
                  </a:cubicBezTo>
                  <a:cubicBezTo>
                    <a:pt x="102" y="363"/>
                    <a:pt x="102" y="363"/>
                    <a:pt x="102" y="363"/>
                  </a:cubicBezTo>
                  <a:cubicBezTo>
                    <a:pt x="188" y="363"/>
                    <a:pt x="188" y="363"/>
                    <a:pt x="188" y="363"/>
                  </a:cubicBezTo>
                  <a:cubicBezTo>
                    <a:pt x="199" y="363"/>
                    <a:pt x="199" y="363"/>
                    <a:pt x="199" y="363"/>
                  </a:cubicBezTo>
                  <a:cubicBezTo>
                    <a:pt x="242" y="363"/>
                    <a:pt x="242" y="363"/>
                    <a:pt x="242" y="363"/>
                  </a:cubicBezTo>
                  <a:cubicBezTo>
                    <a:pt x="253" y="363"/>
                    <a:pt x="253" y="363"/>
                    <a:pt x="253" y="363"/>
                  </a:cubicBezTo>
                  <a:cubicBezTo>
                    <a:pt x="338" y="363"/>
                    <a:pt x="338" y="363"/>
                    <a:pt x="338" y="363"/>
                  </a:cubicBezTo>
                  <a:cubicBezTo>
                    <a:pt x="350" y="363"/>
                    <a:pt x="350" y="363"/>
                    <a:pt x="350" y="363"/>
                  </a:cubicBezTo>
                  <a:cubicBezTo>
                    <a:pt x="392" y="363"/>
                    <a:pt x="392" y="363"/>
                    <a:pt x="392" y="363"/>
                  </a:cubicBezTo>
                  <a:cubicBezTo>
                    <a:pt x="403" y="363"/>
                    <a:pt x="403" y="363"/>
                    <a:pt x="403" y="363"/>
                  </a:cubicBezTo>
                  <a:cubicBezTo>
                    <a:pt x="501" y="363"/>
                    <a:pt x="501" y="363"/>
                    <a:pt x="501" y="363"/>
                  </a:cubicBezTo>
                  <a:cubicBezTo>
                    <a:pt x="521" y="363"/>
                    <a:pt x="537" y="347"/>
                    <a:pt x="537" y="327"/>
                  </a:cubicBezTo>
                  <a:cubicBezTo>
                    <a:pt x="537" y="307"/>
                    <a:pt x="521" y="290"/>
                    <a:pt x="501" y="290"/>
                  </a:cubicBezTo>
                  <a:cubicBezTo>
                    <a:pt x="436" y="290"/>
                    <a:pt x="436" y="290"/>
                    <a:pt x="436" y="290"/>
                  </a:cubicBezTo>
                  <a:cubicBezTo>
                    <a:pt x="416" y="290"/>
                    <a:pt x="399" y="274"/>
                    <a:pt x="399" y="254"/>
                  </a:cubicBezTo>
                  <a:cubicBezTo>
                    <a:pt x="399" y="234"/>
                    <a:pt x="416" y="218"/>
                    <a:pt x="436" y="218"/>
                  </a:cubicBezTo>
                  <a:cubicBezTo>
                    <a:pt x="455" y="218"/>
                    <a:pt x="455" y="218"/>
                    <a:pt x="455" y="218"/>
                  </a:cubicBezTo>
                  <a:cubicBezTo>
                    <a:pt x="467" y="218"/>
                    <a:pt x="467" y="218"/>
                    <a:pt x="467" y="218"/>
                  </a:cubicBezTo>
                  <a:cubicBezTo>
                    <a:pt x="508" y="218"/>
                    <a:pt x="508" y="218"/>
                    <a:pt x="508" y="218"/>
                  </a:cubicBezTo>
                  <a:cubicBezTo>
                    <a:pt x="519" y="218"/>
                    <a:pt x="519" y="218"/>
                    <a:pt x="519" y="218"/>
                  </a:cubicBezTo>
                  <a:cubicBezTo>
                    <a:pt x="617" y="218"/>
                    <a:pt x="617" y="218"/>
                    <a:pt x="617" y="218"/>
                  </a:cubicBezTo>
                  <a:cubicBezTo>
                    <a:pt x="637" y="218"/>
                    <a:pt x="653" y="202"/>
                    <a:pt x="653" y="182"/>
                  </a:cubicBezTo>
                  <a:cubicBezTo>
                    <a:pt x="653" y="162"/>
                    <a:pt x="637" y="145"/>
                    <a:pt x="617" y="145"/>
                  </a:cubicBez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6FEFF254-CA5A-46FE-B4D9-FA86B2AB74E2}"/>
                </a:ext>
              </a:extLst>
            </p:cNvPr>
            <p:cNvSpPr/>
            <p:nvPr/>
          </p:nvSpPr>
          <p:spPr bwMode="auto">
            <a:xfrm>
              <a:off x="6397625" y="1620844"/>
              <a:ext cx="862013" cy="347663"/>
            </a:xfrm>
            <a:custGeom>
              <a:avLst/>
              <a:gdLst>
                <a:gd name="T0" fmla="*/ 392 w 537"/>
                <a:gd name="T1" fmla="*/ 72 h 217"/>
                <a:gd name="T2" fmla="*/ 403 w 537"/>
                <a:gd name="T3" fmla="*/ 72 h 217"/>
                <a:gd name="T4" fmla="*/ 501 w 537"/>
                <a:gd name="T5" fmla="*/ 72 h 217"/>
                <a:gd name="T6" fmla="*/ 537 w 537"/>
                <a:gd name="T7" fmla="*/ 36 h 217"/>
                <a:gd name="T8" fmla="*/ 501 w 537"/>
                <a:gd name="T9" fmla="*/ 0 h 217"/>
                <a:gd name="T10" fmla="*/ 350 w 537"/>
                <a:gd name="T11" fmla="*/ 0 h 217"/>
                <a:gd name="T12" fmla="*/ 338 w 537"/>
                <a:gd name="T13" fmla="*/ 0 h 217"/>
                <a:gd name="T14" fmla="*/ 199 w 537"/>
                <a:gd name="T15" fmla="*/ 0 h 217"/>
                <a:gd name="T16" fmla="*/ 188 w 537"/>
                <a:gd name="T17" fmla="*/ 0 h 217"/>
                <a:gd name="T18" fmla="*/ 37 w 537"/>
                <a:gd name="T19" fmla="*/ 0 h 217"/>
                <a:gd name="T20" fmla="*/ 0 w 537"/>
                <a:gd name="T21" fmla="*/ 36 h 217"/>
                <a:gd name="T22" fmla="*/ 37 w 537"/>
                <a:gd name="T23" fmla="*/ 72 h 217"/>
                <a:gd name="T24" fmla="*/ 90 w 537"/>
                <a:gd name="T25" fmla="*/ 72 h 217"/>
                <a:gd name="T26" fmla="*/ 101 w 537"/>
                <a:gd name="T27" fmla="*/ 72 h 217"/>
                <a:gd name="T28" fmla="*/ 131 w 537"/>
                <a:gd name="T29" fmla="*/ 72 h 217"/>
                <a:gd name="T30" fmla="*/ 167 w 537"/>
                <a:gd name="T31" fmla="*/ 109 h 217"/>
                <a:gd name="T32" fmla="*/ 131 w 537"/>
                <a:gd name="T33" fmla="*/ 145 h 217"/>
                <a:gd name="T34" fmla="*/ 110 w 537"/>
                <a:gd name="T35" fmla="*/ 145 h 217"/>
                <a:gd name="T36" fmla="*/ 74 w 537"/>
                <a:gd name="T37" fmla="*/ 181 h 217"/>
                <a:gd name="T38" fmla="*/ 74 w 537"/>
                <a:gd name="T39" fmla="*/ 181 h 217"/>
                <a:gd name="T40" fmla="*/ 110 w 537"/>
                <a:gd name="T41" fmla="*/ 217 h 217"/>
                <a:gd name="T42" fmla="*/ 164 w 537"/>
                <a:gd name="T43" fmla="*/ 217 h 217"/>
                <a:gd name="T44" fmla="*/ 175 w 537"/>
                <a:gd name="T45" fmla="*/ 217 h 217"/>
                <a:gd name="T46" fmla="*/ 213 w 537"/>
                <a:gd name="T47" fmla="*/ 217 h 217"/>
                <a:gd name="T48" fmla="*/ 267 w 537"/>
                <a:gd name="T49" fmla="*/ 217 h 217"/>
                <a:gd name="T50" fmla="*/ 273 w 537"/>
                <a:gd name="T51" fmla="*/ 217 h 217"/>
                <a:gd name="T52" fmla="*/ 278 w 537"/>
                <a:gd name="T53" fmla="*/ 217 h 217"/>
                <a:gd name="T54" fmla="*/ 338 w 537"/>
                <a:gd name="T55" fmla="*/ 217 h 217"/>
                <a:gd name="T56" fmla="*/ 375 w 537"/>
                <a:gd name="T57" fmla="*/ 217 h 217"/>
                <a:gd name="T58" fmla="*/ 501 w 537"/>
                <a:gd name="T59" fmla="*/ 217 h 217"/>
                <a:gd name="T60" fmla="*/ 537 w 537"/>
                <a:gd name="T61" fmla="*/ 181 h 217"/>
                <a:gd name="T62" fmla="*/ 501 w 537"/>
                <a:gd name="T63" fmla="*/ 145 h 217"/>
                <a:gd name="T64" fmla="*/ 403 w 537"/>
                <a:gd name="T65" fmla="*/ 145 h 217"/>
                <a:gd name="T66" fmla="*/ 392 w 537"/>
                <a:gd name="T67" fmla="*/ 145 h 217"/>
                <a:gd name="T68" fmla="*/ 356 w 537"/>
                <a:gd name="T69" fmla="*/ 109 h 217"/>
                <a:gd name="T70" fmla="*/ 392 w 537"/>
                <a:gd name="T71" fmla="*/ 72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37" h="217">
                  <a:moveTo>
                    <a:pt x="392" y="72"/>
                  </a:moveTo>
                  <a:cubicBezTo>
                    <a:pt x="403" y="72"/>
                    <a:pt x="403" y="72"/>
                    <a:pt x="403" y="72"/>
                  </a:cubicBezTo>
                  <a:cubicBezTo>
                    <a:pt x="501" y="72"/>
                    <a:pt x="501" y="72"/>
                    <a:pt x="501" y="72"/>
                  </a:cubicBezTo>
                  <a:cubicBezTo>
                    <a:pt x="521" y="72"/>
                    <a:pt x="537" y="56"/>
                    <a:pt x="537" y="36"/>
                  </a:cubicBezTo>
                  <a:cubicBezTo>
                    <a:pt x="537" y="16"/>
                    <a:pt x="521" y="0"/>
                    <a:pt x="501" y="0"/>
                  </a:cubicBezTo>
                  <a:cubicBezTo>
                    <a:pt x="350" y="0"/>
                    <a:pt x="350" y="0"/>
                    <a:pt x="350" y="0"/>
                  </a:cubicBezTo>
                  <a:cubicBezTo>
                    <a:pt x="338" y="0"/>
                    <a:pt x="338" y="0"/>
                    <a:pt x="338" y="0"/>
                  </a:cubicBezTo>
                  <a:cubicBezTo>
                    <a:pt x="199" y="0"/>
                    <a:pt x="199" y="0"/>
                    <a:pt x="199" y="0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17" y="0"/>
                    <a:pt x="0" y="16"/>
                    <a:pt x="0" y="36"/>
                  </a:cubicBezTo>
                  <a:cubicBezTo>
                    <a:pt x="0" y="56"/>
                    <a:pt x="17" y="72"/>
                    <a:pt x="37" y="72"/>
                  </a:cubicBezTo>
                  <a:cubicBezTo>
                    <a:pt x="90" y="72"/>
                    <a:pt x="90" y="72"/>
                    <a:pt x="90" y="72"/>
                  </a:cubicBezTo>
                  <a:cubicBezTo>
                    <a:pt x="101" y="72"/>
                    <a:pt x="101" y="72"/>
                    <a:pt x="101" y="72"/>
                  </a:cubicBezTo>
                  <a:cubicBezTo>
                    <a:pt x="131" y="72"/>
                    <a:pt x="131" y="72"/>
                    <a:pt x="131" y="72"/>
                  </a:cubicBezTo>
                  <a:cubicBezTo>
                    <a:pt x="151" y="72"/>
                    <a:pt x="167" y="89"/>
                    <a:pt x="167" y="109"/>
                  </a:cubicBezTo>
                  <a:cubicBezTo>
                    <a:pt x="167" y="128"/>
                    <a:pt x="151" y="145"/>
                    <a:pt x="131" y="145"/>
                  </a:cubicBezTo>
                  <a:cubicBezTo>
                    <a:pt x="110" y="145"/>
                    <a:pt x="110" y="145"/>
                    <a:pt x="110" y="145"/>
                  </a:cubicBezTo>
                  <a:cubicBezTo>
                    <a:pt x="90" y="145"/>
                    <a:pt x="74" y="161"/>
                    <a:pt x="74" y="181"/>
                  </a:cubicBezTo>
                  <a:cubicBezTo>
                    <a:pt x="74" y="181"/>
                    <a:pt x="74" y="181"/>
                    <a:pt x="74" y="181"/>
                  </a:cubicBezTo>
                  <a:cubicBezTo>
                    <a:pt x="74" y="201"/>
                    <a:pt x="90" y="217"/>
                    <a:pt x="110" y="217"/>
                  </a:cubicBezTo>
                  <a:cubicBezTo>
                    <a:pt x="164" y="217"/>
                    <a:pt x="164" y="217"/>
                    <a:pt x="164" y="217"/>
                  </a:cubicBezTo>
                  <a:cubicBezTo>
                    <a:pt x="175" y="217"/>
                    <a:pt x="175" y="217"/>
                    <a:pt x="175" y="217"/>
                  </a:cubicBezTo>
                  <a:cubicBezTo>
                    <a:pt x="213" y="217"/>
                    <a:pt x="213" y="217"/>
                    <a:pt x="213" y="217"/>
                  </a:cubicBezTo>
                  <a:cubicBezTo>
                    <a:pt x="267" y="217"/>
                    <a:pt x="267" y="217"/>
                    <a:pt x="267" y="217"/>
                  </a:cubicBezTo>
                  <a:cubicBezTo>
                    <a:pt x="273" y="217"/>
                    <a:pt x="273" y="217"/>
                    <a:pt x="273" y="217"/>
                  </a:cubicBezTo>
                  <a:cubicBezTo>
                    <a:pt x="278" y="217"/>
                    <a:pt x="278" y="217"/>
                    <a:pt x="278" y="217"/>
                  </a:cubicBezTo>
                  <a:cubicBezTo>
                    <a:pt x="338" y="217"/>
                    <a:pt x="338" y="217"/>
                    <a:pt x="338" y="217"/>
                  </a:cubicBezTo>
                  <a:cubicBezTo>
                    <a:pt x="375" y="217"/>
                    <a:pt x="375" y="217"/>
                    <a:pt x="375" y="217"/>
                  </a:cubicBezTo>
                  <a:cubicBezTo>
                    <a:pt x="501" y="217"/>
                    <a:pt x="501" y="217"/>
                    <a:pt x="501" y="217"/>
                  </a:cubicBezTo>
                  <a:cubicBezTo>
                    <a:pt x="521" y="217"/>
                    <a:pt x="537" y="201"/>
                    <a:pt x="537" y="181"/>
                  </a:cubicBezTo>
                  <a:cubicBezTo>
                    <a:pt x="537" y="161"/>
                    <a:pt x="521" y="145"/>
                    <a:pt x="501" y="145"/>
                  </a:cubicBezTo>
                  <a:cubicBezTo>
                    <a:pt x="403" y="145"/>
                    <a:pt x="403" y="145"/>
                    <a:pt x="403" y="145"/>
                  </a:cubicBezTo>
                  <a:cubicBezTo>
                    <a:pt x="392" y="145"/>
                    <a:pt x="392" y="145"/>
                    <a:pt x="392" y="145"/>
                  </a:cubicBezTo>
                  <a:cubicBezTo>
                    <a:pt x="372" y="145"/>
                    <a:pt x="356" y="128"/>
                    <a:pt x="356" y="109"/>
                  </a:cubicBezTo>
                  <a:cubicBezTo>
                    <a:pt x="356" y="89"/>
                    <a:pt x="372" y="72"/>
                    <a:pt x="392" y="72"/>
                  </a:cubicBez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99980A5C-7553-46E4-B2CE-F6BD828C8A3D}"/>
                </a:ext>
              </a:extLst>
            </p:cNvPr>
            <p:cNvSpPr/>
            <p:nvPr/>
          </p:nvSpPr>
          <p:spPr bwMode="auto">
            <a:xfrm>
              <a:off x="6991350" y="2668594"/>
              <a:ext cx="185738" cy="115888"/>
            </a:xfrm>
            <a:custGeom>
              <a:avLst/>
              <a:gdLst>
                <a:gd name="T0" fmla="*/ 79 w 115"/>
                <a:gd name="T1" fmla="*/ 72 h 72"/>
                <a:gd name="T2" fmla="*/ 35 w 115"/>
                <a:gd name="T3" fmla="*/ 72 h 72"/>
                <a:gd name="T4" fmla="*/ 0 w 115"/>
                <a:gd name="T5" fmla="*/ 36 h 72"/>
                <a:gd name="T6" fmla="*/ 35 w 115"/>
                <a:gd name="T7" fmla="*/ 0 h 72"/>
                <a:gd name="T8" fmla="*/ 79 w 115"/>
                <a:gd name="T9" fmla="*/ 0 h 72"/>
                <a:gd name="T10" fmla="*/ 115 w 115"/>
                <a:gd name="T11" fmla="*/ 36 h 72"/>
                <a:gd name="T12" fmla="*/ 79 w 115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72">
                  <a:moveTo>
                    <a:pt x="79" y="72"/>
                  </a:moveTo>
                  <a:cubicBezTo>
                    <a:pt x="35" y="72"/>
                    <a:pt x="35" y="72"/>
                    <a:pt x="35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99" y="0"/>
                    <a:pt x="115" y="16"/>
                    <a:pt x="115" y="36"/>
                  </a:cubicBezTo>
                  <a:cubicBezTo>
                    <a:pt x="115" y="56"/>
                    <a:pt x="99" y="72"/>
                    <a:pt x="79" y="72"/>
                  </a:cubicBez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D7AEC3B2-A0BB-43FA-A2A3-22FD678835D6}"/>
                </a:ext>
              </a:extLst>
            </p:cNvPr>
            <p:cNvSpPr/>
            <p:nvPr/>
          </p:nvSpPr>
          <p:spPr bwMode="auto">
            <a:xfrm>
              <a:off x="4849813" y="3254382"/>
              <a:ext cx="184150" cy="115888"/>
            </a:xfrm>
            <a:custGeom>
              <a:avLst/>
              <a:gdLst>
                <a:gd name="T0" fmla="*/ 79 w 115"/>
                <a:gd name="T1" fmla="*/ 72 h 72"/>
                <a:gd name="T2" fmla="*/ 36 w 115"/>
                <a:gd name="T3" fmla="*/ 72 h 72"/>
                <a:gd name="T4" fmla="*/ 0 w 115"/>
                <a:gd name="T5" fmla="*/ 36 h 72"/>
                <a:gd name="T6" fmla="*/ 36 w 115"/>
                <a:gd name="T7" fmla="*/ 0 h 72"/>
                <a:gd name="T8" fmla="*/ 79 w 115"/>
                <a:gd name="T9" fmla="*/ 0 h 72"/>
                <a:gd name="T10" fmla="*/ 115 w 115"/>
                <a:gd name="T11" fmla="*/ 36 h 72"/>
                <a:gd name="T12" fmla="*/ 79 w 115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72">
                  <a:moveTo>
                    <a:pt x="79" y="72"/>
                  </a:moveTo>
                  <a:cubicBezTo>
                    <a:pt x="36" y="72"/>
                    <a:pt x="36" y="72"/>
                    <a:pt x="36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99" y="0"/>
                    <a:pt x="115" y="16"/>
                    <a:pt x="115" y="36"/>
                  </a:cubicBezTo>
                  <a:cubicBezTo>
                    <a:pt x="115" y="56"/>
                    <a:pt x="99" y="72"/>
                    <a:pt x="79" y="72"/>
                  </a:cubicBez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40BAD144-9DA9-4762-8EEB-E4A0A162BC3D}"/>
                </a:ext>
              </a:extLst>
            </p:cNvPr>
            <p:cNvSpPr/>
            <p:nvPr/>
          </p:nvSpPr>
          <p:spPr bwMode="auto">
            <a:xfrm>
              <a:off x="7264400" y="2435232"/>
              <a:ext cx="1165225" cy="584200"/>
            </a:xfrm>
            <a:custGeom>
              <a:avLst/>
              <a:gdLst>
                <a:gd name="T0" fmla="*/ 624 w 725"/>
                <a:gd name="T1" fmla="*/ 290 h 363"/>
                <a:gd name="T2" fmla="*/ 588 w 725"/>
                <a:gd name="T3" fmla="*/ 254 h 363"/>
                <a:gd name="T4" fmla="*/ 648 w 725"/>
                <a:gd name="T5" fmla="*/ 217 h 363"/>
                <a:gd name="T6" fmla="*/ 648 w 725"/>
                <a:gd name="T7" fmla="*/ 145 h 363"/>
                <a:gd name="T8" fmla="*/ 486 w 725"/>
                <a:gd name="T9" fmla="*/ 145 h 363"/>
                <a:gd name="T10" fmla="*/ 413 w 725"/>
                <a:gd name="T11" fmla="*/ 109 h 363"/>
                <a:gd name="T12" fmla="*/ 471 w 725"/>
                <a:gd name="T13" fmla="*/ 72 h 363"/>
                <a:gd name="T14" fmla="*/ 471 w 725"/>
                <a:gd name="T15" fmla="*/ 0 h 363"/>
                <a:gd name="T16" fmla="*/ 362 w 725"/>
                <a:gd name="T17" fmla="*/ 0 h 363"/>
                <a:gd name="T18" fmla="*/ 308 w 725"/>
                <a:gd name="T19" fmla="*/ 0 h 363"/>
                <a:gd name="T20" fmla="*/ 183 w 725"/>
                <a:gd name="T21" fmla="*/ 0 h 363"/>
                <a:gd name="T22" fmla="*/ 44 w 725"/>
                <a:gd name="T23" fmla="*/ 36 h 363"/>
                <a:gd name="T24" fmla="*/ 134 w 725"/>
                <a:gd name="T25" fmla="*/ 72 h 363"/>
                <a:gd name="T26" fmla="*/ 183 w 725"/>
                <a:gd name="T27" fmla="*/ 72 h 363"/>
                <a:gd name="T28" fmla="*/ 225 w 725"/>
                <a:gd name="T29" fmla="*/ 109 h 363"/>
                <a:gd name="T30" fmla="*/ 188 w 725"/>
                <a:gd name="T31" fmla="*/ 145 h 363"/>
                <a:gd name="T32" fmla="*/ 0 w 725"/>
                <a:gd name="T33" fmla="*/ 181 h 363"/>
                <a:gd name="T34" fmla="*/ 90 w 725"/>
                <a:gd name="T35" fmla="*/ 217 h 363"/>
                <a:gd name="T36" fmla="*/ 188 w 725"/>
                <a:gd name="T37" fmla="*/ 217 h 363"/>
                <a:gd name="T38" fmla="*/ 242 w 725"/>
                <a:gd name="T39" fmla="*/ 217 h 363"/>
                <a:gd name="T40" fmla="*/ 338 w 725"/>
                <a:gd name="T41" fmla="*/ 217 h 363"/>
                <a:gd name="T42" fmla="*/ 363 w 725"/>
                <a:gd name="T43" fmla="*/ 217 h 363"/>
                <a:gd name="T44" fmla="*/ 399 w 725"/>
                <a:gd name="T45" fmla="*/ 254 h 363"/>
                <a:gd name="T46" fmla="*/ 355 w 725"/>
                <a:gd name="T47" fmla="*/ 290 h 363"/>
                <a:gd name="T48" fmla="*/ 355 w 725"/>
                <a:gd name="T49" fmla="*/ 363 h 363"/>
                <a:gd name="T50" fmla="*/ 420 w 725"/>
                <a:gd name="T51" fmla="*/ 363 h 363"/>
                <a:gd name="T52" fmla="*/ 522 w 725"/>
                <a:gd name="T53" fmla="*/ 362 h 363"/>
                <a:gd name="T54" fmla="*/ 580 w 725"/>
                <a:gd name="T55" fmla="*/ 363 h 363"/>
                <a:gd name="T56" fmla="*/ 689 w 725"/>
                <a:gd name="T57" fmla="*/ 363 h 363"/>
                <a:gd name="T58" fmla="*/ 689 w 725"/>
                <a:gd name="T59" fmla="*/ 290 h 363"/>
                <a:gd name="T60" fmla="*/ 517 w 725"/>
                <a:gd name="T61" fmla="*/ 290 h 363"/>
                <a:gd name="T62" fmla="*/ 522 w 725"/>
                <a:gd name="T63" fmla="*/ 290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25" h="363">
                  <a:moveTo>
                    <a:pt x="689" y="290"/>
                  </a:moveTo>
                  <a:cubicBezTo>
                    <a:pt x="624" y="290"/>
                    <a:pt x="624" y="290"/>
                    <a:pt x="624" y="290"/>
                  </a:cubicBezTo>
                  <a:cubicBezTo>
                    <a:pt x="604" y="290"/>
                    <a:pt x="588" y="274"/>
                    <a:pt x="588" y="254"/>
                  </a:cubicBezTo>
                  <a:cubicBezTo>
                    <a:pt x="588" y="254"/>
                    <a:pt x="588" y="254"/>
                    <a:pt x="588" y="254"/>
                  </a:cubicBezTo>
                  <a:cubicBezTo>
                    <a:pt x="588" y="234"/>
                    <a:pt x="604" y="217"/>
                    <a:pt x="624" y="217"/>
                  </a:cubicBezTo>
                  <a:cubicBezTo>
                    <a:pt x="648" y="217"/>
                    <a:pt x="648" y="217"/>
                    <a:pt x="648" y="217"/>
                  </a:cubicBezTo>
                  <a:cubicBezTo>
                    <a:pt x="668" y="217"/>
                    <a:pt x="685" y="201"/>
                    <a:pt x="685" y="181"/>
                  </a:cubicBezTo>
                  <a:cubicBezTo>
                    <a:pt x="685" y="161"/>
                    <a:pt x="668" y="145"/>
                    <a:pt x="648" y="145"/>
                  </a:cubicBezTo>
                  <a:cubicBezTo>
                    <a:pt x="501" y="145"/>
                    <a:pt x="501" y="145"/>
                    <a:pt x="501" y="145"/>
                  </a:cubicBezTo>
                  <a:cubicBezTo>
                    <a:pt x="486" y="145"/>
                    <a:pt x="486" y="145"/>
                    <a:pt x="486" y="145"/>
                  </a:cubicBezTo>
                  <a:cubicBezTo>
                    <a:pt x="450" y="145"/>
                    <a:pt x="450" y="145"/>
                    <a:pt x="450" y="145"/>
                  </a:cubicBezTo>
                  <a:cubicBezTo>
                    <a:pt x="430" y="145"/>
                    <a:pt x="413" y="129"/>
                    <a:pt x="413" y="109"/>
                  </a:cubicBezTo>
                  <a:cubicBezTo>
                    <a:pt x="413" y="89"/>
                    <a:pt x="430" y="72"/>
                    <a:pt x="450" y="72"/>
                  </a:cubicBezTo>
                  <a:cubicBezTo>
                    <a:pt x="471" y="72"/>
                    <a:pt x="471" y="72"/>
                    <a:pt x="471" y="72"/>
                  </a:cubicBezTo>
                  <a:cubicBezTo>
                    <a:pt x="491" y="72"/>
                    <a:pt x="507" y="56"/>
                    <a:pt x="507" y="36"/>
                  </a:cubicBezTo>
                  <a:cubicBezTo>
                    <a:pt x="507" y="16"/>
                    <a:pt x="491" y="0"/>
                    <a:pt x="471" y="0"/>
                  </a:cubicBezTo>
                  <a:cubicBezTo>
                    <a:pt x="373" y="0"/>
                    <a:pt x="373" y="0"/>
                    <a:pt x="373" y="0"/>
                  </a:cubicBezTo>
                  <a:cubicBezTo>
                    <a:pt x="362" y="0"/>
                    <a:pt x="362" y="0"/>
                    <a:pt x="362" y="0"/>
                  </a:cubicBezTo>
                  <a:cubicBezTo>
                    <a:pt x="346" y="0"/>
                    <a:pt x="346" y="0"/>
                    <a:pt x="346" y="0"/>
                  </a:cubicBezTo>
                  <a:cubicBezTo>
                    <a:pt x="308" y="0"/>
                    <a:pt x="308" y="0"/>
                    <a:pt x="308" y="0"/>
                  </a:cubicBezTo>
                  <a:cubicBezTo>
                    <a:pt x="243" y="0"/>
                    <a:pt x="243" y="0"/>
                    <a:pt x="243" y="0"/>
                  </a:cubicBezTo>
                  <a:cubicBezTo>
                    <a:pt x="183" y="0"/>
                    <a:pt x="183" y="0"/>
                    <a:pt x="183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60" y="0"/>
                    <a:pt x="44" y="16"/>
                    <a:pt x="44" y="36"/>
                  </a:cubicBezTo>
                  <a:cubicBezTo>
                    <a:pt x="44" y="56"/>
                    <a:pt x="60" y="72"/>
                    <a:pt x="80" y="72"/>
                  </a:cubicBezTo>
                  <a:cubicBezTo>
                    <a:pt x="134" y="72"/>
                    <a:pt x="134" y="72"/>
                    <a:pt x="134" y="72"/>
                  </a:cubicBezTo>
                  <a:cubicBezTo>
                    <a:pt x="145" y="72"/>
                    <a:pt x="145" y="72"/>
                    <a:pt x="145" y="72"/>
                  </a:cubicBezTo>
                  <a:cubicBezTo>
                    <a:pt x="183" y="72"/>
                    <a:pt x="183" y="72"/>
                    <a:pt x="183" y="72"/>
                  </a:cubicBezTo>
                  <a:cubicBezTo>
                    <a:pt x="189" y="72"/>
                    <a:pt x="189" y="72"/>
                    <a:pt x="189" y="72"/>
                  </a:cubicBezTo>
                  <a:cubicBezTo>
                    <a:pt x="209" y="72"/>
                    <a:pt x="225" y="89"/>
                    <a:pt x="225" y="109"/>
                  </a:cubicBezTo>
                  <a:cubicBezTo>
                    <a:pt x="225" y="129"/>
                    <a:pt x="209" y="145"/>
                    <a:pt x="189" y="145"/>
                  </a:cubicBezTo>
                  <a:cubicBezTo>
                    <a:pt x="188" y="145"/>
                    <a:pt x="188" y="145"/>
                    <a:pt x="188" y="145"/>
                  </a:cubicBezTo>
                  <a:cubicBezTo>
                    <a:pt x="37" y="145"/>
                    <a:pt x="37" y="145"/>
                    <a:pt x="37" y="145"/>
                  </a:cubicBezTo>
                  <a:cubicBezTo>
                    <a:pt x="17" y="145"/>
                    <a:pt x="0" y="161"/>
                    <a:pt x="0" y="181"/>
                  </a:cubicBezTo>
                  <a:cubicBezTo>
                    <a:pt x="0" y="201"/>
                    <a:pt x="17" y="217"/>
                    <a:pt x="37" y="217"/>
                  </a:cubicBezTo>
                  <a:cubicBezTo>
                    <a:pt x="90" y="217"/>
                    <a:pt x="90" y="217"/>
                    <a:pt x="90" y="217"/>
                  </a:cubicBezTo>
                  <a:cubicBezTo>
                    <a:pt x="102" y="217"/>
                    <a:pt x="102" y="217"/>
                    <a:pt x="102" y="217"/>
                  </a:cubicBezTo>
                  <a:cubicBezTo>
                    <a:pt x="188" y="217"/>
                    <a:pt x="188" y="217"/>
                    <a:pt x="188" y="217"/>
                  </a:cubicBezTo>
                  <a:cubicBezTo>
                    <a:pt x="199" y="217"/>
                    <a:pt x="199" y="217"/>
                    <a:pt x="199" y="217"/>
                  </a:cubicBezTo>
                  <a:cubicBezTo>
                    <a:pt x="242" y="217"/>
                    <a:pt x="242" y="217"/>
                    <a:pt x="242" y="217"/>
                  </a:cubicBezTo>
                  <a:cubicBezTo>
                    <a:pt x="253" y="217"/>
                    <a:pt x="253" y="217"/>
                    <a:pt x="253" y="217"/>
                  </a:cubicBezTo>
                  <a:cubicBezTo>
                    <a:pt x="338" y="217"/>
                    <a:pt x="338" y="217"/>
                    <a:pt x="338" y="217"/>
                  </a:cubicBezTo>
                  <a:cubicBezTo>
                    <a:pt x="350" y="217"/>
                    <a:pt x="350" y="217"/>
                    <a:pt x="350" y="217"/>
                  </a:cubicBezTo>
                  <a:cubicBezTo>
                    <a:pt x="363" y="217"/>
                    <a:pt x="363" y="217"/>
                    <a:pt x="363" y="217"/>
                  </a:cubicBezTo>
                  <a:cubicBezTo>
                    <a:pt x="383" y="217"/>
                    <a:pt x="399" y="234"/>
                    <a:pt x="399" y="254"/>
                  </a:cubicBezTo>
                  <a:cubicBezTo>
                    <a:pt x="399" y="254"/>
                    <a:pt x="399" y="254"/>
                    <a:pt x="399" y="254"/>
                  </a:cubicBezTo>
                  <a:cubicBezTo>
                    <a:pt x="399" y="274"/>
                    <a:pt x="383" y="290"/>
                    <a:pt x="363" y="290"/>
                  </a:cubicBezTo>
                  <a:cubicBezTo>
                    <a:pt x="355" y="290"/>
                    <a:pt x="355" y="290"/>
                    <a:pt x="355" y="290"/>
                  </a:cubicBezTo>
                  <a:cubicBezTo>
                    <a:pt x="335" y="290"/>
                    <a:pt x="318" y="306"/>
                    <a:pt x="318" y="326"/>
                  </a:cubicBezTo>
                  <a:cubicBezTo>
                    <a:pt x="318" y="346"/>
                    <a:pt x="335" y="363"/>
                    <a:pt x="355" y="363"/>
                  </a:cubicBezTo>
                  <a:cubicBezTo>
                    <a:pt x="408" y="363"/>
                    <a:pt x="408" y="363"/>
                    <a:pt x="408" y="363"/>
                  </a:cubicBezTo>
                  <a:cubicBezTo>
                    <a:pt x="420" y="363"/>
                    <a:pt x="420" y="363"/>
                    <a:pt x="420" y="363"/>
                  </a:cubicBezTo>
                  <a:cubicBezTo>
                    <a:pt x="517" y="363"/>
                    <a:pt x="517" y="363"/>
                    <a:pt x="517" y="363"/>
                  </a:cubicBezTo>
                  <a:cubicBezTo>
                    <a:pt x="519" y="363"/>
                    <a:pt x="520" y="362"/>
                    <a:pt x="522" y="362"/>
                  </a:cubicBezTo>
                  <a:cubicBezTo>
                    <a:pt x="523" y="362"/>
                    <a:pt x="525" y="363"/>
                    <a:pt x="527" y="363"/>
                  </a:cubicBezTo>
                  <a:cubicBezTo>
                    <a:pt x="580" y="363"/>
                    <a:pt x="580" y="363"/>
                    <a:pt x="580" y="363"/>
                  </a:cubicBezTo>
                  <a:cubicBezTo>
                    <a:pt x="591" y="363"/>
                    <a:pt x="591" y="363"/>
                    <a:pt x="591" y="363"/>
                  </a:cubicBezTo>
                  <a:cubicBezTo>
                    <a:pt x="689" y="363"/>
                    <a:pt x="689" y="363"/>
                    <a:pt x="689" y="363"/>
                  </a:cubicBezTo>
                  <a:cubicBezTo>
                    <a:pt x="709" y="363"/>
                    <a:pt x="725" y="346"/>
                    <a:pt x="725" y="326"/>
                  </a:cubicBezTo>
                  <a:cubicBezTo>
                    <a:pt x="725" y="306"/>
                    <a:pt x="709" y="290"/>
                    <a:pt x="689" y="290"/>
                  </a:cubicBezTo>
                  <a:close/>
                  <a:moveTo>
                    <a:pt x="522" y="290"/>
                  </a:moveTo>
                  <a:cubicBezTo>
                    <a:pt x="520" y="290"/>
                    <a:pt x="519" y="290"/>
                    <a:pt x="517" y="290"/>
                  </a:cubicBezTo>
                  <a:cubicBezTo>
                    <a:pt x="527" y="290"/>
                    <a:pt x="527" y="290"/>
                    <a:pt x="527" y="290"/>
                  </a:cubicBezTo>
                  <a:cubicBezTo>
                    <a:pt x="525" y="290"/>
                    <a:pt x="523" y="290"/>
                    <a:pt x="522" y="290"/>
                  </a:cubicBez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14ED0475-E6C9-482D-AF9A-B8A8552FB862}"/>
                </a:ext>
              </a:extLst>
            </p:cNvPr>
            <p:cNvSpPr/>
            <p:nvPr/>
          </p:nvSpPr>
          <p:spPr bwMode="auto">
            <a:xfrm>
              <a:off x="8229600" y="3146432"/>
              <a:ext cx="403225" cy="114300"/>
            </a:xfrm>
            <a:custGeom>
              <a:avLst/>
              <a:gdLst>
                <a:gd name="T0" fmla="*/ 215 w 251"/>
                <a:gd name="T1" fmla="*/ 72 h 72"/>
                <a:gd name="T2" fmla="*/ 35 w 251"/>
                <a:gd name="T3" fmla="*/ 72 h 72"/>
                <a:gd name="T4" fmla="*/ 0 w 251"/>
                <a:gd name="T5" fmla="*/ 36 h 72"/>
                <a:gd name="T6" fmla="*/ 35 w 251"/>
                <a:gd name="T7" fmla="*/ 0 h 72"/>
                <a:gd name="T8" fmla="*/ 215 w 251"/>
                <a:gd name="T9" fmla="*/ 0 h 72"/>
                <a:gd name="T10" fmla="*/ 251 w 251"/>
                <a:gd name="T11" fmla="*/ 36 h 72"/>
                <a:gd name="T12" fmla="*/ 215 w 251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1" h="72">
                  <a:moveTo>
                    <a:pt x="215" y="72"/>
                  </a:moveTo>
                  <a:cubicBezTo>
                    <a:pt x="35" y="72"/>
                    <a:pt x="35" y="72"/>
                    <a:pt x="35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5" y="0"/>
                  </a:cubicBezTo>
                  <a:cubicBezTo>
                    <a:pt x="215" y="0"/>
                    <a:pt x="215" y="0"/>
                    <a:pt x="215" y="0"/>
                  </a:cubicBezTo>
                  <a:cubicBezTo>
                    <a:pt x="235" y="0"/>
                    <a:pt x="251" y="16"/>
                    <a:pt x="251" y="36"/>
                  </a:cubicBezTo>
                  <a:cubicBezTo>
                    <a:pt x="251" y="55"/>
                    <a:pt x="235" y="72"/>
                    <a:pt x="215" y="72"/>
                  </a:cubicBez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B5EBE1AB-C5CD-43CE-A1D2-B96D0E6FAB4F}"/>
                </a:ext>
              </a:extLst>
            </p:cNvPr>
            <p:cNvSpPr/>
            <p:nvPr/>
          </p:nvSpPr>
          <p:spPr bwMode="auto">
            <a:xfrm>
              <a:off x="6307138" y="1363669"/>
              <a:ext cx="404813" cy="115888"/>
            </a:xfrm>
            <a:custGeom>
              <a:avLst/>
              <a:gdLst>
                <a:gd name="T0" fmla="*/ 216 w 252"/>
                <a:gd name="T1" fmla="*/ 72 h 72"/>
                <a:gd name="T2" fmla="*/ 36 w 252"/>
                <a:gd name="T3" fmla="*/ 72 h 72"/>
                <a:gd name="T4" fmla="*/ 0 w 252"/>
                <a:gd name="T5" fmla="*/ 36 h 72"/>
                <a:gd name="T6" fmla="*/ 36 w 252"/>
                <a:gd name="T7" fmla="*/ 0 h 72"/>
                <a:gd name="T8" fmla="*/ 216 w 252"/>
                <a:gd name="T9" fmla="*/ 0 h 72"/>
                <a:gd name="T10" fmla="*/ 252 w 252"/>
                <a:gd name="T11" fmla="*/ 36 h 72"/>
                <a:gd name="T12" fmla="*/ 216 w 252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2" h="72">
                  <a:moveTo>
                    <a:pt x="216" y="72"/>
                  </a:moveTo>
                  <a:cubicBezTo>
                    <a:pt x="36" y="72"/>
                    <a:pt x="36" y="72"/>
                    <a:pt x="36" y="72"/>
                  </a:cubicBezTo>
                  <a:cubicBezTo>
                    <a:pt x="17" y="72"/>
                    <a:pt x="0" y="56"/>
                    <a:pt x="0" y="36"/>
                  </a:cubicBezTo>
                  <a:cubicBezTo>
                    <a:pt x="0" y="16"/>
                    <a:pt x="17" y="0"/>
                    <a:pt x="36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36" y="0"/>
                    <a:pt x="252" y="16"/>
                    <a:pt x="252" y="36"/>
                  </a:cubicBezTo>
                  <a:cubicBezTo>
                    <a:pt x="252" y="56"/>
                    <a:pt x="236" y="72"/>
                    <a:pt x="216" y="72"/>
                  </a:cubicBez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13F0C4ED-7072-41FF-A332-D6262F344776}"/>
                </a:ext>
              </a:extLst>
            </p:cNvPr>
            <p:cNvSpPr/>
            <p:nvPr/>
          </p:nvSpPr>
          <p:spPr bwMode="auto">
            <a:xfrm>
              <a:off x="7158038" y="2098682"/>
              <a:ext cx="184150" cy="115888"/>
            </a:xfrm>
            <a:custGeom>
              <a:avLst/>
              <a:gdLst>
                <a:gd name="T0" fmla="*/ 80 w 115"/>
                <a:gd name="T1" fmla="*/ 72 h 72"/>
                <a:gd name="T2" fmla="*/ 36 w 115"/>
                <a:gd name="T3" fmla="*/ 72 h 72"/>
                <a:gd name="T4" fmla="*/ 0 w 115"/>
                <a:gd name="T5" fmla="*/ 36 h 72"/>
                <a:gd name="T6" fmla="*/ 36 w 115"/>
                <a:gd name="T7" fmla="*/ 0 h 72"/>
                <a:gd name="T8" fmla="*/ 80 w 115"/>
                <a:gd name="T9" fmla="*/ 0 h 72"/>
                <a:gd name="T10" fmla="*/ 115 w 115"/>
                <a:gd name="T11" fmla="*/ 36 h 72"/>
                <a:gd name="T12" fmla="*/ 80 w 115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72">
                  <a:moveTo>
                    <a:pt x="80" y="72"/>
                  </a:moveTo>
                  <a:cubicBezTo>
                    <a:pt x="36" y="72"/>
                    <a:pt x="36" y="72"/>
                    <a:pt x="36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99" y="0"/>
                    <a:pt x="115" y="16"/>
                    <a:pt x="115" y="36"/>
                  </a:cubicBezTo>
                  <a:cubicBezTo>
                    <a:pt x="115" y="56"/>
                    <a:pt x="99" y="72"/>
                    <a:pt x="80" y="72"/>
                  </a:cubicBezTo>
                  <a:close/>
                </a:path>
              </a:pathLst>
            </a:custGeom>
            <a:solidFill>
              <a:sysClr val="window" lastClr="FFFFFF">
                <a:lumMod val="6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250C8A06-3FF4-4CA5-AC66-22937ED4AD9E}"/>
                </a:ext>
              </a:extLst>
            </p:cNvPr>
            <p:cNvSpPr/>
            <p:nvPr/>
          </p:nvSpPr>
          <p:spPr bwMode="auto">
            <a:xfrm>
              <a:off x="4079875" y="2535244"/>
              <a:ext cx="342900" cy="115888"/>
            </a:xfrm>
            <a:custGeom>
              <a:avLst/>
              <a:gdLst>
                <a:gd name="T0" fmla="*/ 177 w 213"/>
                <a:gd name="T1" fmla="*/ 72 h 72"/>
                <a:gd name="T2" fmla="*/ 36 w 213"/>
                <a:gd name="T3" fmla="*/ 72 h 72"/>
                <a:gd name="T4" fmla="*/ 0 w 213"/>
                <a:gd name="T5" fmla="*/ 36 h 72"/>
                <a:gd name="T6" fmla="*/ 36 w 213"/>
                <a:gd name="T7" fmla="*/ 0 h 72"/>
                <a:gd name="T8" fmla="*/ 177 w 213"/>
                <a:gd name="T9" fmla="*/ 0 h 72"/>
                <a:gd name="T10" fmla="*/ 213 w 213"/>
                <a:gd name="T11" fmla="*/ 36 h 72"/>
                <a:gd name="T12" fmla="*/ 177 w 213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3" h="72">
                  <a:moveTo>
                    <a:pt x="177" y="72"/>
                  </a:moveTo>
                  <a:cubicBezTo>
                    <a:pt x="36" y="72"/>
                    <a:pt x="36" y="72"/>
                    <a:pt x="36" y="72"/>
                  </a:cubicBezTo>
                  <a:cubicBezTo>
                    <a:pt x="16" y="72"/>
                    <a:pt x="0" y="5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177" y="0"/>
                    <a:pt x="177" y="0"/>
                    <a:pt x="177" y="0"/>
                  </a:cubicBezTo>
                  <a:cubicBezTo>
                    <a:pt x="197" y="0"/>
                    <a:pt x="213" y="16"/>
                    <a:pt x="213" y="36"/>
                  </a:cubicBezTo>
                  <a:cubicBezTo>
                    <a:pt x="213" y="56"/>
                    <a:pt x="197" y="72"/>
                    <a:pt x="177" y="72"/>
                  </a:cubicBez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2BEC97B1-9185-43F8-93A1-FE2D5AEAFF28}"/>
                </a:ext>
              </a:extLst>
            </p:cNvPr>
            <p:cNvSpPr/>
            <p:nvPr/>
          </p:nvSpPr>
          <p:spPr bwMode="auto">
            <a:xfrm>
              <a:off x="6735763" y="1130306"/>
              <a:ext cx="185738" cy="114300"/>
            </a:xfrm>
            <a:custGeom>
              <a:avLst/>
              <a:gdLst>
                <a:gd name="T0" fmla="*/ 80 w 115"/>
                <a:gd name="T1" fmla="*/ 71 h 71"/>
                <a:gd name="T2" fmla="*/ 36 w 115"/>
                <a:gd name="T3" fmla="*/ 71 h 71"/>
                <a:gd name="T4" fmla="*/ 0 w 115"/>
                <a:gd name="T5" fmla="*/ 35 h 71"/>
                <a:gd name="T6" fmla="*/ 36 w 115"/>
                <a:gd name="T7" fmla="*/ 0 h 71"/>
                <a:gd name="T8" fmla="*/ 80 w 115"/>
                <a:gd name="T9" fmla="*/ 0 h 71"/>
                <a:gd name="T10" fmla="*/ 115 w 115"/>
                <a:gd name="T11" fmla="*/ 35 h 71"/>
                <a:gd name="T12" fmla="*/ 80 w 115"/>
                <a:gd name="T13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71">
                  <a:moveTo>
                    <a:pt x="80" y="71"/>
                  </a:moveTo>
                  <a:cubicBezTo>
                    <a:pt x="36" y="71"/>
                    <a:pt x="36" y="71"/>
                    <a:pt x="36" y="71"/>
                  </a:cubicBezTo>
                  <a:cubicBezTo>
                    <a:pt x="16" y="71"/>
                    <a:pt x="0" y="55"/>
                    <a:pt x="0" y="35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99" y="0"/>
                    <a:pt x="115" y="16"/>
                    <a:pt x="115" y="35"/>
                  </a:cubicBezTo>
                  <a:cubicBezTo>
                    <a:pt x="115" y="55"/>
                    <a:pt x="99" y="71"/>
                    <a:pt x="80" y="71"/>
                  </a:cubicBez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666B9BCE-CC59-425E-A2A5-B22F5FB65D80}"/>
                </a:ext>
              </a:extLst>
            </p:cNvPr>
            <p:cNvSpPr/>
            <p:nvPr/>
          </p:nvSpPr>
          <p:spPr bwMode="auto">
            <a:xfrm>
              <a:off x="7970838" y="3146432"/>
              <a:ext cx="184150" cy="114300"/>
            </a:xfrm>
            <a:custGeom>
              <a:avLst/>
              <a:gdLst>
                <a:gd name="T0" fmla="*/ 80 w 115"/>
                <a:gd name="T1" fmla="*/ 72 h 72"/>
                <a:gd name="T2" fmla="*/ 36 w 115"/>
                <a:gd name="T3" fmla="*/ 72 h 72"/>
                <a:gd name="T4" fmla="*/ 0 w 115"/>
                <a:gd name="T5" fmla="*/ 36 h 72"/>
                <a:gd name="T6" fmla="*/ 36 w 115"/>
                <a:gd name="T7" fmla="*/ 0 h 72"/>
                <a:gd name="T8" fmla="*/ 80 w 115"/>
                <a:gd name="T9" fmla="*/ 0 h 72"/>
                <a:gd name="T10" fmla="*/ 115 w 115"/>
                <a:gd name="T11" fmla="*/ 36 h 72"/>
                <a:gd name="T12" fmla="*/ 80 w 115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72">
                  <a:moveTo>
                    <a:pt x="80" y="72"/>
                  </a:moveTo>
                  <a:cubicBezTo>
                    <a:pt x="36" y="72"/>
                    <a:pt x="36" y="72"/>
                    <a:pt x="36" y="72"/>
                  </a:cubicBezTo>
                  <a:cubicBezTo>
                    <a:pt x="16" y="72"/>
                    <a:pt x="0" y="55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99" y="0"/>
                    <a:pt x="115" y="16"/>
                    <a:pt x="115" y="36"/>
                  </a:cubicBezTo>
                  <a:cubicBezTo>
                    <a:pt x="115" y="55"/>
                    <a:pt x="99" y="72"/>
                    <a:pt x="80" y="72"/>
                  </a:cubicBez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CEA33E38-B15E-4403-B4E8-5B4351FEC7BC}"/>
                </a:ext>
              </a:extLst>
            </p:cNvPr>
            <p:cNvSpPr/>
            <p:nvPr/>
          </p:nvSpPr>
          <p:spPr bwMode="auto">
            <a:xfrm>
              <a:off x="3449638" y="4470407"/>
              <a:ext cx="5191125" cy="282575"/>
            </a:xfrm>
            <a:custGeom>
              <a:avLst/>
              <a:gdLst>
                <a:gd name="T0" fmla="*/ 3182 w 3230"/>
                <a:gd name="T1" fmla="*/ 0 h 176"/>
                <a:gd name="T2" fmla="*/ 49 w 3230"/>
                <a:gd name="T3" fmla="*/ 0 h 176"/>
                <a:gd name="T4" fmla="*/ 0 w 3230"/>
                <a:gd name="T5" fmla="*/ 49 h 176"/>
                <a:gd name="T6" fmla="*/ 49 w 3230"/>
                <a:gd name="T7" fmla="*/ 97 h 176"/>
                <a:gd name="T8" fmla="*/ 610 w 3230"/>
                <a:gd name="T9" fmla="*/ 97 h 176"/>
                <a:gd name="T10" fmla="*/ 646 w 3230"/>
                <a:gd name="T11" fmla="*/ 137 h 176"/>
                <a:gd name="T12" fmla="*/ 646 w 3230"/>
                <a:gd name="T13" fmla="*/ 137 h 176"/>
                <a:gd name="T14" fmla="*/ 685 w 3230"/>
                <a:gd name="T15" fmla="*/ 176 h 176"/>
                <a:gd name="T16" fmla="*/ 695 w 3230"/>
                <a:gd name="T17" fmla="*/ 176 h 176"/>
                <a:gd name="T18" fmla="*/ 696 w 3230"/>
                <a:gd name="T19" fmla="*/ 176 h 176"/>
                <a:gd name="T20" fmla="*/ 697 w 3230"/>
                <a:gd name="T21" fmla="*/ 176 h 176"/>
                <a:gd name="T22" fmla="*/ 718 w 3230"/>
                <a:gd name="T23" fmla="*/ 176 h 176"/>
                <a:gd name="T24" fmla="*/ 1059 w 3230"/>
                <a:gd name="T25" fmla="*/ 176 h 176"/>
                <a:gd name="T26" fmla="*/ 1081 w 3230"/>
                <a:gd name="T27" fmla="*/ 176 h 176"/>
                <a:gd name="T28" fmla="*/ 1082 w 3230"/>
                <a:gd name="T29" fmla="*/ 176 h 176"/>
                <a:gd name="T30" fmla="*/ 1083 w 3230"/>
                <a:gd name="T31" fmla="*/ 176 h 176"/>
                <a:gd name="T32" fmla="*/ 1092 w 3230"/>
                <a:gd name="T33" fmla="*/ 176 h 176"/>
                <a:gd name="T34" fmla="*/ 1132 w 3230"/>
                <a:gd name="T35" fmla="*/ 137 h 176"/>
                <a:gd name="T36" fmla="*/ 1132 w 3230"/>
                <a:gd name="T37" fmla="*/ 137 h 176"/>
                <a:gd name="T38" fmla="*/ 1168 w 3230"/>
                <a:gd name="T39" fmla="*/ 97 h 176"/>
                <a:gd name="T40" fmla="*/ 2189 w 3230"/>
                <a:gd name="T41" fmla="*/ 97 h 176"/>
                <a:gd name="T42" fmla="*/ 2226 w 3230"/>
                <a:gd name="T43" fmla="*/ 137 h 176"/>
                <a:gd name="T44" fmla="*/ 2226 w 3230"/>
                <a:gd name="T45" fmla="*/ 137 h 176"/>
                <a:gd name="T46" fmla="*/ 2265 w 3230"/>
                <a:gd name="T47" fmla="*/ 176 h 176"/>
                <a:gd name="T48" fmla="*/ 2275 w 3230"/>
                <a:gd name="T49" fmla="*/ 176 h 176"/>
                <a:gd name="T50" fmla="*/ 2276 w 3230"/>
                <a:gd name="T51" fmla="*/ 176 h 176"/>
                <a:gd name="T52" fmla="*/ 2277 w 3230"/>
                <a:gd name="T53" fmla="*/ 176 h 176"/>
                <a:gd name="T54" fmla="*/ 2298 w 3230"/>
                <a:gd name="T55" fmla="*/ 176 h 176"/>
                <a:gd name="T56" fmla="*/ 2639 w 3230"/>
                <a:gd name="T57" fmla="*/ 176 h 176"/>
                <a:gd name="T58" fmla="*/ 2661 w 3230"/>
                <a:gd name="T59" fmla="*/ 176 h 176"/>
                <a:gd name="T60" fmla="*/ 2662 w 3230"/>
                <a:gd name="T61" fmla="*/ 176 h 176"/>
                <a:gd name="T62" fmla="*/ 2663 w 3230"/>
                <a:gd name="T63" fmla="*/ 176 h 176"/>
                <a:gd name="T64" fmla="*/ 2672 w 3230"/>
                <a:gd name="T65" fmla="*/ 176 h 176"/>
                <a:gd name="T66" fmla="*/ 2712 w 3230"/>
                <a:gd name="T67" fmla="*/ 137 h 176"/>
                <a:gd name="T68" fmla="*/ 2712 w 3230"/>
                <a:gd name="T69" fmla="*/ 137 h 176"/>
                <a:gd name="T70" fmla="*/ 2748 w 3230"/>
                <a:gd name="T71" fmla="*/ 97 h 176"/>
                <a:gd name="T72" fmla="*/ 3182 w 3230"/>
                <a:gd name="T73" fmla="*/ 97 h 176"/>
                <a:gd name="T74" fmla="*/ 3230 w 3230"/>
                <a:gd name="T75" fmla="*/ 49 h 176"/>
                <a:gd name="T76" fmla="*/ 3182 w 3230"/>
                <a:gd name="T77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30" h="176">
                  <a:moveTo>
                    <a:pt x="3182" y="0"/>
                  </a:moveTo>
                  <a:cubicBezTo>
                    <a:pt x="49" y="0"/>
                    <a:pt x="49" y="0"/>
                    <a:pt x="49" y="0"/>
                  </a:cubicBezTo>
                  <a:cubicBezTo>
                    <a:pt x="22" y="0"/>
                    <a:pt x="0" y="22"/>
                    <a:pt x="0" y="49"/>
                  </a:cubicBezTo>
                  <a:cubicBezTo>
                    <a:pt x="0" y="75"/>
                    <a:pt x="22" y="97"/>
                    <a:pt x="49" y="97"/>
                  </a:cubicBezTo>
                  <a:cubicBezTo>
                    <a:pt x="610" y="97"/>
                    <a:pt x="610" y="97"/>
                    <a:pt x="610" y="97"/>
                  </a:cubicBezTo>
                  <a:cubicBezTo>
                    <a:pt x="630" y="99"/>
                    <a:pt x="646" y="116"/>
                    <a:pt x="646" y="137"/>
                  </a:cubicBezTo>
                  <a:cubicBezTo>
                    <a:pt x="646" y="137"/>
                    <a:pt x="646" y="137"/>
                    <a:pt x="646" y="137"/>
                  </a:cubicBezTo>
                  <a:cubicBezTo>
                    <a:pt x="646" y="158"/>
                    <a:pt x="663" y="176"/>
                    <a:pt x="685" y="176"/>
                  </a:cubicBezTo>
                  <a:cubicBezTo>
                    <a:pt x="695" y="176"/>
                    <a:pt x="695" y="176"/>
                    <a:pt x="695" y="176"/>
                  </a:cubicBezTo>
                  <a:cubicBezTo>
                    <a:pt x="696" y="176"/>
                    <a:pt x="696" y="176"/>
                    <a:pt x="696" y="176"/>
                  </a:cubicBezTo>
                  <a:cubicBezTo>
                    <a:pt x="697" y="176"/>
                    <a:pt x="697" y="176"/>
                    <a:pt x="697" y="176"/>
                  </a:cubicBezTo>
                  <a:cubicBezTo>
                    <a:pt x="718" y="176"/>
                    <a:pt x="718" y="176"/>
                    <a:pt x="718" y="176"/>
                  </a:cubicBezTo>
                  <a:cubicBezTo>
                    <a:pt x="1059" y="176"/>
                    <a:pt x="1059" y="176"/>
                    <a:pt x="1059" y="176"/>
                  </a:cubicBezTo>
                  <a:cubicBezTo>
                    <a:pt x="1081" y="176"/>
                    <a:pt x="1081" y="176"/>
                    <a:pt x="1081" y="176"/>
                  </a:cubicBezTo>
                  <a:cubicBezTo>
                    <a:pt x="1082" y="176"/>
                    <a:pt x="1082" y="176"/>
                    <a:pt x="1082" y="176"/>
                  </a:cubicBezTo>
                  <a:cubicBezTo>
                    <a:pt x="1083" y="176"/>
                    <a:pt x="1083" y="176"/>
                    <a:pt x="1083" y="176"/>
                  </a:cubicBezTo>
                  <a:cubicBezTo>
                    <a:pt x="1092" y="176"/>
                    <a:pt x="1092" y="176"/>
                    <a:pt x="1092" y="176"/>
                  </a:cubicBezTo>
                  <a:cubicBezTo>
                    <a:pt x="1114" y="176"/>
                    <a:pt x="1132" y="158"/>
                    <a:pt x="1132" y="137"/>
                  </a:cubicBezTo>
                  <a:cubicBezTo>
                    <a:pt x="1132" y="137"/>
                    <a:pt x="1132" y="137"/>
                    <a:pt x="1132" y="137"/>
                  </a:cubicBezTo>
                  <a:cubicBezTo>
                    <a:pt x="1132" y="116"/>
                    <a:pt x="1148" y="99"/>
                    <a:pt x="1168" y="97"/>
                  </a:cubicBezTo>
                  <a:cubicBezTo>
                    <a:pt x="2189" y="97"/>
                    <a:pt x="2189" y="97"/>
                    <a:pt x="2189" y="97"/>
                  </a:cubicBezTo>
                  <a:cubicBezTo>
                    <a:pt x="2210" y="99"/>
                    <a:pt x="2226" y="116"/>
                    <a:pt x="2226" y="137"/>
                  </a:cubicBezTo>
                  <a:cubicBezTo>
                    <a:pt x="2226" y="137"/>
                    <a:pt x="2226" y="137"/>
                    <a:pt x="2226" y="137"/>
                  </a:cubicBezTo>
                  <a:cubicBezTo>
                    <a:pt x="2226" y="158"/>
                    <a:pt x="2243" y="176"/>
                    <a:pt x="2265" y="176"/>
                  </a:cubicBezTo>
                  <a:cubicBezTo>
                    <a:pt x="2275" y="176"/>
                    <a:pt x="2275" y="176"/>
                    <a:pt x="2275" y="176"/>
                  </a:cubicBezTo>
                  <a:cubicBezTo>
                    <a:pt x="2276" y="176"/>
                    <a:pt x="2276" y="176"/>
                    <a:pt x="2276" y="176"/>
                  </a:cubicBezTo>
                  <a:cubicBezTo>
                    <a:pt x="2277" y="176"/>
                    <a:pt x="2277" y="176"/>
                    <a:pt x="2277" y="176"/>
                  </a:cubicBezTo>
                  <a:cubicBezTo>
                    <a:pt x="2298" y="176"/>
                    <a:pt x="2298" y="176"/>
                    <a:pt x="2298" y="176"/>
                  </a:cubicBezTo>
                  <a:cubicBezTo>
                    <a:pt x="2639" y="176"/>
                    <a:pt x="2639" y="176"/>
                    <a:pt x="2639" y="176"/>
                  </a:cubicBezTo>
                  <a:cubicBezTo>
                    <a:pt x="2661" y="176"/>
                    <a:pt x="2661" y="176"/>
                    <a:pt x="2661" y="176"/>
                  </a:cubicBezTo>
                  <a:cubicBezTo>
                    <a:pt x="2662" y="176"/>
                    <a:pt x="2662" y="176"/>
                    <a:pt x="2662" y="176"/>
                  </a:cubicBezTo>
                  <a:cubicBezTo>
                    <a:pt x="2663" y="176"/>
                    <a:pt x="2663" y="176"/>
                    <a:pt x="2663" y="176"/>
                  </a:cubicBezTo>
                  <a:cubicBezTo>
                    <a:pt x="2672" y="176"/>
                    <a:pt x="2672" y="176"/>
                    <a:pt x="2672" y="176"/>
                  </a:cubicBezTo>
                  <a:cubicBezTo>
                    <a:pt x="2694" y="176"/>
                    <a:pt x="2712" y="158"/>
                    <a:pt x="2712" y="137"/>
                  </a:cubicBezTo>
                  <a:cubicBezTo>
                    <a:pt x="2712" y="137"/>
                    <a:pt x="2712" y="137"/>
                    <a:pt x="2712" y="137"/>
                  </a:cubicBezTo>
                  <a:cubicBezTo>
                    <a:pt x="2712" y="116"/>
                    <a:pt x="2728" y="99"/>
                    <a:pt x="2748" y="97"/>
                  </a:cubicBezTo>
                  <a:cubicBezTo>
                    <a:pt x="3182" y="97"/>
                    <a:pt x="3182" y="97"/>
                    <a:pt x="3182" y="97"/>
                  </a:cubicBezTo>
                  <a:cubicBezTo>
                    <a:pt x="3208" y="97"/>
                    <a:pt x="3230" y="75"/>
                    <a:pt x="3230" y="49"/>
                  </a:cubicBezTo>
                  <a:cubicBezTo>
                    <a:pt x="3230" y="22"/>
                    <a:pt x="3208" y="0"/>
                    <a:pt x="3182" y="0"/>
                  </a:cubicBezTo>
                </a:path>
              </a:pathLst>
            </a:custGeom>
            <a:solidFill>
              <a:sysClr val="window" lastClr="FFFFFF">
                <a:lumMod val="75000"/>
              </a:sys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FFA607B6-3C40-4746-B669-7368A5A06A97}"/>
                </a:ext>
              </a:extLst>
            </p:cNvPr>
            <p:cNvSpPr/>
            <p:nvPr/>
          </p:nvSpPr>
          <p:spPr bwMode="auto">
            <a:xfrm>
              <a:off x="5703888" y="2462219"/>
              <a:ext cx="2062163" cy="2079625"/>
            </a:xfrm>
            <a:custGeom>
              <a:avLst/>
              <a:gdLst>
                <a:gd name="T0" fmla="*/ 649 w 1299"/>
                <a:gd name="T1" fmla="*/ 0 h 1310"/>
                <a:gd name="T2" fmla="*/ 0 w 1299"/>
                <a:gd name="T3" fmla="*/ 1310 h 1310"/>
                <a:gd name="T4" fmla="*/ 1299 w 1299"/>
                <a:gd name="T5" fmla="*/ 1310 h 1310"/>
                <a:gd name="T6" fmla="*/ 649 w 1299"/>
                <a:gd name="T7" fmla="*/ 0 h 1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99" h="1310">
                  <a:moveTo>
                    <a:pt x="649" y="0"/>
                  </a:moveTo>
                  <a:lnTo>
                    <a:pt x="0" y="1310"/>
                  </a:lnTo>
                  <a:lnTo>
                    <a:pt x="1299" y="1310"/>
                  </a:lnTo>
                  <a:lnTo>
                    <a:pt x="649" y="0"/>
                  </a:lnTo>
                  <a:close/>
                </a:path>
              </a:pathLst>
            </a:custGeom>
            <a:solidFill>
              <a:srgbClr val="30A3D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B86B7868-277A-4D3D-9F59-7ABBE9AEC070}"/>
                </a:ext>
              </a:extLst>
            </p:cNvPr>
            <p:cNvSpPr/>
            <p:nvPr/>
          </p:nvSpPr>
          <p:spPr bwMode="auto">
            <a:xfrm>
              <a:off x="5703888" y="2462219"/>
              <a:ext cx="2062163" cy="2079625"/>
            </a:xfrm>
            <a:custGeom>
              <a:avLst/>
              <a:gdLst>
                <a:gd name="T0" fmla="*/ 649 w 1299"/>
                <a:gd name="T1" fmla="*/ 0 h 1310"/>
                <a:gd name="T2" fmla="*/ 0 w 1299"/>
                <a:gd name="T3" fmla="*/ 1310 h 1310"/>
                <a:gd name="T4" fmla="*/ 1299 w 1299"/>
                <a:gd name="T5" fmla="*/ 1310 h 1310"/>
                <a:gd name="T6" fmla="*/ 649 w 1299"/>
                <a:gd name="T7" fmla="*/ 0 h 1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99" h="1310">
                  <a:moveTo>
                    <a:pt x="649" y="0"/>
                  </a:moveTo>
                  <a:lnTo>
                    <a:pt x="0" y="1310"/>
                  </a:lnTo>
                  <a:lnTo>
                    <a:pt x="1299" y="1310"/>
                  </a:lnTo>
                  <a:lnTo>
                    <a:pt x="64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9E43FA72-329B-46EF-81BF-B7FC29AFFD41}"/>
                </a:ext>
              </a:extLst>
            </p:cNvPr>
            <p:cNvSpPr/>
            <p:nvPr/>
          </p:nvSpPr>
          <p:spPr bwMode="auto">
            <a:xfrm>
              <a:off x="4505325" y="3100394"/>
              <a:ext cx="1430338" cy="1441450"/>
            </a:xfrm>
            <a:custGeom>
              <a:avLst/>
              <a:gdLst>
                <a:gd name="T0" fmla="*/ 451 w 901"/>
                <a:gd name="T1" fmla="*/ 0 h 908"/>
                <a:gd name="T2" fmla="*/ 0 w 901"/>
                <a:gd name="T3" fmla="*/ 908 h 908"/>
                <a:gd name="T4" fmla="*/ 901 w 901"/>
                <a:gd name="T5" fmla="*/ 908 h 908"/>
                <a:gd name="T6" fmla="*/ 451 w 901"/>
                <a:gd name="T7" fmla="*/ 0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1" h="908">
                  <a:moveTo>
                    <a:pt x="451" y="0"/>
                  </a:moveTo>
                  <a:lnTo>
                    <a:pt x="0" y="908"/>
                  </a:lnTo>
                  <a:lnTo>
                    <a:pt x="901" y="908"/>
                  </a:lnTo>
                  <a:lnTo>
                    <a:pt x="451" y="0"/>
                  </a:lnTo>
                  <a:close/>
                </a:path>
              </a:pathLst>
            </a:custGeom>
            <a:solidFill>
              <a:srgbClr val="30A3D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596CE8A2-D8F6-4201-9642-B0F6444D8A21}"/>
                </a:ext>
              </a:extLst>
            </p:cNvPr>
            <p:cNvSpPr/>
            <p:nvPr/>
          </p:nvSpPr>
          <p:spPr bwMode="auto">
            <a:xfrm>
              <a:off x="4505325" y="3100394"/>
              <a:ext cx="1430338" cy="1441450"/>
            </a:xfrm>
            <a:custGeom>
              <a:avLst/>
              <a:gdLst>
                <a:gd name="T0" fmla="*/ 451 w 901"/>
                <a:gd name="T1" fmla="*/ 0 h 908"/>
                <a:gd name="T2" fmla="*/ 0 w 901"/>
                <a:gd name="T3" fmla="*/ 908 h 908"/>
                <a:gd name="T4" fmla="*/ 901 w 901"/>
                <a:gd name="T5" fmla="*/ 908 h 908"/>
                <a:gd name="T6" fmla="*/ 451 w 901"/>
                <a:gd name="T7" fmla="*/ 0 h 9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01" h="908">
                  <a:moveTo>
                    <a:pt x="451" y="0"/>
                  </a:moveTo>
                  <a:lnTo>
                    <a:pt x="0" y="908"/>
                  </a:lnTo>
                  <a:lnTo>
                    <a:pt x="901" y="908"/>
                  </a:lnTo>
                  <a:lnTo>
                    <a:pt x="45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B77203AC-AA86-4756-AEFF-854E4F30B69D}"/>
                </a:ext>
              </a:extLst>
            </p:cNvPr>
            <p:cNvSpPr/>
            <p:nvPr/>
          </p:nvSpPr>
          <p:spPr bwMode="auto">
            <a:xfrm>
              <a:off x="3595688" y="3584582"/>
              <a:ext cx="950913" cy="957263"/>
            </a:xfrm>
            <a:custGeom>
              <a:avLst/>
              <a:gdLst>
                <a:gd name="T0" fmla="*/ 299 w 599"/>
                <a:gd name="T1" fmla="*/ 0 h 603"/>
                <a:gd name="T2" fmla="*/ 0 w 599"/>
                <a:gd name="T3" fmla="*/ 603 h 603"/>
                <a:gd name="T4" fmla="*/ 599 w 599"/>
                <a:gd name="T5" fmla="*/ 603 h 603"/>
                <a:gd name="T6" fmla="*/ 299 w 599"/>
                <a:gd name="T7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9" h="603">
                  <a:moveTo>
                    <a:pt x="299" y="0"/>
                  </a:moveTo>
                  <a:lnTo>
                    <a:pt x="0" y="603"/>
                  </a:lnTo>
                  <a:lnTo>
                    <a:pt x="599" y="603"/>
                  </a:lnTo>
                  <a:lnTo>
                    <a:pt x="299" y="0"/>
                  </a:lnTo>
                  <a:close/>
                </a:path>
              </a:pathLst>
            </a:custGeom>
            <a:solidFill>
              <a:srgbClr val="30A3D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3E28B68C-974C-45A9-8A9B-CF9AA120CE1D}"/>
                </a:ext>
              </a:extLst>
            </p:cNvPr>
            <p:cNvSpPr/>
            <p:nvPr/>
          </p:nvSpPr>
          <p:spPr bwMode="auto">
            <a:xfrm>
              <a:off x="7499350" y="3584582"/>
              <a:ext cx="950913" cy="957263"/>
            </a:xfrm>
            <a:custGeom>
              <a:avLst/>
              <a:gdLst>
                <a:gd name="T0" fmla="*/ 300 w 599"/>
                <a:gd name="T1" fmla="*/ 0 h 603"/>
                <a:gd name="T2" fmla="*/ 0 w 599"/>
                <a:gd name="T3" fmla="*/ 603 h 603"/>
                <a:gd name="T4" fmla="*/ 599 w 599"/>
                <a:gd name="T5" fmla="*/ 603 h 603"/>
                <a:gd name="T6" fmla="*/ 300 w 599"/>
                <a:gd name="T7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9" h="603">
                  <a:moveTo>
                    <a:pt x="300" y="0"/>
                  </a:moveTo>
                  <a:lnTo>
                    <a:pt x="0" y="603"/>
                  </a:lnTo>
                  <a:lnTo>
                    <a:pt x="599" y="603"/>
                  </a:lnTo>
                  <a:lnTo>
                    <a:pt x="300" y="0"/>
                  </a:lnTo>
                  <a:close/>
                </a:path>
              </a:pathLst>
            </a:custGeom>
            <a:solidFill>
              <a:srgbClr val="30A3D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E82E5964-A8F7-4E21-BE42-D45F730FA51B}"/>
                </a:ext>
              </a:extLst>
            </p:cNvPr>
            <p:cNvSpPr/>
            <p:nvPr/>
          </p:nvSpPr>
          <p:spPr bwMode="auto">
            <a:xfrm>
              <a:off x="7499350" y="3584582"/>
              <a:ext cx="950913" cy="957263"/>
            </a:xfrm>
            <a:custGeom>
              <a:avLst/>
              <a:gdLst>
                <a:gd name="T0" fmla="*/ 300 w 599"/>
                <a:gd name="T1" fmla="*/ 0 h 603"/>
                <a:gd name="T2" fmla="*/ 0 w 599"/>
                <a:gd name="T3" fmla="*/ 603 h 603"/>
                <a:gd name="T4" fmla="*/ 599 w 599"/>
                <a:gd name="T5" fmla="*/ 603 h 603"/>
                <a:gd name="T6" fmla="*/ 300 w 599"/>
                <a:gd name="T7" fmla="*/ 0 h 6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9" h="603">
                  <a:moveTo>
                    <a:pt x="300" y="0"/>
                  </a:moveTo>
                  <a:lnTo>
                    <a:pt x="0" y="603"/>
                  </a:lnTo>
                  <a:lnTo>
                    <a:pt x="599" y="603"/>
                  </a:lnTo>
                  <a:lnTo>
                    <a:pt x="30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9716B24B-876D-4F34-86A8-BA6559E8C783}"/>
                </a:ext>
              </a:extLst>
            </p:cNvPr>
            <p:cNvSpPr/>
            <p:nvPr/>
          </p:nvSpPr>
          <p:spPr bwMode="auto">
            <a:xfrm>
              <a:off x="6278563" y="2627319"/>
              <a:ext cx="949325" cy="1914525"/>
            </a:xfrm>
            <a:custGeom>
              <a:avLst/>
              <a:gdLst>
                <a:gd name="T0" fmla="*/ 0 w 598"/>
                <a:gd name="T1" fmla="*/ 1206 h 1206"/>
                <a:gd name="T2" fmla="*/ 127 w 598"/>
                <a:gd name="T3" fmla="*/ 1206 h 1206"/>
                <a:gd name="T4" fmla="*/ 598 w 598"/>
                <a:gd name="T5" fmla="*/ 0 h 1206"/>
                <a:gd name="T6" fmla="*/ 0 w 598"/>
                <a:gd name="T7" fmla="*/ 1206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8" h="1206">
                  <a:moveTo>
                    <a:pt x="0" y="1206"/>
                  </a:moveTo>
                  <a:lnTo>
                    <a:pt x="127" y="1206"/>
                  </a:lnTo>
                  <a:lnTo>
                    <a:pt x="598" y="0"/>
                  </a:lnTo>
                  <a:lnTo>
                    <a:pt x="0" y="1206"/>
                  </a:lnTo>
                  <a:close/>
                </a:path>
              </a:pathLst>
            </a:custGeom>
            <a:solidFill>
              <a:srgbClr val="30A3DC">
                <a:lumMod val="85000"/>
                <a:lumOff val="1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FC6E662D-1471-478E-B3B1-D8B91C92BB03}"/>
                </a:ext>
              </a:extLst>
            </p:cNvPr>
            <p:cNvSpPr/>
            <p:nvPr/>
          </p:nvSpPr>
          <p:spPr bwMode="auto">
            <a:xfrm>
              <a:off x="6278563" y="2627319"/>
              <a:ext cx="949325" cy="1914525"/>
            </a:xfrm>
            <a:custGeom>
              <a:avLst/>
              <a:gdLst>
                <a:gd name="T0" fmla="*/ 0 w 598"/>
                <a:gd name="T1" fmla="*/ 1206 h 1206"/>
                <a:gd name="T2" fmla="*/ 127 w 598"/>
                <a:gd name="T3" fmla="*/ 1206 h 1206"/>
                <a:gd name="T4" fmla="*/ 598 w 598"/>
                <a:gd name="T5" fmla="*/ 0 h 1206"/>
                <a:gd name="T6" fmla="*/ 0 w 598"/>
                <a:gd name="T7" fmla="*/ 1206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8" h="1206">
                  <a:moveTo>
                    <a:pt x="0" y="1206"/>
                  </a:moveTo>
                  <a:lnTo>
                    <a:pt x="127" y="1206"/>
                  </a:lnTo>
                  <a:lnTo>
                    <a:pt x="598" y="0"/>
                  </a:lnTo>
                  <a:lnTo>
                    <a:pt x="0" y="120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FE4F7C22-4B75-4DB0-A3C9-81049FACEC6C}"/>
                </a:ext>
              </a:extLst>
            </p:cNvPr>
            <p:cNvSpPr/>
            <p:nvPr/>
          </p:nvSpPr>
          <p:spPr bwMode="auto">
            <a:xfrm>
              <a:off x="6480175" y="2627319"/>
              <a:ext cx="747713" cy="1914525"/>
            </a:xfrm>
            <a:custGeom>
              <a:avLst/>
              <a:gdLst>
                <a:gd name="T0" fmla="*/ 0 w 471"/>
                <a:gd name="T1" fmla="*/ 1206 h 1206"/>
                <a:gd name="T2" fmla="*/ 172 w 471"/>
                <a:gd name="T3" fmla="*/ 1206 h 1206"/>
                <a:gd name="T4" fmla="*/ 471 w 471"/>
                <a:gd name="T5" fmla="*/ 0 h 1206"/>
                <a:gd name="T6" fmla="*/ 0 w 471"/>
                <a:gd name="T7" fmla="*/ 1206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1" h="1206">
                  <a:moveTo>
                    <a:pt x="0" y="1206"/>
                  </a:moveTo>
                  <a:lnTo>
                    <a:pt x="172" y="1206"/>
                  </a:lnTo>
                  <a:lnTo>
                    <a:pt x="471" y="0"/>
                  </a:lnTo>
                  <a:lnTo>
                    <a:pt x="0" y="1206"/>
                  </a:lnTo>
                  <a:close/>
                </a:path>
              </a:pathLst>
            </a:custGeom>
            <a:solidFill>
              <a:srgbClr val="30A3DC">
                <a:lumMod val="75000"/>
                <a:lumOff val="2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FA523CE8-DAE2-454D-8338-F80F68F3B144}"/>
                </a:ext>
              </a:extLst>
            </p:cNvPr>
            <p:cNvSpPr/>
            <p:nvPr/>
          </p:nvSpPr>
          <p:spPr bwMode="auto">
            <a:xfrm>
              <a:off x="6480175" y="2627319"/>
              <a:ext cx="747713" cy="1914525"/>
            </a:xfrm>
            <a:custGeom>
              <a:avLst/>
              <a:gdLst>
                <a:gd name="T0" fmla="*/ 0 w 471"/>
                <a:gd name="T1" fmla="*/ 1206 h 1206"/>
                <a:gd name="T2" fmla="*/ 172 w 471"/>
                <a:gd name="T3" fmla="*/ 1206 h 1206"/>
                <a:gd name="T4" fmla="*/ 471 w 471"/>
                <a:gd name="T5" fmla="*/ 0 h 1206"/>
                <a:gd name="T6" fmla="*/ 0 w 471"/>
                <a:gd name="T7" fmla="*/ 1206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1" h="1206">
                  <a:moveTo>
                    <a:pt x="0" y="1206"/>
                  </a:moveTo>
                  <a:lnTo>
                    <a:pt x="172" y="1206"/>
                  </a:lnTo>
                  <a:lnTo>
                    <a:pt x="471" y="0"/>
                  </a:lnTo>
                  <a:lnTo>
                    <a:pt x="0" y="120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427651DE-6E70-45BB-BFF3-3FE522A61A83}"/>
                </a:ext>
              </a:extLst>
            </p:cNvPr>
            <p:cNvSpPr/>
            <p:nvPr/>
          </p:nvSpPr>
          <p:spPr bwMode="auto">
            <a:xfrm>
              <a:off x="6753225" y="2627319"/>
              <a:ext cx="474663" cy="1914525"/>
            </a:xfrm>
            <a:custGeom>
              <a:avLst/>
              <a:gdLst>
                <a:gd name="T0" fmla="*/ 0 w 299"/>
                <a:gd name="T1" fmla="*/ 1206 h 1206"/>
                <a:gd name="T2" fmla="*/ 149 w 299"/>
                <a:gd name="T3" fmla="*/ 1206 h 1206"/>
                <a:gd name="T4" fmla="*/ 299 w 299"/>
                <a:gd name="T5" fmla="*/ 0 h 1206"/>
                <a:gd name="T6" fmla="*/ 0 w 299"/>
                <a:gd name="T7" fmla="*/ 1206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9" h="1206">
                  <a:moveTo>
                    <a:pt x="0" y="1206"/>
                  </a:moveTo>
                  <a:lnTo>
                    <a:pt x="149" y="1206"/>
                  </a:lnTo>
                  <a:lnTo>
                    <a:pt x="299" y="0"/>
                  </a:lnTo>
                  <a:lnTo>
                    <a:pt x="0" y="1206"/>
                  </a:lnTo>
                  <a:close/>
                </a:path>
              </a:pathLst>
            </a:custGeom>
            <a:solidFill>
              <a:srgbClr val="30A3DC">
                <a:lumMod val="85000"/>
                <a:lumOff val="1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C282C08E-BDAB-4D08-BDDA-2698562B06A7}"/>
                </a:ext>
              </a:extLst>
            </p:cNvPr>
            <p:cNvSpPr/>
            <p:nvPr/>
          </p:nvSpPr>
          <p:spPr bwMode="auto">
            <a:xfrm>
              <a:off x="6753225" y="2627319"/>
              <a:ext cx="474663" cy="1914525"/>
            </a:xfrm>
            <a:custGeom>
              <a:avLst/>
              <a:gdLst>
                <a:gd name="T0" fmla="*/ 0 w 299"/>
                <a:gd name="T1" fmla="*/ 1206 h 1206"/>
                <a:gd name="T2" fmla="*/ 149 w 299"/>
                <a:gd name="T3" fmla="*/ 1206 h 1206"/>
                <a:gd name="T4" fmla="*/ 299 w 299"/>
                <a:gd name="T5" fmla="*/ 0 h 1206"/>
                <a:gd name="T6" fmla="*/ 0 w 299"/>
                <a:gd name="T7" fmla="*/ 1206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9" h="1206">
                  <a:moveTo>
                    <a:pt x="0" y="1206"/>
                  </a:moveTo>
                  <a:lnTo>
                    <a:pt x="149" y="1206"/>
                  </a:lnTo>
                  <a:lnTo>
                    <a:pt x="299" y="0"/>
                  </a:lnTo>
                  <a:lnTo>
                    <a:pt x="0" y="120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9B5E78C5-2906-4E25-A217-2B8D22957995}"/>
                </a:ext>
              </a:extLst>
            </p:cNvPr>
            <p:cNvSpPr/>
            <p:nvPr/>
          </p:nvSpPr>
          <p:spPr bwMode="auto">
            <a:xfrm>
              <a:off x="7227888" y="2627319"/>
              <a:ext cx="950913" cy="1914525"/>
            </a:xfrm>
            <a:custGeom>
              <a:avLst/>
              <a:gdLst>
                <a:gd name="T0" fmla="*/ 0 w 599"/>
                <a:gd name="T1" fmla="*/ 0 h 1206"/>
                <a:gd name="T2" fmla="*/ 471 w 599"/>
                <a:gd name="T3" fmla="*/ 1206 h 1206"/>
                <a:gd name="T4" fmla="*/ 599 w 599"/>
                <a:gd name="T5" fmla="*/ 1206 h 1206"/>
                <a:gd name="T6" fmla="*/ 0 w 599"/>
                <a:gd name="T7" fmla="*/ 0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9" h="1206">
                  <a:moveTo>
                    <a:pt x="0" y="0"/>
                  </a:moveTo>
                  <a:lnTo>
                    <a:pt x="471" y="1206"/>
                  </a:lnTo>
                  <a:lnTo>
                    <a:pt x="599" y="12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0A3DC">
                <a:lumMod val="85000"/>
                <a:lumOff val="1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5C973FF3-B51D-4C87-8196-867D42D80D35}"/>
                </a:ext>
              </a:extLst>
            </p:cNvPr>
            <p:cNvSpPr/>
            <p:nvPr/>
          </p:nvSpPr>
          <p:spPr bwMode="auto">
            <a:xfrm>
              <a:off x="7227888" y="2627319"/>
              <a:ext cx="747713" cy="1914525"/>
            </a:xfrm>
            <a:custGeom>
              <a:avLst/>
              <a:gdLst>
                <a:gd name="T0" fmla="*/ 299 w 471"/>
                <a:gd name="T1" fmla="*/ 1206 h 1206"/>
                <a:gd name="T2" fmla="*/ 471 w 471"/>
                <a:gd name="T3" fmla="*/ 1206 h 1206"/>
                <a:gd name="T4" fmla="*/ 0 w 471"/>
                <a:gd name="T5" fmla="*/ 0 h 1206"/>
                <a:gd name="T6" fmla="*/ 299 w 471"/>
                <a:gd name="T7" fmla="*/ 1206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1" h="1206">
                  <a:moveTo>
                    <a:pt x="299" y="1206"/>
                  </a:moveTo>
                  <a:lnTo>
                    <a:pt x="471" y="1206"/>
                  </a:lnTo>
                  <a:lnTo>
                    <a:pt x="0" y="0"/>
                  </a:lnTo>
                  <a:lnTo>
                    <a:pt x="299" y="1206"/>
                  </a:lnTo>
                  <a:close/>
                </a:path>
              </a:pathLst>
            </a:custGeom>
            <a:solidFill>
              <a:srgbClr val="30A3DC">
                <a:lumMod val="75000"/>
                <a:lumOff val="2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D7E2DB9D-38FA-4F10-B0DA-7AAD5B767792}"/>
                </a:ext>
              </a:extLst>
            </p:cNvPr>
            <p:cNvSpPr/>
            <p:nvPr/>
          </p:nvSpPr>
          <p:spPr bwMode="auto">
            <a:xfrm>
              <a:off x="7227888" y="2627319"/>
              <a:ext cx="474663" cy="1914525"/>
            </a:xfrm>
            <a:custGeom>
              <a:avLst/>
              <a:gdLst>
                <a:gd name="T0" fmla="*/ 150 w 299"/>
                <a:gd name="T1" fmla="*/ 1206 h 1206"/>
                <a:gd name="T2" fmla="*/ 299 w 299"/>
                <a:gd name="T3" fmla="*/ 1206 h 1206"/>
                <a:gd name="T4" fmla="*/ 0 w 299"/>
                <a:gd name="T5" fmla="*/ 0 h 1206"/>
                <a:gd name="T6" fmla="*/ 150 w 299"/>
                <a:gd name="T7" fmla="*/ 1206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9" h="1206">
                  <a:moveTo>
                    <a:pt x="150" y="1206"/>
                  </a:moveTo>
                  <a:lnTo>
                    <a:pt x="299" y="1206"/>
                  </a:lnTo>
                  <a:lnTo>
                    <a:pt x="0" y="0"/>
                  </a:lnTo>
                  <a:lnTo>
                    <a:pt x="150" y="1206"/>
                  </a:lnTo>
                  <a:close/>
                </a:path>
              </a:pathLst>
            </a:custGeom>
            <a:solidFill>
              <a:srgbClr val="30A3DC">
                <a:lumMod val="85000"/>
                <a:lumOff val="1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0F8233A4-46C3-47BA-B966-987D81D35368}"/>
                </a:ext>
              </a:extLst>
            </p:cNvPr>
            <p:cNvSpPr/>
            <p:nvPr/>
          </p:nvSpPr>
          <p:spPr bwMode="auto">
            <a:xfrm>
              <a:off x="7227888" y="2627319"/>
              <a:ext cx="474663" cy="1914525"/>
            </a:xfrm>
            <a:custGeom>
              <a:avLst/>
              <a:gdLst>
                <a:gd name="T0" fmla="*/ 150 w 299"/>
                <a:gd name="T1" fmla="*/ 1206 h 1206"/>
                <a:gd name="T2" fmla="*/ 299 w 299"/>
                <a:gd name="T3" fmla="*/ 1206 h 1206"/>
                <a:gd name="T4" fmla="*/ 0 w 299"/>
                <a:gd name="T5" fmla="*/ 0 h 1206"/>
                <a:gd name="T6" fmla="*/ 150 w 299"/>
                <a:gd name="T7" fmla="*/ 1206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9" h="1206">
                  <a:moveTo>
                    <a:pt x="150" y="1206"/>
                  </a:moveTo>
                  <a:lnTo>
                    <a:pt x="299" y="1206"/>
                  </a:lnTo>
                  <a:lnTo>
                    <a:pt x="0" y="0"/>
                  </a:lnTo>
                  <a:lnTo>
                    <a:pt x="150" y="1206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D27A8C8A-1A57-4EF5-BCC4-4DB5CA6209AB}"/>
                </a:ext>
              </a:extLst>
            </p:cNvPr>
            <p:cNvSpPr/>
            <p:nvPr/>
          </p:nvSpPr>
          <p:spPr bwMode="auto">
            <a:xfrm>
              <a:off x="6989763" y="2627319"/>
              <a:ext cx="476250" cy="1914525"/>
            </a:xfrm>
            <a:custGeom>
              <a:avLst/>
              <a:gdLst>
                <a:gd name="T0" fmla="*/ 150 w 300"/>
                <a:gd name="T1" fmla="*/ 0 h 1206"/>
                <a:gd name="T2" fmla="*/ 0 w 300"/>
                <a:gd name="T3" fmla="*/ 1206 h 1206"/>
                <a:gd name="T4" fmla="*/ 104 w 300"/>
                <a:gd name="T5" fmla="*/ 1206 h 1206"/>
                <a:gd name="T6" fmla="*/ 150 w 300"/>
                <a:gd name="T7" fmla="*/ 1206 h 1206"/>
                <a:gd name="T8" fmla="*/ 197 w 300"/>
                <a:gd name="T9" fmla="*/ 1206 h 1206"/>
                <a:gd name="T10" fmla="*/ 300 w 300"/>
                <a:gd name="T11" fmla="*/ 1206 h 1206"/>
                <a:gd name="T12" fmla="*/ 150 w 300"/>
                <a:gd name="T13" fmla="*/ 0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0" h="1206">
                  <a:moveTo>
                    <a:pt x="150" y="0"/>
                  </a:moveTo>
                  <a:lnTo>
                    <a:pt x="0" y="1206"/>
                  </a:lnTo>
                  <a:lnTo>
                    <a:pt x="104" y="1206"/>
                  </a:lnTo>
                  <a:lnTo>
                    <a:pt x="150" y="1206"/>
                  </a:lnTo>
                  <a:lnTo>
                    <a:pt x="197" y="1206"/>
                  </a:lnTo>
                  <a:lnTo>
                    <a:pt x="300" y="1206"/>
                  </a:lnTo>
                  <a:lnTo>
                    <a:pt x="150" y="0"/>
                  </a:lnTo>
                  <a:close/>
                </a:path>
              </a:pathLst>
            </a:custGeom>
            <a:solidFill>
              <a:srgbClr val="30A3DC">
                <a:lumMod val="75000"/>
                <a:lumOff val="2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24D0941B-6CC8-463A-8F6E-04C829B37072}"/>
                </a:ext>
              </a:extLst>
            </p:cNvPr>
            <p:cNvSpPr/>
            <p:nvPr/>
          </p:nvSpPr>
          <p:spPr bwMode="auto">
            <a:xfrm>
              <a:off x="6989763" y="2627319"/>
              <a:ext cx="476250" cy="1914525"/>
            </a:xfrm>
            <a:custGeom>
              <a:avLst/>
              <a:gdLst>
                <a:gd name="T0" fmla="*/ 150 w 300"/>
                <a:gd name="T1" fmla="*/ 0 h 1206"/>
                <a:gd name="T2" fmla="*/ 0 w 300"/>
                <a:gd name="T3" fmla="*/ 1206 h 1206"/>
                <a:gd name="T4" fmla="*/ 104 w 300"/>
                <a:gd name="T5" fmla="*/ 1206 h 1206"/>
                <a:gd name="T6" fmla="*/ 150 w 300"/>
                <a:gd name="T7" fmla="*/ 1206 h 1206"/>
                <a:gd name="T8" fmla="*/ 197 w 300"/>
                <a:gd name="T9" fmla="*/ 1206 h 1206"/>
                <a:gd name="T10" fmla="*/ 300 w 300"/>
                <a:gd name="T11" fmla="*/ 1206 h 1206"/>
                <a:gd name="T12" fmla="*/ 150 w 300"/>
                <a:gd name="T13" fmla="*/ 0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0" h="1206">
                  <a:moveTo>
                    <a:pt x="150" y="0"/>
                  </a:moveTo>
                  <a:lnTo>
                    <a:pt x="0" y="1206"/>
                  </a:lnTo>
                  <a:lnTo>
                    <a:pt x="104" y="1206"/>
                  </a:lnTo>
                  <a:lnTo>
                    <a:pt x="150" y="1206"/>
                  </a:lnTo>
                  <a:lnTo>
                    <a:pt x="197" y="1206"/>
                  </a:lnTo>
                  <a:lnTo>
                    <a:pt x="300" y="1206"/>
                  </a:lnTo>
                  <a:lnTo>
                    <a:pt x="15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CEB7BB76-6734-435E-B3B0-93FB0C7F5B9D}"/>
                </a:ext>
              </a:extLst>
            </p:cNvPr>
            <p:cNvSpPr/>
            <p:nvPr/>
          </p:nvSpPr>
          <p:spPr bwMode="auto">
            <a:xfrm>
              <a:off x="6921500" y="2627319"/>
              <a:ext cx="614363" cy="842963"/>
            </a:xfrm>
            <a:custGeom>
              <a:avLst/>
              <a:gdLst>
                <a:gd name="T0" fmla="*/ 193 w 387"/>
                <a:gd name="T1" fmla="*/ 0 h 531"/>
                <a:gd name="T2" fmla="*/ 0 w 387"/>
                <a:gd name="T3" fmla="*/ 389 h 531"/>
                <a:gd name="T4" fmla="*/ 65 w 387"/>
                <a:gd name="T5" fmla="*/ 330 h 531"/>
                <a:gd name="T6" fmla="*/ 80 w 387"/>
                <a:gd name="T7" fmla="*/ 458 h 531"/>
                <a:gd name="T8" fmla="*/ 147 w 387"/>
                <a:gd name="T9" fmla="*/ 373 h 531"/>
                <a:gd name="T10" fmla="*/ 193 w 387"/>
                <a:gd name="T11" fmla="*/ 531 h 531"/>
                <a:gd name="T12" fmla="*/ 240 w 387"/>
                <a:gd name="T13" fmla="*/ 373 h 531"/>
                <a:gd name="T14" fmla="*/ 307 w 387"/>
                <a:gd name="T15" fmla="*/ 458 h 531"/>
                <a:gd name="T16" fmla="*/ 322 w 387"/>
                <a:gd name="T17" fmla="*/ 330 h 531"/>
                <a:gd name="T18" fmla="*/ 387 w 387"/>
                <a:gd name="T19" fmla="*/ 389 h 531"/>
                <a:gd name="T20" fmla="*/ 193 w 387"/>
                <a:gd name="T21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7" h="531">
                  <a:moveTo>
                    <a:pt x="193" y="0"/>
                  </a:moveTo>
                  <a:lnTo>
                    <a:pt x="0" y="389"/>
                  </a:lnTo>
                  <a:lnTo>
                    <a:pt x="65" y="330"/>
                  </a:lnTo>
                  <a:lnTo>
                    <a:pt x="80" y="458"/>
                  </a:lnTo>
                  <a:lnTo>
                    <a:pt x="147" y="373"/>
                  </a:lnTo>
                  <a:lnTo>
                    <a:pt x="193" y="531"/>
                  </a:lnTo>
                  <a:lnTo>
                    <a:pt x="240" y="373"/>
                  </a:lnTo>
                  <a:lnTo>
                    <a:pt x="307" y="458"/>
                  </a:lnTo>
                  <a:lnTo>
                    <a:pt x="322" y="330"/>
                  </a:lnTo>
                  <a:lnTo>
                    <a:pt x="387" y="389"/>
                  </a:lnTo>
                  <a:lnTo>
                    <a:pt x="193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30" name="任意多边形: 形状 129">
              <a:extLst>
                <a:ext uri="{FF2B5EF4-FFF2-40B4-BE49-F238E27FC236}">
                  <a16:creationId xmlns:a16="http://schemas.microsoft.com/office/drawing/2014/main" id="{05A05762-9187-4682-BBA4-E9B8F810020C}"/>
                </a:ext>
              </a:extLst>
            </p:cNvPr>
            <p:cNvSpPr/>
            <p:nvPr/>
          </p:nvSpPr>
          <p:spPr bwMode="auto">
            <a:xfrm>
              <a:off x="7227888" y="2627319"/>
              <a:ext cx="307975" cy="617538"/>
            </a:xfrm>
            <a:custGeom>
              <a:avLst/>
              <a:gdLst>
                <a:gd name="T0" fmla="*/ 0 w 194"/>
                <a:gd name="T1" fmla="*/ 0 h 389"/>
                <a:gd name="T2" fmla="*/ 129 w 194"/>
                <a:gd name="T3" fmla="*/ 330 h 389"/>
                <a:gd name="T4" fmla="*/ 194 w 194"/>
                <a:gd name="T5" fmla="*/ 389 h 389"/>
                <a:gd name="T6" fmla="*/ 0 w 194"/>
                <a:gd name="T7" fmla="*/ 0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4" h="389">
                  <a:moveTo>
                    <a:pt x="0" y="0"/>
                  </a:moveTo>
                  <a:lnTo>
                    <a:pt x="129" y="330"/>
                  </a:lnTo>
                  <a:lnTo>
                    <a:pt x="194" y="38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31" name="任意多边形: 形状 130">
              <a:extLst>
                <a:ext uri="{FF2B5EF4-FFF2-40B4-BE49-F238E27FC236}">
                  <a16:creationId xmlns:a16="http://schemas.microsoft.com/office/drawing/2014/main" id="{ADD3C111-4E45-413C-B834-4ECE899CCAC0}"/>
                </a:ext>
              </a:extLst>
            </p:cNvPr>
            <p:cNvSpPr/>
            <p:nvPr/>
          </p:nvSpPr>
          <p:spPr bwMode="auto">
            <a:xfrm>
              <a:off x="6921500" y="2627319"/>
              <a:ext cx="306388" cy="617538"/>
            </a:xfrm>
            <a:custGeom>
              <a:avLst/>
              <a:gdLst>
                <a:gd name="T0" fmla="*/ 65 w 193"/>
                <a:gd name="T1" fmla="*/ 330 h 389"/>
                <a:gd name="T2" fmla="*/ 193 w 193"/>
                <a:gd name="T3" fmla="*/ 0 h 389"/>
                <a:gd name="T4" fmla="*/ 0 w 193"/>
                <a:gd name="T5" fmla="*/ 389 h 389"/>
                <a:gd name="T6" fmla="*/ 65 w 193"/>
                <a:gd name="T7" fmla="*/ 330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3" h="389">
                  <a:moveTo>
                    <a:pt x="65" y="330"/>
                  </a:moveTo>
                  <a:lnTo>
                    <a:pt x="193" y="0"/>
                  </a:lnTo>
                  <a:lnTo>
                    <a:pt x="0" y="389"/>
                  </a:lnTo>
                  <a:lnTo>
                    <a:pt x="65" y="330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32" name="任意多边形: 形状 131">
              <a:extLst>
                <a:ext uri="{FF2B5EF4-FFF2-40B4-BE49-F238E27FC236}">
                  <a16:creationId xmlns:a16="http://schemas.microsoft.com/office/drawing/2014/main" id="{AE118A06-1B61-43F7-914C-7F822C350E2F}"/>
                </a:ext>
              </a:extLst>
            </p:cNvPr>
            <p:cNvSpPr/>
            <p:nvPr/>
          </p:nvSpPr>
          <p:spPr bwMode="auto">
            <a:xfrm>
              <a:off x="6796088" y="3429007"/>
              <a:ext cx="88900" cy="215900"/>
            </a:xfrm>
            <a:custGeom>
              <a:avLst/>
              <a:gdLst>
                <a:gd name="T0" fmla="*/ 21 w 56"/>
                <a:gd name="T1" fmla="*/ 0 h 136"/>
                <a:gd name="T2" fmla="*/ 11 w 56"/>
                <a:gd name="T3" fmla="*/ 21 h 136"/>
                <a:gd name="T4" fmla="*/ 0 w 56"/>
                <a:gd name="T5" fmla="*/ 43 h 136"/>
                <a:gd name="T6" fmla="*/ 22 w 56"/>
                <a:gd name="T7" fmla="*/ 136 h 136"/>
                <a:gd name="T8" fmla="*/ 56 w 56"/>
                <a:gd name="T9" fmla="*/ 50 h 136"/>
                <a:gd name="T10" fmla="*/ 21 w 56"/>
                <a:gd name="T11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" h="136">
                  <a:moveTo>
                    <a:pt x="21" y="0"/>
                  </a:moveTo>
                  <a:lnTo>
                    <a:pt x="11" y="21"/>
                  </a:lnTo>
                  <a:lnTo>
                    <a:pt x="0" y="43"/>
                  </a:lnTo>
                  <a:lnTo>
                    <a:pt x="22" y="136"/>
                  </a:lnTo>
                  <a:lnTo>
                    <a:pt x="56" y="5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30A3DC">
                <a:lumMod val="95000"/>
                <a:lumOff val="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33" name="任意多边形: 形状 132">
              <a:extLst>
                <a:ext uri="{FF2B5EF4-FFF2-40B4-BE49-F238E27FC236}">
                  <a16:creationId xmlns:a16="http://schemas.microsoft.com/office/drawing/2014/main" id="{3E6ECE72-079B-426E-9D83-C56806445031}"/>
                </a:ext>
              </a:extLst>
            </p:cNvPr>
            <p:cNvSpPr/>
            <p:nvPr/>
          </p:nvSpPr>
          <p:spPr bwMode="auto">
            <a:xfrm>
              <a:off x="6796088" y="3429007"/>
              <a:ext cx="88900" cy="215900"/>
            </a:xfrm>
            <a:custGeom>
              <a:avLst/>
              <a:gdLst>
                <a:gd name="T0" fmla="*/ 21 w 56"/>
                <a:gd name="T1" fmla="*/ 0 h 136"/>
                <a:gd name="T2" fmla="*/ 11 w 56"/>
                <a:gd name="T3" fmla="*/ 21 h 136"/>
                <a:gd name="T4" fmla="*/ 0 w 56"/>
                <a:gd name="T5" fmla="*/ 43 h 136"/>
                <a:gd name="T6" fmla="*/ 22 w 56"/>
                <a:gd name="T7" fmla="*/ 136 h 136"/>
                <a:gd name="T8" fmla="*/ 56 w 56"/>
                <a:gd name="T9" fmla="*/ 50 h 136"/>
                <a:gd name="T10" fmla="*/ 21 w 56"/>
                <a:gd name="T11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6" h="136">
                  <a:moveTo>
                    <a:pt x="21" y="0"/>
                  </a:moveTo>
                  <a:lnTo>
                    <a:pt x="11" y="21"/>
                  </a:lnTo>
                  <a:lnTo>
                    <a:pt x="0" y="43"/>
                  </a:lnTo>
                  <a:lnTo>
                    <a:pt x="22" y="136"/>
                  </a:lnTo>
                  <a:lnTo>
                    <a:pt x="56" y="50"/>
                  </a:lnTo>
                  <a:lnTo>
                    <a:pt x="2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34" name="任意多边形: 形状 133">
              <a:extLst>
                <a:ext uri="{FF2B5EF4-FFF2-40B4-BE49-F238E27FC236}">
                  <a16:creationId xmlns:a16="http://schemas.microsoft.com/office/drawing/2014/main" id="{778962CF-CF8E-4CA7-9DA1-84052AD16402}"/>
                </a:ext>
              </a:extLst>
            </p:cNvPr>
            <p:cNvSpPr/>
            <p:nvPr/>
          </p:nvSpPr>
          <p:spPr bwMode="auto">
            <a:xfrm>
              <a:off x="6831013" y="3508382"/>
              <a:ext cx="142875" cy="439738"/>
            </a:xfrm>
            <a:custGeom>
              <a:avLst/>
              <a:gdLst>
                <a:gd name="T0" fmla="*/ 34 w 90"/>
                <a:gd name="T1" fmla="*/ 0 h 277"/>
                <a:gd name="T2" fmla="*/ 0 w 90"/>
                <a:gd name="T3" fmla="*/ 86 h 277"/>
                <a:gd name="T4" fmla="*/ 44 w 90"/>
                <a:gd name="T5" fmla="*/ 277 h 277"/>
                <a:gd name="T6" fmla="*/ 90 w 90"/>
                <a:gd name="T7" fmla="*/ 87 h 277"/>
                <a:gd name="T8" fmla="*/ 34 w 90"/>
                <a:gd name="T9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77">
                  <a:moveTo>
                    <a:pt x="34" y="0"/>
                  </a:moveTo>
                  <a:lnTo>
                    <a:pt x="0" y="86"/>
                  </a:lnTo>
                  <a:lnTo>
                    <a:pt x="44" y="277"/>
                  </a:lnTo>
                  <a:lnTo>
                    <a:pt x="90" y="87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30A3DC">
                <a:lumMod val="85000"/>
                <a:lumOff val="1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任意多边形: 形状 134">
              <a:extLst>
                <a:ext uri="{FF2B5EF4-FFF2-40B4-BE49-F238E27FC236}">
                  <a16:creationId xmlns:a16="http://schemas.microsoft.com/office/drawing/2014/main" id="{D6A3E283-E0F6-4FF0-B588-14D9DED81133}"/>
                </a:ext>
              </a:extLst>
            </p:cNvPr>
            <p:cNvSpPr/>
            <p:nvPr/>
          </p:nvSpPr>
          <p:spPr bwMode="auto">
            <a:xfrm>
              <a:off x="6831013" y="3508382"/>
              <a:ext cx="142875" cy="439738"/>
            </a:xfrm>
            <a:custGeom>
              <a:avLst/>
              <a:gdLst>
                <a:gd name="T0" fmla="*/ 34 w 90"/>
                <a:gd name="T1" fmla="*/ 0 h 277"/>
                <a:gd name="T2" fmla="*/ 0 w 90"/>
                <a:gd name="T3" fmla="*/ 86 h 277"/>
                <a:gd name="T4" fmla="*/ 44 w 90"/>
                <a:gd name="T5" fmla="*/ 277 h 277"/>
                <a:gd name="T6" fmla="*/ 90 w 90"/>
                <a:gd name="T7" fmla="*/ 87 h 277"/>
                <a:gd name="T8" fmla="*/ 34 w 90"/>
                <a:gd name="T9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277">
                  <a:moveTo>
                    <a:pt x="34" y="0"/>
                  </a:moveTo>
                  <a:lnTo>
                    <a:pt x="0" y="86"/>
                  </a:lnTo>
                  <a:lnTo>
                    <a:pt x="44" y="277"/>
                  </a:lnTo>
                  <a:lnTo>
                    <a:pt x="90" y="87"/>
                  </a:lnTo>
                  <a:lnTo>
                    <a:pt x="3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36" name="任意多边形: 形状 135">
              <a:extLst>
                <a:ext uri="{FF2B5EF4-FFF2-40B4-BE49-F238E27FC236}">
                  <a16:creationId xmlns:a16="http://schemas.microsoft.com/office/drawing/2014/main" id="{750560CA-6BCF-4046-BC70-A19BDDC74D4B}"/>
                </a:ext>
              </a:extLst>
            </p:cNvPr>
            <p:cNvSpPr/>
            <p:nvPr/>
          </p:nvSpPr>
          <p:spPr bwMode="auto">
            <a:xfrm>
              <a:off x="6900863" y="3646494"/>
              <a:ext cx="180975" cy="762000"/>
            </a:xfrm>
            <a:custGeom>
              <a:avLst/>
              <a:gdLst>
                <a:gd name="T0" fmla="*/ 46 w 114"/>
                <a:gd name="T1" fmla="*/ 0 h 480"/>
                <a:gd name="T2" fmla="*/ 0 w 114"/>
                <a:gd name="T3" fmla="*/ 190 h 480"/>
                <a:gd name="T4" fmla="*/ 66 w 114"/>
                <a:gd name="T5" fmla="*/ 480 h 480"/>
                <a:gd name="T6" fmla="*/ 114 w 114"/>
                <a:gd name="T7" fmla="*/ 102 h 480"/>
                <a:gd name="T8" fmla="*/ 46 w 114"/>
                <a:gd name="T9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480">
                  <a:moveTo>
                    <a:pt x="46" y="0"/>
                  </a:moveTo>
                  <a:lnTo>
                    <a:pt x="0" y="190"/>
                  </a:lnTo>
                  <a:lnTo>
                    <a:pt x="66" y="480"/>
                  </a:lnTo>
                  <a:lnTo>
                    <a:pt x="114" y="102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30A3DC">
                <a:lumMod val="95000"/>
                <a:lumOff val="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任意多边形: 形状 136">
              <a:extLst>
                <a:ext uri="{FF2B5EF4-FFF2-40B4-BE49-F238E27FC236}">
                  <a16:creationId xmlns:a16="http://schemas.microsoft.com/office/drawing/2014/main" id="{5EC99B05-D93E-45FB-9AB0-383201ABBD58}"/>
                </a:ext>
              </a:extLst>
            </p:cNvPr>
            <p:cNvSpPr/>
            <p:nvPr/>
          </p:nvSpPr>
          <p:spPr bwMode="auto">
            <a:xfrm>
              <a:off x="6900863" y="3646494"/>
              <a:ext cx="180975" cy="762000"/>
            </a:xfrm>
            <a:custGeom>
              <a:avLst/>
              <a:gdLst>
                <a:gd name="T0" fmla="*/ 46 w 114"/>
                <a:gd name="T1" fmla="*/ 0 h 480"/>
                <a:gd name="T2" fmla="*/ 0 w 114"/>
                <a:gd name="T3" fmla="*/ 190 h 480"/>
                <a:gd name="T4" fmla="*/ 66 w 114"/>
                <a:gd name="T5" fmla="*/ 480 h 480"/>
                <a:gd name="T6" fmla="*/ 114 w 114"/>
                <a:gd name="T7" fmla="*/ 102 h 480"/>
                <a:gd name="T8" fmla="*/ 46 w 114"/>
                <a:gd name="T9" fmla="*/ 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4" h="480">
                  <a:moveTo>
                    <a:pt x="46" y="0"/>
                  </a:moveTo>
                  <a:lnTo>
                    <a:pt x="0" y="190"/>
                  </a:lnTo>
                  <a:lnTo>
                    <a:pt x="66" y="480"/>
                  </a:lnTo>
                  <a:lnTo>
                    <a:pt x="114" y="102"/>
                  </a:lnTo>
                  <a:lnTo>
                    <a:pt x="4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38" name="任意多边形: 形状 137">
              <a:extLst>
                <a:ext uri="{FF2B5EF4-FFF2-40B4-BE49-F238E27FC236}">
                  <a16:creationId xmlns:a16="http://schemas.microsoft.com/office/drawing/2014/main" id="{6442F6C6-BC0D-482D-B525-0898C74691CB}"/>
                </a:ext>
              </a:extLst>
            </p:cNvPr>
            <p:cNvSpPr/>
            <p:nvPr/>
          </p:nvSpPr>
          <p:spPr bwMode="auto">
            <a:xfrm>
              <a:off x="7054850" y="4541844"/>
              <a:ext cx="514350" cy="0"/>
            </a:xfrm>
            <a:custGeom>
              <a:avLst/>
              <a:gdLst>
                <a:gd name="T0" fmla="*/ 323 w 324"/>
                <a:gd name="T1" fmla="*/ 0 w 324"/>
                <a:gd name="T2" fmla="*/ 324 w 324"/>
                <a:gd name="T3" fmla="*/ 323 w 32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24">
                  <a:moveTo>
                    <a:pt x="323" y="0"/>
                  </a:moveTo>
                  <a:lnTo>
                    <a:pt x="0" y="0"/>
                  </a:lnTo>
                  <a:lnTo>
                    <a:pt x="324" y="0"/>
                  </a:lnTo>
                  <a:lnTo>
                    <a:pt x="323" y="0"/>
                  </a:lnTo>
                  <a:close/>
                </a:path>
              </a:pathLst>
            </a:custGeom>
            <a:solidFill>
              <a:srgbClr val="A17C5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39" name="任意多边形: 形状 138">
              <a:extLst>
                <a:ext uri="{FF2B5EF4-FFF2-40B4-BE49-F238E27FC236}">
                  <a16:creationId xmlns:a16="http://schemas.microsoft.com/office/drawing/2014/main" id="{535D63F6-FB6E-433C-8FA5-E84BEE9E67CF}"/>
                </a:ext>
              </a:extLst>
            </p:cNvPr>
            <p:cNvSpPr/>
            <p:nvPr/>
          </p:nvSpPr>
          <p:spPr bwMode="auto">
            <a:xfrm>
              <a:off x="7054850" y="4541844"/>
              <a:ext cx="514350" cy="0"/>
            </a:xfrm>
            <a:custGeom>
              <a:avLst/>
              <a:gdLst>
                <a:gd name="T0" fmla="*/ 323 w 324"/>
                <a:gd name="T1" fmla="*/ 0 w 324"/>
                <a:gd name="T2" fmla="*/ 324 w 324"/>
                <a:gd name="T3" fmla="*/ 323 w 32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24">
                  <a:moveTo>
                    <a:pt x="323" y="0"/>
                  </a:moveTo>
                  <a:lnTo>
                    <a:pt x="0" y="0"/>
                  </a:lnTo>
                  <a:lnTo>
                    <a:pt x="324" y="0"/>
                  </a:lnTo>
                  <a:lnTo>
                    <a:pt x="32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40" name="任意多边形: 形状 139">
              <a:extLst>
                <a:ext uri="{FF2B5EF4-FFF2-40B4-BE49-F238E27FC236}">
                  <a16:creationId xmlns:a16="http://schemas.microsoft.com/office/drawing/2014/main" id="{2196F66C-C8E1-4A7E-8B31-7323E245E0B0}"/>
                </a:ext>
              </a:extLst>
            </p:cNvPr>
            <p:cNvSpPr/>
            <p:nvPr/>
          </p:nvSpPr>
          <p:spPr bwMode="auto">
            <a:xfrm>
              <a:off x="7442200" y="4352932"/>
              <a:ext cx="125413" cy="188913"/>
            </a:xfrm>
            <a:custGeom>
              <a:avLst/>
              <a:gdLst>
                <a:gd name="T0" fmla="*/ 0 w 79"/>
                <a:gd name="T1" fmla="*/ 0 h 119"/>
                <a:gd name="T2" fmla="*/ 15 w 79"/>
                <a:gd name="T3" fmla="*/ 119 h 119"/>
                <a:gd name="T4" fmla="*/ 79 w 79"/>
                <a:gd name="T5" fmla="*/ 119 h 119"/>
                <a:gd name="T6" fmla="*/ 0 w 79"/>
                <a:gd name="T7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9" h="119">
                  <a:moveTo>
                    <a:pt x="0" y="0"/>
                  </a:moveTo>
                  <a:lnTo>
                    <a:pt x="15" y="119"/>
                  </a:lnTo>
                  <a:lnTo>
                    <a:pt x="79" y="1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358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41" name="任意多边形: 形状 140">
              <a:extLst>
                <a:ext uri="{FF2B5EF4-FFF2-40B4-BE49-F238E27FC236}">
                  <a16:creationId xmlns:a16="http://schemas.microsoft.com/office/drawing/2014/main" id="{9BF81B00-1E94-4AF6-9038-A4FCA9C1E743}"/>
                </a:ext>
              </a:extLst>
            </p:cNvPr>
            <p:cNvSpPr/>
            <p:nvPr/>
          </p:nvSpPr>
          <p:spPr bwMode="auto">
            <a:xfrm>
              <a:off x="7442200" y="4352932"/>
              <a:ext cx="125413" cy="188913"/>
            </a:xfrm>
            <a:custGeom>
              <a:avLst/>
              <a:gdLst>
                <a:gd name="T0" fmla="*/ 0 w 79"/>
                <a:gd name="T1" fmla="*/ 0 h 119"/>
                <a:gd name="T2" fmla="*/ 15 w 79"/>
                <a:gd name="T3" fmla="*/ 119 h 119"/>
                <a:gd name="T4" fmla="*/ 79 w 79"/>
                <a:gd name="T5" fmla="*/ 119 h 119"/>
                <a:gd name="T6" fmla="*/ 0 w 79"/>
                <a:gd name="T7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9" h="119">
                  <a:moveTo>
                    <a:pt x="0" y="0"/>
                  </a:moveTo>
                  <a:lnTo>
                    <a:pt x="15" y="119"/>
                  </a:lnTo>
                  <a:lnTo>
                    <a:pt x="79" y="119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42" name="任意多边形: 形状 141">
              <a:extLst>
                <a:ext uri="{FF2B5EF4-FFF2-40B4-BE49-F238E27FC236}">
                  <a16:creationId xmlns:a16="http://schemas.microsoft.com/office/drawing/2014/main" id="{A6073622-1BFC-4D1F-B0BC-DFA30330E0A6}"/>
                </a:ext>
              </a:extLst>
            </p:cNvPr>
            <p:cNvSpPr/>
            <p:nvPr/>
          </p:nvSpPr>
          <p:spPr bwMode="auto">
            <a:xfrm>
              <a:off x="7005638" y="3808419"/>
              <a:ext cx="460375" cy="733425"/>
            </a:xfrm>
            <a:custGeom>
              <a:avLst/>
              <a:gdLst>
                <a:gd name="T0" fmla="*/ 48 w 290"/>
                <a:gd name="T1" fmla="*/ 0 h 462"/>
                <a:gd name="T2" fmla="*/ 0 w 290"/>
                <a:gd name="T3" fmla="*/ 378 h 462"/>
                <a:gd name="T4" fmla="*/ 21 w 290"/>
                <a:gd name="T5" fmla="*/ 461 h 462"/>
                <a:gd name="T6" fmla="*/ 31 w 290"/>
                <a:gd name="T7" fmla="*/ 462 h 462"/>
                <a:gd name="T8" fmla="*/ 94 w 290"/>
                <a:gd name="T9" fmla="*/ 462 h 462"/>
                <a:gd name="T10" fmla="*/ 140 w 290"/>
                <a:gd name="T11" fmla="*/ 462 h 462"/>
                <a:gd name="T12" fmla="*/ 187 w 290"/>
                <a:gd name="T13" fmla="*/ 462 h 462"/>
                <a:gd name="T14" fmla="*/ 290 w 290"/>
                <a:gd name="T15" fmla="*/ 462 h 462"/>
                <a:gd name="T16" fmla="*/ 275 w 290"/>
                <a:gd name="T17" fmla="*/ 343 h 462"/>
                <a:gd name="T18" fmla="*/ 48 w 290"/>
                <a:gd name="T19" fmla="*/ 0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0" h="462">
                  <a:moveTo>
                    <a:pt x="48" y="0"/>
                  </a:moveTo>
                  <a:lnTo>
                    <a:pt x="0" y="378"/>
                  </a:lnTo>
                  <a:lnTo>
                    <a:pt x="21" y="461"/>
                  </a:lnTo>
                  <a:lnTo>
                    <a:pt x="31" y="462"/>
                  </a:lnTo>
                  <a:lnTo>
                    <a:pt x="94" y="462"/>
                  </a:lnTo>
                  <a:lnTo>
                    <a:pt x="140" y="462"/>
                  </a:lnTo>
                  <a:lnTo>
                    <a:pt x="187" y="462"/>
                  </a:lnTo>
                  <a:lnTo>
                    <a:pt x="290" y="462"/>
                  </a:lnTo>
                  <a:lnTo>
                    <a:pt x="275" y="343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30A3DC">
                <a:lumMod val="85000"/>
                <a:lumOff val="1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任意多边形: 形状 142">
              <a:extLst>
                <a:ext uri="{FF2B5EF4-FFF2-40B4-BE49-F238E27FC236}">
                  <a16:creationId xmlns:a16="http://schemas.microsoft.com/office/drawing/2014/main" id="{6ACD2D96-A690-441D-9632-34F3D94616C0}"/>
                </a:ext>
              </a:extLst>
            </p:cNvPr>
            <p:cNvSpPr/>
            <p:nvPr/>
          </p:nvSpPr>
          <p:spPr bwMode="auto">
            <a:xfrm>
              <a:off x="7005638" y="3808419"/>
              <a:ext cx="460375" cy="733425"/>
            </a:xfrm>
            <a:custGeom>
              <a:avLst/>
              <a:gdLst>
                <a:gd name="T0" fmla="*/ 48 w 290"/>
                <a:gd name="T1" fmla="*/ 0 h 462"/>
                <a:gd name="T2" fmla="*/ 0 w 290"/>
                <a:gd name="T3" fmla="*/ 378 h 462"/>
                <a:gd name="T4" fmla="*/ 21 w 290"/>
                <a:gd name="T5" fmla="*/ 461 h 462"/>
                <a:gd name="T6" fmla="*/ 31 w 290"/>
                <a:gd name="T7" fmla="*/ 462 h 462"/>
                <a:gd name="T8" fmla="*/ 94 w 290"/>
                <a:gd name="T9" fmla="*/ 462 h 462"/>
                <a:gd name="T10" fmla="*/ 140 w 290"/>
                <a:gd name="T11" fmla="*/ 462 h 462"/>
                <a:gd name="T12" fmla="*/ 187 w 290"/>
                <a:gd name="T13" fmla="*/ 462 h 462"/>
                <a:gd name="T14" fmla="*/ 290 w 290"/>
                <a:gd name="T15" fmla="*/ 462 h 462"/>
                <a:gd name="T16" fmla="*/ 275 w 290"/>
                <a:gd name="T17" fmla="*/ 343 h 462"/>
                <a:gd name="T18" fmla="*/ 48 w 290"/>
                <a:gd name="T19" fmla="*/ 0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0" h="462">
                  <a:moveTo>
                    <a:pt x="48" y="0"/>
                  </a:moveTo>
                  <a:lnTo>
                    <a:pt x="0" y="378"/>
                  </a:lnTo>
                  <a:lnTo>
                    <a:pt x="21" y="461"/>
                  </a:lnTo>
                  <a:lnTo>
                    <a:pt x="31" y="462"/>
                  </a:lnTo>
                  <a:lnTo>
                    <a:pt x="94" y="462"/>
                  </a:lnTo>
                  <a:lnTo>
                    <a:pt x="140" y="462"/>
                  </a:lnTo>
                  <a:lnTo>
                    <a:pt x="187" y="462"/>
                  </a:lnTo>
                  <a:lnTo>
                    <a:pt x="290" y="462"/>
                  </a:lnTo>
                  <a:lnTo>
                    <a:pt x="275" y="343"/>
                  </a:lnTo>
                  <a:lnTo>
                    <a:pt x="48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44" name="任意多边形: 形状 143">
              <a:extLst>
                <a:ext uri="{FF2B5EF4-FFF2-40B4-BE49-F238E27FC236}">
                  <a16:creationId xmlns:a16="http://schemas.microsoft.com/office/drawing/2014/main" id="{7AC1F982-3EEF-4918-AAC6-FAB90B6806B4}"/>
                </a:ext>
              </a:extLst>
            </p:cNvPr>
            <p:cNvSpPr/>
            <p:nvPr/>
          </p:nvSpPr>
          <p:spPr bwMode="auto">
            <a:xfrm>
              <a:off x="3978275" y="2967044"/>
              <a:ext cx="781050" cy="1574800"/>
            </a:xfrm>
            <a:custGeom>
              <a:avLst/>
              <a:gdLst>
                <a:gd name="T0" fmla="*/ 0 w 492"/>
                <a:gd name="T1" fmla="*/ 992 h 992"/>
                <a:gd name="T2" fmla="*/ 105 w 492"/>
                <a:gd name="T3" fmla="*/ 992 h 992"/>
                <a:gd name="T4" fmla="*/ 492 w 492"/>
                <a:gd name="T5" fmla="*/ 0 h 992"/>
                <a:gd name="T6" fmla="*/ 0 w 492"/>
                <a:gd name="T7" fmla="*/ 992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2" h="992">
                  <a:moveTo>
                    <a:pt x="0" y="992"/>
                  </a:moveTo>
                  <a:lnTo>
                    <a:pt x="105" y="992"/>
                  </a:lnTo>
                  <a:lnTo>
                    <a:pt x="492" y="0"/>
                  </a:lnTo>
                  <a:lnTo>
                    <a:pt x="0" y="992"/>
                  </a:lnTo>
                  <a:close/>
                </a:path>
              </a:pathLst>
            </a:custGeom>
            <a:solidFill>
              <a:srgbClr val="30A3DC">
                <a:lumMod val="85000"/>
                <a:lumOff val="1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任意多边形: 形状 144">
              <a:extLst>
                <a:ext uri="{FF2B5EF4-FFF2-40B4-BE49-F238E27FC236}">
                  <a16:creationId xmlns:a16="http://schemas.microsoft.com/office/drawing/2014/main" id="{9336EAAB-C956-40F6-8145-F015DB4F9AA3}"/>
                </a:ext>
              </a:extLst>
            </p:cNvPr>
            <p:cNvSpPr/>
            <p:nvPr/>
          </p:nvSpPr>
          <p:spPr bwMode="auto">
            <a:xfrm>
              <a:off x="4144963" y="2967044"/>
              <a:ext cx="614363" cy="1574800"/>
            </a:xfrm>
            <a:custGeom>
              <a:avLst/>
              <a:gdLst>
                <a:gd name="T0" fmla="*/ 0 w 387"/>
                <a:gd name="T1" fmla="*/ 992 h 992"/>
                <a:gd name="T2" fmla="*/ 141 w 387"/>
                <a:gd name="T3" fmla="*/ 992 h 992"/>
                <a:gd name="T4" fmla="*/ 387 w 387"/>
                <a:gd name="T5" fmla="*/ 0 h 992"/>
                <a:gd name="T6" fmla="*/ 0 w 387"/>
                <a:gd name="T7" fmla="*/ 992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7" h="992">
                  <a:moveTo>
                    <a:pt x="0" y="992"/>
                  </a:moveTo>
                  <a:lnTo>
                    <a:pt x="141" y="992"/>
                  </a:lnTo>
                  <a:lnTo>
                    <a:pt x="387" y="0"/>
                  </a:lnTo>
                  <a:lnTo>
                    <a:pt x="0" y="992"/>
                  </a:lnTo>
                  <a:close/>
                </a:path>
              </a:pathLst>
            </a:custGeom>
            <a:solidFill>
              <a:srgbClr val="30A3DC">
                <a:lumMod val="75000"/>
                <a:lumOff val="2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任意多边形: 形状 145">
              <a:extLst>
                <a:ext uri="{FF2B5EF4-FFF2-40B4-BE49-F238E27FC236}">
                  <a16:creationId xmlns:a16="http://schemas.microsoft.com/office/drawing/2014/main" id="{D4A2C2E3-37B5-4EA9-9446-F60A02A48601}"/>
                </a:ext>
              </a:extLst>
            </p:cNvPr>
            <p:cNvSpPr/>
            <p:nvPr/>
          </p:nvSpPr>
          <p:spPr bwMode="auto">
            <a:xfrm>
              <a:off x="4368800" y="2967044"/>
              <a:ext cx="390525" cy="1574800"/>
            </a:xfrm>
            <a:custGeom>
              <a:avLst/>
              <a:gdLst>
                <a:gd name="T0" fmla="*/ 0 w 246"/>
                <a:gd name="T1" fmla="*/ 992 h 992"/>
                <a:gd name="T2" fmla="*/ 123 w 246"/>
                <a:gd name="T3" fmla="*/ 992 h 992"/>
                <a:gd name="T4" fmla="*/ 246 w 246"/>
                <a:gd name="T5" fmla="*/ 0 h 992"/>
                <a:gd name="T6" fmla="*/ 0 w 246"/>
                <a:gd name="T7" fmla="*/ 992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6" h="992">
                  <a:moveTo>
                    <a:pt x="0" y="992"/>
                  </a:moveTo>
                  <a:lnTo>
                    <a:pt x="123" y="992"/>
                  </a:lnTo>
                  <a:lnTo>
                    <a:pt x="246" y="0"/>
                  </a:lnTo>
                  <a:lnTo>
                    <a:pt x="0" y="992"/>
                  </a:lnTo>
                  <a:close/>
                </a:path>
              </a:pathLst>
            </a:custGeom>
            <a:solidFill>
              <a:srgbClr val="30A3DC">
                <a:lumMod val="85000"/>
                <a:lumOff val="1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任意多边形: 形状 146">
              <a:extLst>
                <a:ext uri="{FF2B5EF4-FFF2-40B4-BE49-F238E27FC236}">
                  <a16:creationId xmlns:a16="http://schemas.microsoft.com/office/drawing/2014/main" id="{D1A17EA6-FD9E-4BD7-BC5F-73B55F2A2285}"/>
                </a:ext>
              </a:extLst>
            </p:cNvPr>
            <p:cNvSpPr/>
            <p:nvPr/>
          </p:nvSpPr>
          <p:spPr bwMode="auto">
            <a:xfrm>
              <a:off x="4759325" y="2967044"/>
              <a:ext cx="781050" cy="1574800"/>
            </a:xfrm>
            <a:custGeom>
              <a:avLst/>
              <a:gdLst>
                <a:gd name="T0" fmla="*/ 0 w 492"/>
                <a:gd name="T1" fmla="*/ 0 h 992"/>
                <a:gd name="T2" fmla="*/ 387 w 492"/>
                <a:gd name="T3" fmla="*/ 992 h 992"/>
                <a:gd name="T4" fmla="*/ 492 w 492"/>
                <a:gd name="T5" fmla="*/ 992 h 992"/>
                <a:gd name="T6" fmla="*/ 0 w 492"/>
                <a:gd name="T7" fmla="*/ 0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2" h="992">
                  <a:moveTo>
                    <a:pt x="0" y="0"/>
                  </a:moveTo>
                  <a:lnTo>
                    <a:pt x="387" y="992"/>
                  </a:lnTo>
                  <a:lnTo>
                    <a:pt x="492" y="9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0A3DC">
                <a:lumMod val="85000"/>
                <a:lumOff val="1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48" name="任意多边形: 形状 147">
              <a:extLst>
                <a:ext uri="{FF2B5EF4-FFF2-40B4-BE49-F238E27FC236}">
                  <a16:creationId xmlns:a16="http://schemas.microsoft.com/office/drawing/2014/main" id="{B309E354-6BD5-4411-9131-FC48148C3E90}"/>
                </a:ext>
              </a:extLst>
            </p:cNvPr>
            <p:cNvSpPr/>
            <p:nvPr/>
          </p:nvSpPr>
          <p:spPr bwMode="auto">
            <a:xfrm>
              <a:off x="4759325" y="2967044"/>
              <a:ext cx="781050" cy="1574800"/>
            </a:xfrm>
            <a:custGeom>
              <a:avLst/>
              <a:gdLst>
                <a:gd name="T0" fmla="*/ 0 w 492"/>
                <a:gd name="T1" fmla="*/ 0 h 992"/>
                <a:gd name="T2" fmla="*/ 387 w 492"/>
                <a:gd name="T3" fmla="*/ 992 h 992"/>
                <a:gd name="T4" fmla="*/ 492 w 492"/>
                <a:gd name="T5" fmla="*/ 992 h 992"/>
                <a:gd name="T6" fmla="*/ 0 w 492"/>
                <a:gd name="T7" fmla="*/ 0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92" h="992">
                  <a:moveTo>
                    <a:pt x="0" y="0"/>
                  </a:moveTo>
                  <a:lnTo>
                    <a:pt x="387" y="992"/>
                  </a:lnTo>
                  <a:lnTo>
                    <a:pt x="492" y="992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49" name="任意多边形: 形状 148">
              <a:extLst>
                <a:ext uri="{FF2B5EF4-FFF2-40B4-BE49-F238E27FC236}">
                  <a16:creationId xmlns:a16="http://schemas.microsoft.com/office/drawing/2014/main" id="{BF99DEF9-EC03-4F5F-90ED-E934B7A6BBC5}"/>
                </a:ext>
              </a:extLst>
            </p:cNvPr>
            <p:cNvSpPr/>
            <p:nvPr/>
          </p:nvSpPr>
          <p:spPr bwMode="auto">
            <a:xfrm>
              <a:off x="4759325" y="2967044"/>
              <a:ext cx="614363" cy="1574800"/>
            </a:xfrm>
            <a:custGeom>
              <a:avLst/>
              <a:gdLst>
                <a:gd name="T0" fmla="*/ 246 w 387"/>
                <a:gd name="T1" fmla="*/ 992 h 992"/>
                <a:gd name="T2" fmla="*/ 387 w 387"/>
                <a:gd name="T3" fmla="*/ 992 h 992"/>
                <a:gd name="T4" fmla="*/ 0 w 387"/>
                <a:gd name="T5" fmla="*/ 0 h 992"/>
                <a:gd name="T6" fmla="*/ 246 w 387"/>
                <a:gd name="T7" fmla="*/ 992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7" h="992">
                  <a:moveTo>
                    <a:pt x="246" y="992"/>
                  </a:moveTo>
                  <a:lnTo>
                    <a:pt x="387" y="992"/>
                  </a:lnTo>
                  <a:lnTo>
                    <a:pt x="0" y="0"/>
                  </a:lnTo>
                  <a:lnTo>
                    <a:pt x="246" y="992"/>
                  </a:lnTo>
                  <a:close/>
                </a:path>
              </a:pathLst>
            </a:custGeom>
            <a:solidFill>
              <a:srgbClr val="30A3DC">
                <a:lumMod val="75000"/>
                <a:lumOff val="2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50" name="任意多边形: 形状 149">
              <a:extLst>
                <a:ext uri="{FF2B5EF4-FFF2-40B4-BE49-F238E27FC236}">
                  <a16:creationId xmlns:a16="http://schemas.microsoft.com/office/drawing/2014/main" id="{21CBBD44-8642-4052-9C9B-DBEFFB110246}"/>
                </a:ext>
              </a:extLst>
            </p:cNvPr>
            <p:cNvSpPr/>
            <p:nvPr/>
          </p:nvSpPr>
          <p:spPr bwMode="auto">
            <a:xfrm>
              <a:off x="4759325" y="2967044"/>
              <a:ext cx="614363" cy="1574800"/>
            </a:xfrm>
            <a:custGeom>
              <a:avLst/>
              <a:gdLst>
                <a:gd name="T0" fmla="*/ 246 w 387"/>
                <a:gd name="T1" fmla="*/ 992 h 992"/>
                <a:gd name="T2" fmla="*/ 387 w 387"/>
                <a:gd name="T3" fmla="*/ 992 h 992"/>
                <a:gd name="T4" fmla="*/ 0 w 387"/>
                <a:gd name="T5" fmla="*/ 0 h 992"/>
                <a:gd name="T6" fmla="*/ 246 w 387"/>
                <a:gd name="T7" fmla="*/ 992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7" h="992">
                  <a:moveTo>
                    <a:pt x="246" y="992"/>
                  </a:moveTo>
                  <a:lnTo>
                    <a:pt x="387" y="992"/>
                  </a:lnTo>
                  <a:lnTo>
                    <a:pt x="0" y="0"/>
                  </a:lnTo>
                  <a:lnTo>
                    <a:pt x="246" y="99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51" name="任意多边形: 形状 150">
              <a:extLst>
                <a:ext uri="{FF2B5EF4-FFF2-40B4-BE49-F238E27FC236}">
                  <a16:creationId xmlns:a16="http://schemas.microsoft.com/office/drawing/2014/main" id="{CC5768EA-880A-4E64-B9CA-FD92AB2F05E6}"/>
                </a:ext>
              </a:extLst>
            </p:cNvPr>
            <p:cNvSpPr/>
            <p:nvPr/>
          </p:nvSpPr>
          <p:spPr bwMode="auto">
            <a:xfrm>
              <a:off x="4759325" y="2967044"/>
              <a:ext cx="390525" cy="1574800"/>
            </a:xfrm>
            <a:custGeom>
              <a:avLst/>
              <a:gdLst>
                <a:gd name="T0" fmla="*/ 123 w 246"/>
                <a:gd name="T1" fmla="*/ 992 h 992"/>
                <a:gd name="T2" fmla="*/ 246 w 246"/>
                <a:gd name="T3" fmla="*/ 992 h 992"/>
                <a:gd name="T4" fmla="*/ 0 w 246"/>
                <a:gd name="T5" fmla="*/ 0 h 992"/>
                <a:gd name="T6" fmla="*/ 123 w 246"/>
                <a:gd name="T7" fmla="*/ 992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6" h="992">
                  <a:moveTo>
                    <a:pt x="123" y="992"/>
                  </a:moveTo>
                  <a:lnTo>
                    <a:pt x="246" y="992"/>
                  </a:lnTo>
                  <a:lnTo>
                    <a:pt x="0" y="0"/>
                  </a:lnTo>
                  <a:lnTo>
                    <a:pt x="123" y="992"/>
                  </a:lnTo>
                  <a:close/>
                </a:path>
              </a:pathLst>
            </a:custGeom>
            <a:solidFill>
              <a:srgbClr val="30A3DC">
                <a:lumMod val="85000"/>
                <a:lumOff val="1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52" name="任意多边形: 形状 151">
              <a:extLst>
                <a:ext uri="{FF2B5EF4-FFF2-40B4-BE49-F238E27FC236}">
                  <a16:creationId xmlns:a16="http://schemas.microsoft.com/office/drawing/2014/main" id="{17FDD79F-181F-454C-8C05-02B8D09BB2B3}"/>
                </a:ext>
              </a:extLst>
            </p:cNvPr>
            <p:cNvSpPr/>
            <p:nvPr/>
          </p:nvSpPr>
          <p:spPr bwMode="auto">
            <a:xfrm>
              <a:off x="4759325" y="2967044"/>
              <a:ext cx="390525" cy="1574800"/>
            </a:xfrm>
            <a:custGeom>
              <a:avLst/>
              <a:gdLst>
                <a:gd name="T0" fmla="*/ 123 w 246"/>
                <a:gd name="T1" fmla="*/ 992 h 992"/>
                <a:gd name="T2" fmla="*/ 246 w 246"/>
                <a:gd name="T3" fmla="*/ 992 h 992"/>
                <a:gd name="T4" fmla="*/ 0 w 246"/>
                <a:gd name="T5" fmla="*/ 0 h 992"/>
                <a:gd name="T6" fmla="*/ 123 w 246"/>
                <a:gd name="T7" fmla="*/ 992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6" h="992">
                  <a:moveTo>
                    <a:pt x="123" y="992"/>
                  </a:moveTo>
                  <a:lnTo>
                    <a:pt x="246" y="992"/>
                  </a:lnTo>
                  <a:lnTo>
                    <a:pt x="0" y="0"/>
                  </a:lnTo>
                  <a:lnTo>
                    <a:pt x="123" y="99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53" name="任意多边形: 形状 152">
              <a:extLst>
                <a:ext uri="{FF2B5EF4-FFF2-40B4-BE49-F238E27FC236}">
                  <a16:creationId xmlns:a16="http://schemas.microsoft.com/office/drawing/2014/main" id="{E673C639-6483-4024-9A9B-ADA570372E43}"/>
                </a:ext>
              </a:extLst>
            </p:cNvPr>
            <p:cNvSpPr/>
            <p:nvPr/>
          </p:nvSpPr>
          <p:spPr bwMode="auto">
            <a:xfrm>
              <a:off x="4564063" y="2967044"/>
              <a:ext cx="390525" cy="1574800"/>
            </a:xfrm>
            <a:custGeom>
              <a:avLst/>
              <a:gdLst>
                <a:gd name="T0" fmla="*/ 123 w 246"/>
                <a:gd name="T1" fmla="*/ 0 h 992"/>
                <a:gd name="T2" fmla="*/ 0 w 246"/>
                <a:gd name="T3" fmla="*/ 992 h 992"/>
                <a:gd name="T4" fmla="*/ 85 w 246"/>
                <a:gd name="T5" fmla="*/ 992 h 992"/>
                <a:gd name="T6" fmla="*/ 123 w 246"/>
                <a:gd name="T7" fmla="*/ 992 h 992"/>
                <a:gd name="T8" fmla="*/ 162 w 246"/>
                <a:gd name="T9" fmla="*/ 992 h 992"/>
                <a:gd name="T10" fmla="*/ 246 w 246"/>
                <a:gd name="T11" fmla="*/ 992 h 992"/>
                <a:gd name="T12" fmla="*/ 123 w 246"/>
                <a:gd name="T13" fmla="*/ 0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6" h="992">
                  <a:moveTo>
                    <a:pt x="123" y="0"/>
                  </a:moveTo>
                  <a:lnTo>
                    <a:pt x="0" y="992"/>
                  </a:lnTo>
                  <a:lnTo>
                    <a:pt x="85" y="992"/>
                  </a:lnTo>
                  <a:lnTo>
                    <a:pt x="123" y="992"/>
                  </a:lnTo>
                  <a:lnTo>
                    <a:pt x="162" y="992"/>
                  </a:lnTo>
                  <a:lnTo>
                    <a:pt x="246" y="992"/>
                  </a:lnTo>
                  <a:lnTo>
                    <a:pt x="123" y="0"/>
                  </a:lnTo>
                  <a:close/>
                </a:path>
              </a:pathLst>
            </a:custGeom>
            <a:solidFill>
              <a:srgbClr val="30A3DC">
                <a:lumMod val="75000"/>
                <a:lumOff val="2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54" name="任意多边形: 形状 153">
              <a:extLst>
                <a:ext uri="{FF2B5EF4-FFF2-40B4-BE49-F238E27FC236}">
                  <a16:creationId xmlns:a16="http://schemas.microsoft.com/office/drawing/2014/main" id="{F927EDEA-BA5A-4537-9286-B27BF8CA155A}"/>
                </a:ext>
              </a:extLst>
            </p:cNvPr>
            <p:cNvSpPr/>
            <p:nvPr/>
          </p:nvSpPr>
          <p:spPr bwMode="auto">
            <a:xfrm>
              <a:off x="4564063" y="2967044"/>
              <a:ext cx="390525" cy="1574800"/>
            </a:xfrm>
            <a:custGeom>
              <a:avLst/>
              <a:gdLst>
                <a:gd name="T0" fmla="*/ 123 w 246"/>
                <a:gd name="T1" fmla="*/ 0 h 992"/>
                <a:gd name="T2" fmla="*/ 0 w 246"/>
                <a:gd name="T3" fmla="*/ 992 h 992"/>
                <a:gd name="T4" fmla="*/ 85 w 246"/>
                <a:gd name="T5" fmla="*/ 992 h 992"/>
                <a:gd name="T6" fmla="*/ 123 w 246"/>
                <a:gd name="T7" fmla="*/ 992 h 992"/>
                <a:gd name="T8" fmla="*/ 162 w 246"/>
                <a:gd name="T9" fmla="*/ 992 h 992"/>
                <a:gd name="T10" fmla="*/ 246 w 246"/>
                <a:gd name="T11" fmla="*/ 992 h 992"/>
                <a:gd name="T12" fmla="*/ 123 w 246"/>
                <a:gd name="T13" fmla="*/ 0 h 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6" h="992">
                  <a:moveTo>
                    <a:pt x="123" y="0"/>
                  </a:moveTo>
                  <a:lnTo>
                    <a:pt x="0" y="992"/>
                  </a:lnTo>
                  <a:lnTo>
                    <a:pt x="85" y="992"/>
                  </a:lnTo>
                  <a:lnTo>
                    <a:pt x="123" y="992"/>
                  </a:lnTo>
                  <a:lnTo>
                    <a:pt x="162" y="992"/>
                  </a:lnTo>
                  <a:lnTo>
                    <a:pt x="246" y="992"/>
                  </a:lnTo>
                  <a:lnTo>
                    <a:pt x="12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55" name="任意多边形: 形状 154">
              <a:extLst>
                <a:ext uri="{FF2B5EF4-FFF2-40B4-BE49-F238E27FC236}">
                  <a16:creationId xmlns:a16="http://schemas.microsoft.com/office/drawing/2014/main" id="{2867067D-847F-4C6D-94DD-52294E3632AC}"/>
                </a:ext>
              </a:extLst>
            </p:cNvPr>
            <p:cNvSpPr/>
            <p:nvPr/>
          </p:nvSpPr>
          <p:spPr bwMode="auto">
            <a:xfrm>
              <a:off x="4506913" y="2967044"/>
              <a:ext cx="504825" cy="693738"/>
            </a:xfrm>
            <a:custGeom>
              <a:avLst/>
              <a:gdLst>
                <a:gd name="T0" fmla="*/ 159 w 318"/>
                <a:gd name="T1" fmla="*/ 0 h 437"/>
                <a:gd name="T2" fmla="*/ 0 w 318"/>
                <a:gd name="T3" fmla="*/ 320 h 437"/>
                <a:gd name="T4" fmla="*/ 54 w 318"/>
                <a:gd name="T5" fmla="*/ 272 h 437"/>
                <a:gd name="T6" fmla="*/ 65 w 318"/>
                <a:gd name="T7" fmla="*/ 378 h 437"/>
                <a:gd name="T8" fmla="*/ 121 w 318"/>
                <a:gd name="T9" fmla="*/ 308 h 437"/>
                <a:gd name="T10" fmla="*/ 159 w 318"/>
                <a:gd name="T11" fmla="*/ 437 h 437"/>
                <a:gd name="T12" fmla="*/ 198 w 318"/>
                <a:gd name="T13" fmla="*/ 308 h 437"/>
                <a:gd name="T14" fmla="*/ 252 w 318"/>
                <a:gd name="T15" fmla="*/ 378 h 437"/>
                <a:gd name="T16" fmla="*/ 264 w 318"/>
                <a:gd name="T17" fmla="*/ 272 h 437"/>
                <a:gd name="T18" fmla="*/ 318 w 318"/>
                <a:gd name="T19" fmla="*/ 320 h 437"/>
                <a:gd name="T20" fmla="*/ 159 w 318"/>
                <a:gd name="T21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437">
                  <a:moveTo>
                    <a:pt x="159" y="0"/>
                  </a:moveTo>
                  <a:lnTo>
                    <a:pt x="0" y="320"/>
                  </a:lnTo>
                  <a:lnTo>
                    <a:pt x="54" y="272"/>
                  </a:lnTo>
                  <a:lnTo>
                    <a:pt x="65" y="378"/>
                  </a:lnTo>
                  <a:lnTo>
                    <a:pt x="121" y="308"/>
                  </a:lnTo>
                  <a:lnTo>
                    <a:pt x="159" y="437"/>
                  </a:lnTo>
                  <a:lnTo>
                    <a:pt x="198" y="308"/>
                  </a:lnTo>
                  <a:lnTo>
                    <a:pt x="252" y="378"/>
                  </a:lnTo>
                  <a:lnTo>
                    <a:pt x="264" y="272"/>
                  </a:lnTo>
                  <a:lnTo>
                    <a:pt x="318" y="320"/>
                  </a:lnTo>
                  <a:lnTo>
                    <a:pt x="159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56" name="任意多边形: 形状 155">
              <a:extLst>
                <a:ext uri="{FF2B5EF4-FFF2-40B4-BE49-F238E27FC236}">
                  <a16:creationId xmlns:a16="http://schemas.microsoft.com/office/drawing/2014/main" id="{FFEF17DB-017F-4C94-9B3D-1804E7638FE0}"/>
                </a:ext>
              </a:extLst>
            </p:cNvPr>
            <p:cNvSpPr/>
            <p:nvPr/>
          </p:nvSpPr>
          <p:spPr bwMode="auto">
            <a:xfrm>
              <a:off x="4759325" y="2967044"/>
              <a:ext cx="252413" cy="508000"/>
            </a:xfrm>
            <a:custGeom>
              <a:avLst/>
              <a:gdLst>
                <a:gd name="T0" fmla="*/ 0 w 159"/>
                <a:gd name="T1" fmla="*/ 0 h 320"/>
                <a:gd name="T2" fmla="*/ 105 w 159"/>
                <a:gd name="T3" fmla="*/ 272 h 320"/>
                <a:gd name="T4" fmla="*/ 159 w 159"/>
                <a:gd name="T5" fmla="*/ 320 h 320"/>
                <a:gd name="T6" fmla="*/ 0 w 159"/>
                <a:gd name="T7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9" h="320">
                  <a:moveTo>
                    <a:pt x="0" y="0"/>
                  </a:moveTo>
                  <a:lnTo>
                    <a:pt x="105" y="272"/>
                  </a:lnTo>
                  <a:lnTo>
                    <a:pt x="159" y="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57" name="任意多边形: 形状 156">
              <a:extLst>
                <a:ext uri="{FF2B5EF4-FFF2-40B4-BE49-F238E27FC236}">
                  <a16:creationId xmlns:a16="http://schemas.microsoft.com/office/drawing/2014/main" id="{385EE98C-58DF-4A84-81CC-15025B8F9343}"/>
                </a:ext>
              </a:extLst>
            </p:cNvPr>
            <p:cNvSpPr/>
            <p:nvPr/>
          </p:nvSpPr>
          <p:spPr bwMode="auto">
            <a:xfrm>
              <a:off x="4506913" y="2967044"/>
              <a:ext cx="252413" cy="508000"/>
            </a:xfrm>
            <a:custGeom>
              <a:avLst/>
              <a:gdLst>
                <a:gd name="T0" fmla="*/ 54 w 159"/>
                <a:gd name="T1" fmla="*/ 272 h 320"/>
                <a:gd name="T2" fmla="*/ 159 w 159"/>
                <a:gd name="T3" fmla="*/ 0 h 320"/>
                <a:gd name="T4" fmla="*/ 0 w 159"/>
                <a:gd name="T5" fmla="*/ 320 h 320"/>
                <a:gd name="T6" fmla="*/ 54 w 159"/>
                <a:gd name="T7" fmla="*/ 272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9" h="320">
                  <a:moveTo>
                    <a:pt x="54" y="272"/>
                  </a:moveTo>
                  <a:lnTo>
                    <a:pt x="159" y="0"/>
                  </a:lnTo>
                  <a:lnTo>
                    <a:pt x="0" y="320"/>
                  </a:lnTo>
                  <a:lnTo>
                    <a:pt x="54" y="272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58" name="任意多边形: 形状 157">
              <a:extLst>
                <a:ext uri="{FF2B5EF4-FFF2-40B4-BE49-F238E27FC236}">
                  <a16:creationId xmlns:a16="http://schemas.microsoft.com/office/drawing/2014/main" id="{D503F2D0-EED3-4958-BDE9-8F3865D48CF3}"/>
                </a:ext>
              </a:extLst>
            </p:cNvPr>
            <p:cNvSpPr/>
            <p:nvPr/>
          </p:nvSpPr>
          <p:spPr bwMode="auto">
            <a:xfrm>
              <a:off x="4903788" y="4133857"/>
              <a:ext cx="50800" cy="406400"/>
            </a:xfrm>
            <a:custGeom>
              <a:avLst/>
              <a:gdLst>
                <a:gd name="T0" fmla="*/ 0 w 32"/>
                <a:gd name="T1" fmla="*/ 0 h 256"/>
                <a:gd name="T2" fmla="*/ 0 w 32"/>
                <a:gd name="T3" fmla="*/ 0 h 256"/>
                <a:gd name="T4" fmla="*/ 32 w 32"/>
                <a:gd name="T5" fmla="*/ 256 h 256"/>
                <a:gd name="T6" fmla="*/ 0 w 32"/>
                <a:gd name="T7" fmla="*/ 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256">
                  <a:moveTo>
                    <a:pt x="0" y="0"/>
                  </a:moveTo>
                  <a:lnTo>
                    <a:pt x="0" y="0"/>
                  </a:lnTo>
                  <a:lnTo>
                    <a:pt x="32" y="2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A3F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59" name="任意多边形: 形状 158">
              <a:extLst>
                <a:ext uri="{FF2B5EF4-FFF2-40B4-BE49-F238E27FC236}">
                  <a16:creationId xmlns:a16="http://schemas.microsoft.com/office/drawing/2014/main" id="{B04A4CE0-D89E-43DD-8017-E0109BB17F5A}"/>
                </a:ext>
              </a:extLst>
            </p:cNvPr>
            <p:cNvSpPr/>
            <p:nvPr/>
          </p:nvSpPr>
          <p:spPr bwMode="auto">
            <a:xfrm>
              <a:off x="4903788" y="4133857"/>
              <a:ext cx="50800" cy="406400"/>
            </a:xfrm>
            <a:custGeom>
              <a:avLst/>
              <a:gdLst>
                <a:gd name="T0" fmla="*/ 0 w 32"/>
                <a:gd name="T1" fmla="*/ 0 h 256"/>
                <a:gd name="T2" fmla="*/ 0 w 32"/>
                <a:gd name="T3" fmla="*/ 0 h 256"/>
                <a:gd name="T4" fmla="*/ 32 w 32"/>
                <a:gd name="T5" fmla="*/ 256 h 256"/>
                <a:gd name="T6" fmla="*/ 0 w 32"/>
                <a:gd name="T7" fmla="*/ 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2" h="256">
                  <a:moveTo>
                    <a:pt x="0" y="0"/>
                  </a:moveTo>
                  <a:lnTo>
                    <a:pt x="0" y="0"/>
                  </a:lnTo>
                  <a:lnTo>
                    <a:pt x="32" y="256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60" name="任意多边形: 形状 159">
              <a:extLst>
                <a:ext uri="{FF2B5EF4-FFF2-40B4-BE49-F238E27FC236}">
                  <a16:creationId xmlns:a16="http://schemas.microsoft.com/office/drawing/2014/main" id="{B23C8AB6-D4F7-4D14-8CEC-283487E244A5}"/>
                </a:ext>
              </a:extLst>
            </p:cNvPr>
            <p:cNvSpPr/>
            <p:nvPr/>
          </p:nvSpPr>
          <p:spPr bwMode="auto">
            <a:xfrm>
              <a:off x="5100638" y="3762382"/>
              <a:ext cx="114300" cy="339725"/>
            </a:xfrm>
            <a:custGeom>
              <a:avLst/>
              <a:gdLst>
                <a:gd name="T0" fmla="*/ 33 w 72"/>
                <a:gd name="T1" fmla="*/ 0 h 214"/>
                <a:gd name="T2" fmla="*/ 0 w 72"/>
                <a:gd name="T3" fmla="*/ 50 h 214"/>
                <a:gd name="T4" fmla="*/ 64 w 72"/>
                <a:gd name="T5" fmla="*/ 214 h 214"/>
                <a:gd name="T6" fmla="*/ 72 w 72"/>
                <a:gd name="T7" fmla="*/ 76 h 214"/>
                <a:gd name="T8" fmla="*/ 33 w 72"/>
                <a:gd name="T9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214">
                  <a:moveTo>
                    <a:pt x="33" y="0"/>
                  </a:moveTo>
                  <a:lnTo>
                    <a:pt x="0" y="50"/>
                  </a:lnTo>
                  <a:lnTo>
                    <a:pt x="64" y="214"/>
                  </a:lnTo>
                  <a:lnTo>
                    <a:pt x="72" y="76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30A3DC">
                <a:lumMod val="95000"/>
                <a:lumOff val="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61" name="任意多边形: 形状 160">
              <a:extLst>
                <a:ext uri="{FF2B5EF4-FFF2-40B4-BE49-F238E27FC236}">
                  <a16:creationId xmlns:a16="http://schemas.microsoft.com/office/drawing/2014/main" id="{6F1422FF-5B75-491A-A021-A20ED8CB0532}"/>
                </a:ext>
              </a:extLst>
            </p:cNvPr>
            <p:cNvSpPr/>
            <p:nvPr/>
          </p:nvSpPr>
          <p:spPr bwMode="auto">
            <a:xfrm>
              <a:off x="5100638" y="3762382"/>
              <a:ext cx="114300" cy="339725"/>
            </a:xfrm>
            <a:custGeom>
              <a:avLst/>
              <a:gdLst>
                <a:gd name="T0" fmla="*/ 33 w 72"/>
                <a:gd name="T1" fmla="*/ 0 h 214"/>
                <a:gd name="T2" fmla="*/ 0 w 72"/>
                <a:gd name="T3" fmla="*/ 50 h 214"/>
                <a:gd name="T4" fmla="*/ 64 w 72"/>
                <a:gd name="T5" fmla="*/ 214 h 214"/>
                <a:gd name="T6" fmla="*/ 72 w 72"/>
                <a:gd name="T7" fmla="*/ 76 h 214"/>
                <a:gd name="T8" fmla="*/ 33 w 72"/>
                <a:gd name="T9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2" h="214">
                  <a:moveTo>
                    <a:pt x="33" y="0"/>
                  </a:moveTo>
                  <a:lnTo>
                    <a:pt x="0" y="50"/>
                  </a:lnTo>
                  <a:lnTo>
                    <a:pt x="64" y="214"/>
                  </a:lnTo>
                  <a:lnTo>
                    <a:pt x="72" y="76"/>
                  </a:lnTo>
                  <a:lnTo>
                    <a:pt x="3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62" name="任意多边形: 形状 161">
              <a:extLst>
                <a:ext uri="{FF2B5EF4-FFF2-40B4-BE49-F238E27FC236}">
                  <a16:creationId xmlns:a16="http://schemas.microsoft.com/office/drawing/2014/main" id="{00E159A6-911A-48B6-A24D-8728C36DE9B3}"/>
                </a:ext>
              </a:extLst>
            </p:cNvPr>
            <p:cNvSpPr/>
            <p:nvPr/>
          </p:nvSpPr>
          <p:spPr bwMode="auto">
            <a:xfrm>
              <a:off x="5010150" y="3841757"/>
              <a:ext cx="192088" cy="700088"/>
            </a:xfrm>
            <a:custGeom>
              <a:avLst/>
              <a:gdLst>
                <a:gd name="T0" fmla="*/ 57 w 121"/>
                <a:gd name="T1" fmla="*/ 0 h 441"/>
                <a:gd name="T2" fmla="*/ 0 w 121"/>
                <a:gd name="T3" fmla="*/ 85 h 441"/>
                <a:gd name="T4" fmla="*/ 88 w 121"/>
                <a:gd name="T5" fmla="*/ 440 h 441"/>
                <a:gd name="T6" fmla="*/ 105 w 121"/>
                <a:gd name="T7" fmla="*/ 441 h 441"/>
                <a:gd name="T8" fmla="*/ 121 w 121"/>
                <a:gd name="T9" fmla="*/ 164 h 441"/>
                <a:gd name="T10" fmla="*/ 57 w 121"/>
                <a:gd name="T11" fmla="*/ 0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441">
                  <a:moveTo>
                    <a:pt x="57" y="0"/>
                  </a:moveTo>
                  <a:lnTo>
                    <a:pt x="0" y="85"/>
                  </a:lnTo>
                  <a:lnTo>
                    <a:pt x="88" y="440"/>
                  </a:lnTo>
                  <a:lnTo>
                    <a:pt x="105" y="441"/>
                  </a:lnTo>
                  <a:lnTo>
                    <a:pt x="121" y="164"/>
                  </a:lnTo>
                  <a:lnTo>
                    <a:pt x="57" y="0"/>
                  </a:lnTo>
                  <a:close/>
                </a:path>
              </a:pathLst>
            </a:custGeom>
            <a:solidFill>
              <a:srgbClr val="30A3DC">
                <a:lumMod val="85000"/>
                <a:lumOff val="1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63" name="任意多边形: 形状 162">
              <a:extLst>
                <a:ext uri="{FF2B5EF4-FFF2-40B4-BE49-F238E27FC236}">
                  <a16:creationId xmlns:a16="http://schemas.microsoft.com/office/drawing/2014/main" id="{B35A351D-7F97-49F9-B0AE-541C41B82D51}"/>
                </a:ext>
              </a:extLst>
            </p:cNvPr>
            <p:cNvSpPr/>
            <p:nvPr/>
          </p:nvSpPr>
          <p:spPr bwMode="auto">
            <a:xfrm>
              <a:off x="5010150" y="3841757"/>
              <a:ext cx="192088" cy="700088"/>
            </a:xfrm>
            <a:custGeom>
              <a:avLst/>
              <a:gdLst>
                <a:gd name="T0" fmla="*/ 57 w 121"/>
                <a:gd name="T1" fmla="*/ 0 h 441"/>
                <a:gd name="T2" fmla="*/ 0 w 121"/>
                <a:gd name="T3" fmla="*/ 85 h 441"/>
                <a:gd name="T4" fmla="*/ 88 w 121"/>
                <a:gd name="T5" fmla="*/ 440 h 441"/>
                <a:gd name="T6" fmla="*/ 105 w 121"/>
                <a:gd name="T7" fmla="*/ 441 h 441"/>
                <a:gd name="T8" fmla="*/ 121 w 121"/>
                <a:gd name="T9" fmla="*/ 164 h 441"/>
                <a:gd name="T10" fmla="*/ 57 w 121"/>
                <a:gd name="T11" fmla="*/ 0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441">
                  <a:moveTo>
                    <a:pt x="57" y="0"/>
                  </a:moveTo>
                  <a:lnTo>
                    <a:pt x="0" y="85"/>
                  </a:lnTo>
                  <a:lnTo>
                    <a:pt x="88" y="440"/>
                  </a:lnTo>
                  <a:lnTo>
                    <a:pt x="105" y="441"/>
                  </a:lnTo>
                  <a:lnTo>
                    <a:pt x="121" y="164"/>
                  </a:lnTo>
                  <a:lnTo>
                    <a:pt x="5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64" name="任意多边形: 形状 163">
              <a:extLst>
                <a:ext uri="{FF2B5EF4-FFF2-40B4-BE49-F238E27FC236}">
                  <a16:creationId xmlns:a16="http://schemas.microsoft.com/office/drawing/2014/main" id="{91ACC45D-67B5-4553-9CB4-14FFB0E29BEB}"/>
                </a:ext>
              </a:extLst>
            </p:cNvPr>
            <p:cNvSpPr/>
            <p:nvPr/>
          </p:nvSpPr>
          <p:spPr bwMode="auto">
            <a:xfrm>
              <a:off x="4903788" y="3976694"/>
              <a:ext cx="246063" cy="563563"/>
            </a:xfrm>
            <a:custGeom>
              <a:avLst/>
              <a:gdLst>
                <a:gd name="T0" fmla="*/ 67 w 155"/>
                <a:gd name="T1" fmla="*/ 0 h 355"/>
                <a:gd name="T2" fmla="*/ 0 w 155"/>
                <a:gd name="T3" fmla="*/ 99 h 355"/>
                <a:gd name="T4" fmla="*/ 32 w 155"/>
                <a:gd name="T5" fmla="*/ 355 h 355"/>
                <a:gd name="T6" fmla="*/ 155 w 155"/>
                <a:gd name="T7" fmla="*/ 355 h 355"/>
                <a:gd name="T8" fmla="*/ 67 w 155"/>
                <a:gd name="T9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5" h="355">
                  <a:moveTo>
                    <a:pt x="67" y="0"/>
                  </a:moveTo>
                  <a:lnTo>
                    <a:pt x="0" y="99"/>
                  </a:lnTo>
                  <a:lnTo>
                    <a:pt x="32" y="355"/>
                  </a:lnTo>
                  <a:lnTo>
                    <a:pt x="155" y="355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30A3DC">
                <a:lumMod val="95000"/>
                <a:lumOff val="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65" name="任意多边形: 形状 164">
              <a:extLst>
                <a:ext uri="{FF2B5EF4-FFF2-40B4-BE49-F238E27FC236}">
                  <a16:creationId xmlns:a16="http://schemas.microsoft.com/office/drawing/2014/main" id="{87B00175-E9D8-4F11-8570-79AF9045CADA}"/>
                </a:ext>
              </a:extLst>
            </p:cNvPr>
            <p:cNvSpPr/>
            <p:nvPr/>
          </p:nvSpPr>
          <p:spPr bwMode="auto">
            <a:xfrm>
              <a:off x="4903788" y="3976694"/>
              <a:ext cx="246063" cy="563563"/>
            </a:xfrm>
            <a:custGeom>
              <a:avLst/>
              <a:gdLst>
                <a:gd name="T0" fmla="*/ 67 w 155"/>
                <a:gd name="T1" fmla="*/ 0 h 355"/>
                <a:gd name="T2" fmla="*/ 0 w 155"/>
                <a:gd name="T3" fmla="*/ 99 h 355"/>
                <a:gd name="T4" fmla="*/ 32 w 155"/>
                <a:gd name="T5" fmla="*/ 355 h 355"/>
                <a:gd name="T6" fmla="*/ 155 w 155"/>
                <a:gd name="T7" fmla="*/ 355 h 355"/>
                <a:gd name="T8" fmla="*/ 67 w 155"/>
                <a:gd name="T9" fmla="*/ 0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5" h="355">
                  <a:moveTo>
                    <a:pt x="67" y="0"/>
                  </a:moveTo>
                  <a:lnTo>
                    <a:pt x="0" y="99"/>
                  </a:lnTo>
                  <a:lnTo>
                    <a:pt x="32" y="355"/>
                  </a:lnTo>
                  <a:lnTo>
                    <a:pt x="155" y="355"/>
                  </a:lnTo>
                  <a:lnTo>
                    <a:pt x="6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66" name="任意多边形: 形状 165">
              <a:extLst>
                <a:ext uri="{FF2B5EF4-FFF2-40B4-BE49-F238E27FC236}">
                  <a16:creationId xmlns:a16="http://schemas.microsoft.com/office/drawing/2014/main" id="{A43C3201-A175-4F55-8B91-B6C9EB89E8E5}"/>
                </a:ext>
              </a:extLst>
            </p:cNvPr>
            <p:cNvSpPr/>
            <p:nvPr/>
          </p:nvSpPr>
          <p:spPr bwMode="auto">
            <a:xfrm>
              <a:off x="4632325" y="4133857"/>
              <a:ext cx="322263" cy="406400"/>
            </a:xfrm>
            <a:custGeom>
              <a:avLst/>
              <a:gdLst>
                <a:gd name="T0" fmla="*/ 171 w 203"/>
                <a:gd name="T1" fmla="*/ 0 h 256"/>
                <a:gd name="T2" fmla="*/ 0 w 203"/>
                <a:gd name="T3" fmla="*/ 254 h 256"/>
                <a:gd name="T4" fmla="*/ 203 w 203"/>
                <a:gd name="T5" fmla="*/ 256 h 256"/>
                <a:gd name="T6" fmla="*/ 171 w 203"/>
                <a:gd name="T7" fmla="*/ 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3" h="256">
                  <a:moveTo>
                    <a:pt x="171" y="0"/>
                  </a:moveTo>
                  <a:lnTo>
                    <a:pt x="0" y="254"/>
                  </a:lnTo>
                  <a:lnTo>
                    <a:pt x="203" y="256"/>
                  </a:lnTo>
                  <a:lnTo>
                    <a:pt x="171" y="0"/>
                  </a:lnTo>
                  <a:close/>
                </a:path>
              </a:pathLst>
            </a:custGeom>
            <a:solidFill>
              <a:srgbClr val="30A3DC">
                <a:lumMod val="85000"/>
                <a:lumOff val="1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67" name="任意多边形: 形状 166">
              <a:extLst>
                <a:ext uri="{FF2B5EF4-FFF2-40B4-BE49-F238E27FC236}">
                  <a16:creationId xmlns:a16="http://schemas.microsoft.com/office/drawing/2014/main" id="{1DE3177C-6E0C-4B52-B9C6-C9D384B99D13}"/>
                </a:ext>
              </a:extLst>
            </p:cNvPr>
            <p:cNvSpPr/>
            <p:nvPr/>
          </p:nvSpPr>
          <p:spPr bwMode="auto">
            <a:xfrm>
              <a:off x="4632325" y="4133857"/>
              <a:ext cx="322263" cy="406400"/>
            </a:xfrm>
            <a:custGeom>
              <a:avLst/>
              <a:gdLst>
                <a:gd name="T0" fmla="*/ 171 w 203"/>
                <a:gd name="T1" fmla="*/ 0 h 256"/>
                <a:gd name="T2" fmla="*/ 0 w 203"/>
                <a:gd name="T3" fmla="*/ 254 h 256"/>
                <a:gd name="T4" fmla="*/ 203 w 203"/>
                <a:gd name="T5" fmla="*/ 256 h 256"/>
                <a:gd name="T6" fmla="*/ 171 w 203"/>
                <a:gd name="T7" fmla="*/ 0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3" h="256">
                  <a:moveTo>
                    <a:pt x="171" y="0"/>
                  </a:moveTo>
                  <a:lnTo>
                    <a:pt x="0" y="254"/>
                  </a:lnTo>
                  <a:lnTo>
                    <a:pt x="203" y="256"/>
                  </a:lnTo>
                  <a:lnTo>
                    <a:pt x="17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68" name="任意多边形: 形状 167">
              <a:extLst>
                <a:ext uri="{FF2B5EF4-FFF2-40B4-BE49-F238E27FC236}">
                  <a16:creationId xmlns:a16="http://schemas.microsoft.com/office/drawing/2014/main" id="{7A7A97BD-7105-4360-8FDB-69CB9DEEED7D}"/>
                </a:ext>
              </a:extLst>
            </p:cNvPr>
            <p:cNvSpPr/>
            <p:nvPr/>
          </p:nvSpPr>
          <p:spPr bwMode="auto">
            <a:xfrm>
              <a:off x="4930775" y="1766894"/>
              <a:ext cx="1149350" cy="2774950"/>
            </a:xfrm>
            <a:custGeom>
              <a:avLst/>
              <a:gdLst>
                <a:gd name="T0" fmla="*/ 0 w 724"/>
                <a:gd name="T1" fmla="*/ 1748 h 1748"/>
                <a:gd name="T2" fmla="*/ 155 w 724"/>
                <a:gd name="T3" fmla="*/ 1748 h 1748"/>
                <a:gd name="T4" fmla="*/ 724 w 724"/>
                <a:gd name="T5" fmla="*/ 0 h 1748"/>
                <a:gd name="T6" fmla="*/ 0 w 724"/>
                <a:gd name="T7" fmla="*/ 1748 h 1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4" h="1748">
                  <a:moveTo>
                    <a:pt x="0" y="1748"/>
                  </a:moveTo>
                  <a:lnTo>
                    <a:pt x="155" y="1748"/>
                  </a:lnTo>
                  <a:lnTo>
                    <a:pt x="724" y="0"/>
                  </a:lnTo>
                  <a:lnTo>
                    <a:pt x="0" y="1748"/>
                  </a:lnTo>
                  <a:close/>
                </a:path>
              </a:pathLst>
            </a:custGeom>
            <a:solidFill>
              <a:srgbClr val="30A3DC">
                <a:lumMod val="85000"/>
                <a:lumOff val="1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69" name="任意多边形: 形状 168">
              <a:extLst>
                <a:ext uri="{FF2B5EF4-FFF2-40B4-BE49-F238E27FC236}">
                  <a16:creationId xmlns:a16="http://schemas.microsoft.com/office/drawing/2014/main" id="{674F4F8D-785C-4B71-B7C0-A85579AB1894}"/>
                </a:ext>
              </a:extLst>
            </p:cNvPr>
            <p:cNvSpPr/>
            <p:nvPr/>
          </p:nvSpPr>
          <p:spPr bwMode="auto">
            <a:xfrm>
              <a:off x="5176838" y="1766894"/>
              <a:ext cx="903288" cy="2774950"/>
            </a:xfrm>
            <a:custGeom>
              <a:avLst/>
              <a:gdLst>
                <a:gd name="T0" fmla="*/ 0 w 569"/>
                <a:gd name="T1" fmla="*/ 1748 h 1748"/>
                <a:gd name="T2" fmla="*/ 207 w 569"/>
                <a:gd name="T3" fmla="*/ 1748 h 1748"/>
                <a:gd name="T4" fmla="*/ 569 w 569"/>
                <a:gd name="T5" fmla="*/ 0 h 1748"/>
                <a:gd name="T6" fmla="*/ 0 w 569"/>
                <a:gd name="T7" fmla="*/ 1748 h 1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9" h="1748">
                  <a:moveTo>
                    <a:pt x="0" y="1748"/>
                  </a:moveTo>
                  <a:lnTo>
                    <a:pt x="207" y="1748"/>
                  </a:lnTo>
                  <a:lnTo>
                    <a:pt x="569" y="0"/>
                  </a:lnTo>
                  <a:lnTo>
                    <a:pt x="0" y="1748"/>
                  </a:lnTo>
                  <a:close/>
                </a:path>
              </a:pathLst>
            </a:custGeom>
            <a:solidFill>
              <a:srgbClr val="30A3DC">
                <a:lumMod val="75000"/>
                <a:lumOff val="2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70" name="任意多边形: 形状 169">
              <a:extLst>
                <a:ext uri="{FF2B5EF4-FFF2-40B4-BE49-F238E27FC236}">
                  <a16:creationId xmlns:a16="http://schemas.microsoft.com/office/drawing/2014/main" id="{F4C64A30-45BE-49D2-A56B-4A251E10061D}"/>
                </a:ext>
              </a:extLst>
            </p:cNvPr>
            <p:cNvSpPr/>
            <p:nvPr/>
          </p:nvSpPr>
          <p:spPr bwMode="auto">
            <a:xfrm>
              <a:off x="5505450" y="1766894"/>
              <a:ext cx="574675" cy="2774950"/>
            </a:xfrm>
            <a:custGeom>
              <a:avLst/>
              <a:gdLst>
                <a:gd name="T0" fmla="*/ 0 w 362"/>
                <a:gd name="T1" fmla="*/ 1748 h 1748"/>
                <a:gd name="T2" fmla="*/ 181 w 362"/>
                <a:gd name="T3" fmla="*/ 1748 h 1748"/>
                <a:gd name="T4" fmla="*/ 362 w 362"/>
                <a:gd name="T5" fmla="*/ 0 h 1748"/>
                <a:gd name="T6" fmla="*/ 0 w 362"/>
                <a:gd name="T7" fmla="*/ 1748 h 1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2" h="1748">
                  <a:moveTo>
                    <a:pt x="0" y="1748"/>
                  </a:moveTo>
                  <a:lnTo>
                    <a:pt x="181" y="1748"/>
                  </a:lnTo>
                  <a:lnTo>
                    <a:pt x="362" y="0"/>
                  </a:lnTo>
                  <a:lnTo>
                    <a:pt x="0" y="1748"/>
                  </a:lnTo>
                  <a:close/>
                </a:path>
              </a:pathLst>
            </a:custGeom>
            <a:solidFill>
              <a:srgbClr val="30A3DC">
                <a:lumMod val="85000"/>
                <a:lumOff val="1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71" name="任意多边形: 形状 170">
              <a:extLst>
                <a:ext uri="{FF2B5EF4-FFF2-40B4-BE49-F238E27FC236}">
                  <a16:creationId xmlns:a16="http://schemas.microsoft.com/office/drawing/2014/main" id="{5B27D351-9E5E-4090-80B5-9AE9FEF39494}"/>
                </a:ext>
              </a:extLst>
            </p:cNvPr>
            <p:cNvSpPr/>
            <p:nvPr/>
          </p:nvSpPr>
          <p:spPr bwMode="auto">
            <a:xfrm>
              <a:off x="6080125" y="1766894"/>
              <a:ext cx="1147763" cy="2774950"/>
            </a:xfrm>
            <a:custGeom>
              <a:avLst/>
              <a:gdLst>
                <a:gd name="T0" fmla="*/ 0 w 723"/>
                <a:gd name="T1" fmla="*/ 0 h 1748"/>
                <a:gd name="T2" fmla="*/ 568 w 723"/>
                <a:gd name="T3" fmla="*/ 1748 h 1748"/>
                <a:gd name="T4" fmla="*/ 723 w 723"/>
                <a:gd name="T5" fmla="*/ 1748 h 1748"/>
                <a:gd name="T6" fmla="*/ 0 w 723"/>
                <a:gd name="T7" fmla="*/ 0 h 1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3" h="1748">
                  <a:moveTo>
                    <a:pt x="0" y="0"/>
                  </a:moveTo>
                  <a:lnTo>
                    <a:pt x="568" y="1748"/>
                  </a:lnTo>
                  <a:lnTo>
                    <a:pt x="723" y="17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0A3DC">
                <a:lumMod val="85000"/>
                <a:lumOff val="1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72" name="任意多边形: 形状 171">
              <a:extLst>
                <a:ext uri="{FF2B5EF4-FFF2-40B4-BE49-F238E27FC236}">
                  <a16:creationId xmlns:a16="http://schemas.microsoft.com/office/drawing/2014/main" id="{4A831DFB-031A-4189-825A-3471F26672BF}"/>
                </a:ext>
              </a:extLst>
            </p:cNvPr>
            <p:cNvSpPr/>
            <p:nvPr/>
          </p:nvSpPr>
          <p:spPr bwMode="auto">
            <a:xfrm>
              <a:off x="6080125" y="1766894"/>
              <a:ext cx="901700" cy="2774950"/>
            </a:xfrm>
            <a:custGeom>
              <a:avLst/>
              <a:gdLst>
                <a:gd name="T0" fmla="*/ 362 w 568"/>
                <a:gd name="T1" fmla="*/ 1748 h 1748"/>
                <a:gd name="T2" fmla="*/ 568 w 568"/>
                <a:gd name="T3" fmla="*/ 1748 h 1748"/>
                <a:gd name="T4" fmla="*/ 0 w 568"/>
                <a:gd name="T5" fmla="*/ 0 h 1748"/>
                <a:gd name="T6" fmla="*/ 362 w 568"/>
                <a:gd name="T7" fmla="*/ 1748 h 1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8" h="1748">
                  <a:moveTo>
                    <a:pt x="362" y="1748"/>
                  </a:moveTo>
                  <a:lnTo>
                    <a:pt x="568" y="1748"/>
                  </a:lnTo>
                  <a:lnTo>
                    <a:pt x="0" y="0"/>
                  </a:lnTo>
                  <a:lnTo>
                    <a:pt x="362" y="1748"/>
                  </a:lnTo>
                  <a:close/>
                </a:path>
              </a:pathLst>
            </a:custGeom>
            <a:solidFill>
              <a:srgbClr val="30A3DC">
                <a:lumMod val="75000"/>
                <a:lumOff val="2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73" name="任意多边形: 形状 172">
              <a:extLst>
                <a:ext uri="{FF2B5EF4-FFF2-40B4-BE49-F238E27FC236}">
                  <a16:creationId xmlns:a16="http://schemas.microsoft.com/office/drawing/2014/main" id="{A20B9746-1D9E-4FBE-BAEE-DA44A015A2D2}"/>
                </a:ext>
              </a:extLst>
            </p:cNvPr>
            <p:cNvSpPr/>
            <p:nvPr/>
          </p:nvSpPr>
          <p:spPr bwMode="auto">
            <a:xfrm>
              <a:off x="6080125" y="1766894"/>
              <a:ext cx="574675" cy="2774950"/>
            </a:xfrm>
            <a:custGeom>
              <a:avLst/>
              <a:gdLst>
                <a:gd name="T0" fmla="*/ 181 w 362"/>
                <a:gd name="T1" fmla="*/ 1748 h 1748"/>
                <a:gd name="T2" fmla="*/ 362 w 362"/>
                <a:gd name="T3" fmla="*/ 1748 h 1748"/>
                <a:gd name="T4" fmla="*/ 0 w 362"/>
                <a:gd name="T5" fmla="*/ 0 h 1748"/>
                <a:gd name="T6" fmla="*/ 181 w 362"/>
                <a:gd name="T7" fmla="*/ 1748 h 1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2" h="1748">
                  <a:moveTo>
                    <a:pt x="181" y="1748"/>
                  </a:moveTo>
                  <a:lnTo>
                    <a:pt x="362" y="1748"/>
                  </a:lnTo>
                  <a:lnTo>
                    <a:pt x="0" y="0"/>
                  </a:lnTo>
                  <a:lnTo>
                    <a:pt x="181" y="1748"/>
                  </a:lnTo>
                  <a:close/>
                </a:path>
              </a:pathLst>
            </a:custGeom>
            <a:solidFill>
              <a:srgbClr val="30A3DC">
                <a:lumMod val="85000"/>
                <a:lumOff val="1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74" name="任意多边形: 形状 173">
              <a:extLst>
                <a:ext uri="{FF2B5EF4-FFF2-40B4-BE49-F238E27FC236}">
                  <a16:creationId xmlns:a16="http://schemas.microsoft.com/office/drawing/2014/main" id="{58D920C1-4990-4488-85DB-52A604ED1DC0}"/>
                </a:ext>
              </a:extLst>
            </p:cNvPr>
            <p:cNvSpPr/>
            <p:nvPr/>
          </p:nvSpPr>
          <p:spPr bwMode="auto">
            <a:xfrm>
              <a:off x="5792788" y="1766894"/>
              <a:ext cx="574675" cy="2774950"/>
            </a:xfrm>
            <a:custGeom>
              <a:avLst/>
              <a:gdLst>
                <a:gd name="T0" fmla="*/ 181 w 362"/>
                <a:gd name="T1" fmla="*/ 0 h 1748"/>
                <a:gd name="T2" fmla="*/ 0 w 362"/>
                <a:gd name="T3" fmla="*/ 1748 h 1748"/>
                <a:gd name="T4" fmla="*/ 125 w 362"/>
                <a:gd name="T5" fmla="*/ 1748 h 1748"/>
                <a:gd name="T6" fmla="*/ 181 w 362"/>
                <a:gd name="T7" fmla="*/ 1748 h 1748"/>
                <a:gd name="T8" fmla="*/ 237 w 362"/>
                <a:gd name="T9" fmla="*/ 1748 h 1748"/>
                <a:gd name="T10" fmla="*/ 362 w 362"/>
                <a:gd name="T11" fmla="*/ 1748 h 1748"/>
                <a:gd name="T12" fmla="*/ 181 w 362"/>
                <a:gd name="T13" fmla="*/ 0 h 1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2" h="1748">
                  <a:moveTo>
                    <a:pt x="181" y="0"/>
                  </a:moveTo>
                  <a:lnTo>
                    <a:pt x="0" y="1748"/>
                  </a:lnTo>
                  <a:lnTo>
                    <a:pt x="125" y="1748"/>
                  </a:lnTo>
                  <a:lnTo>
                    <a:pt x="181" y="1748"/>
                  </a:lnTo>
                  <a:lnTo>
                    <a:pt x="237" y="1748"/>
                  </a:lnTo>
                  <a:lnTo>
                    <a:pt x="362" y="1748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30A3DC">
                <a:lumMod val="75000"/>
                <a:lumOff val="2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175" name="任意多边形: 形状 174">
              <a:extLst>
                <a:ext uri="{FF2B5EF4-FFF2-40B4-BE49-F238E27FC236}">
                  <a16:creationId xmlns:a16="http://schemas.microsoft.com/office/drawing/2014/main" id="{ED54E6AC-1FA9-4355-BDC8-50800F098695}"/>
                </a:ext>
              </a:extLst>
            </p:cNvPr>
            <p:cNvSpPr/>
            <p:nvPr/>
          </p:nvSpPr>
          <p:spPr bwMode="auto">
            <a:xfrm>
              <a:off x="5708650" y="1766894"/>
              <a:ext cx="741363" cy="1220788"/>
            </a:xfrm>
            <a:custGeom>
              <a:avLst/>
              <a:gdLst>
                <a:gd name="T0" fmla="*/ 234 w 467"/>
                <a:gd name="T1" fmla="*/ 0 h 769"/>
                <a:gd name="T2" fmla="*/ 0 w 467"/>
                <a:gd name="T3" fmla="*/ 564 h 769"/>
                <a:gd name="T4" fmla="*/ 78 w 467"/>
                <a:gd name="T5" fmla="*/ 478 h 769"/>
                <a:gd name="T6" fmla="*/ 97 w 467"/>
                <a:gd name="T7" fmla="*/ 665 h 769"/>
                <a:gd name="T8" fmla="*/ 178 w 467"/>
                <a:gd name="T9" fmla="*/ 542 h 769"/>
                <a:gd name="T10" fmla="*/ 234 w 467"/>
                <a:gd name="T11" fmla="*/ 769 h 769"/>
                <a:gd name="T12" fmla="*/ 290 w 467"/>
                <a:gd name="T13" fmla="*/ 542 h 769"/>
                <a:gd name="T14" fmla="*/ 371 w 467"/>
                <a:gd name="T15" fmla="*/ 665 h 769"/>
                <a:gd name="T16" fmla="*/ 389 w 467"/>
                <a:gd name="T17" fmla="*/ 478 h 769"/>
                <a:gd name="T18" fmla="*/ 467 w 467"/>
                <a:gd name="T19" fmla="*/ 564 h 769"/>
                <a:gd name="T20" fmla="*/ 234 w 467"/>
                <a:gd name="T21" fmla="*/ 0 h 7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7" h="769">
                  <a:moveTo>
                    <a:pt x="234" y="0"/>
                  </a:moveTo>
                  <a:lnTo>
                    <a:pt x="0" y="564"/>
                  </a:lnTo>
                  <a:lnTo>
                    <a:pt x="78" y="478"/>
                  </a:lnTo>
                  <a:lnTo>
                    <a:pt x="97" y="665"/>
                  </a:lnTo>
                  <a:lnTo>
                    <a:pt x="178" y="542"/>
                  </a:lnTo>
                  <a:lnTo>
                    <a:pt x="234" y="769"/>
                  </a:lnTo>
                  <a:lnTo>
                    <a:pt x="290" y="542"/>
                  </a:lnTo>
                  <a:lnTo>
                    <a:pt x="371" y="665"/>
                  </a:lnTo>
                  <a:lnTo>
                    <a:pt x="389" y="478"/>
                  </a:lnTo>
                  <a:lnTo>
                    <a:pt x="467" y="564"/>
                  </a:lnTo>
                  <a:lnTo>
                    <a:pt x="234" y="0"/>
                  </a:lnTo>
                  <a:close/>
                </a:path>
              </a:pathLst>
            </a:custGeom>
            <a:solidFill>
              <a:srgbClr val="F4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76" name="任意多边形: 形状 175">
              <a:extLst>
                <a:ext uri="{FF2B5EF4-FFF2-40B4-BE49-F238E27FC236}">
                  <a16:creationId xmlns:a16="http://schemas.microsoft.com/office/drawing/2014/main" id="{FC791359-6959-4FFB-AA99-776B514D0D99}"/>
                </a:ext>
              </a:extLst>
            </p:cNvPr>
            <p:cNvSpPr/>
            <p:nvPr/>
          </p:nvSpPr>
          <p:spPr bwMode="auto">
            <a:xfrm>
              <a:off x="6080125" y="1766894"/>
              <a:ext cx="369888" cy="895350"/>
            </a:xfrm>
            <a:custGeom>
              <a:avLst/>
              <a:gdLst>
                <a:gd name="T0" fmla="*/ 0 w 233"/>
                <a:gd name="T1" fmla="*/ 0 h 564"/>
                <a:gd name="T2" fmla="*/ 155 w 233"/>
                <a:gd name="T3" fmla="*/ 478 h 564"/>
                <a:gd name="T4" fmla="*/ 233 w 233"/>
                <a:gd name="T5" fmla="*/ 564 h 564"/>
                <a:gd name="T6" fmla="*/ 0 w 233"/>
                <a:gd name="T7" fmla="*/ 0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3" h="564">
                  <a:moveTo>
                    <a:pt x="0" y="0"/>
                  </a:moveTo>
                  <a:lnTo>
                    <a:pt x="155" y="478"/>
                  </a:lnTo>
                  <a:lnTo>
                    <a:pt x="233" y="56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77" name="任意多边形: 形状 176">
              <a:extLst>
                <a:ext uri="{FF2B5EF4-FFF2-40B4-BE49-F238E27FC236}">
                  <a16:creationId xmlns:a16="http://schemas.microsoft.com/office/drawing/2014/main" id="{275B4F52-C581-4CA4-959E-D7198CDE424C}"/>
                </a:ext>
              </a:extLst>
            </p:cNvPr>
            <p:cNvSpPr/>
            <p:nvPr/>
          </p:nvSpPr>
          <p:spPr bwMode="auto">
            <a:xfrm>
              <a:off x="5708650" y="1766894"/>
              <a:ext cx="371475" cy="895350"/>
            </a:xfrm>
            <a:custGeom>
              <a:avLst/>
              <a:gdLst>
                <a:gd name="T0" fmla="*/ 78 w 234"/>
                <a:gd name="T1" fmla="*/ 478 h 564"/>
                <a:gd name="T2" fmla="*/ 234 w 234"/>
                <a:gd name="T3" fmla="*/ 0 h 564"/>
                <a:gd name="T4" fmla="*/ 0 w 234"/>
                <a:gd name="T5" fmla="*/ 564 h 564"/>
                <a:gd name="T6" fmla="*/ 78 w 234"/>
                <a:gd name="T7" fmla="*/ 478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4" h="564">
                  <a:moveTo>
                    <a:pt x="78" y="478"/>
                  </a:moveTo>
                  <a:lnTo>
                    <a:pt x="234" y="0"/>
                  </a:lnTo>
                  <a:lnTo>
                    <a:pt x="0" y="564"/>
                  </a:lnTo>
                  <a:lnTo>
                    <a:pt x="78" y="478"/>
                  </a:lnTo>
                  <a:close/>
                </a:path>
              </a:pathLst>
            </a:custGeom>
            <a:solidFill>
              <a:srgbClr val="E8E8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78" name="任意多边形: 形状 177">
              <a:extLst>
                <a:ext uri="{FF2B5EF4-FFF2-40B4-BE49-F238E27FC236}">
                  <a16:creationId xmlns:a16="http://schemas.microsoft.com/office/drawing/2014/main" id="{D841C14B-71CC-4EF3-A3B7-515DF6A590F8}"/>
                </a:ext>
              </a:extLst>
            </p:cNvPr>
            <p:cNvSpPr/>
            <p:nvPr/>
          </p:nvSpPr>
          <p:spPr bwMode="auto">
            <a:xfrm>
              <a:off x="5033963" y="4606932"/>
              <a:ext cx="23813" cy="74613"/>
            </a:xfrm>
            <a:custGeom>
              <a:avLst/>
              <a:gdLst>
                <a:gd name="T0" fmla="*/ 15 w 15"/>
                <a:gd name="T1" fmla="*/ 47 h 47"/>
                <a:gd name="T2" fmla="*/ 0 w 15"/>
                <a:gd name="T3" fmla="*/ 47 h 47"/>
                <a:gd name="T4" fmla="*/ 4 w 15"/>
                <a:gd name="T5" fmla="*/ 0 h 47"/>
                <a:gd name="T6" fmla="*/ 11 w 15"/>
                <a:gd name="T7" fmla="*/ 0 h 47"/>
                <a:gd name="T8" fmla="*/ 15 w 15"/>
                <a:gd name="T9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47">
                  <a:moveTo>
                    <a:pt x="15" y="47"/>
                  </a:moveTo>
                  <a:lnTo>
                    <a:pt x="0" y="47"/>
                  </a:lnTo>
                  <a:lnTo>
                    <a:pt x="4" y="0"/>
                  </a:lnTo>
                  <a:lnTo>
                    <a:pt x="11" y="0"/>
                  </a:lnTo>
                  <a:lnTo>
                    <a:pt x="15" y="47"/>
                  </a:lnTo>
                  <a:close/>
                </a:path>
              </a:pathLst>
            </a:custGeom>
            <a:solidFill>
              <a:srgbClr val="3F3B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79" name="任意多边形: 形状 178">
              <a:extLst>
                <a:ext uri="{FF2B5EF4-FFF2-40B4-BE49-F238E27FC236}">
                  <a16:creationId xmlns:a16="http://schemas.microsoft.com/office/drawing/2014/main" id="{596110DF-05E6-4C66-A3FC-EAAA0B4E4FF3}"/>
                </a:ext>
              </a:extLst>
            </p:cNvPr>
            <p:cNvSpPr/>
            <p:nvPr/>
          </p:nvSpPr>
          <p:spPr bwMode="auto">
            <a:xfrm>
              <a:off x="4994275" y="4457707"/>
              <a:ext cx="50800" cy="169863"/>
            </a:xfrm>
            <a:custGeom>
              <a:avLst/>
              <a:gdLst>
                <a:gd name="T0" fmla="*/ 0 w 32"/>
                <a:gd name="T1" fmla="*/ 107 h 107"/>
                <a:gd name="T2" fmla="*/ 7 w 32"/>
                <a:gd name="T3" fmla="*/ 107 h 107"/>
                <a:gd name="T4" fmla="*/ 16 w 32"/>
                <a:gd name="T5" fmla="*/ 107 h 107"/>
                <a:gd name="T6" fmla="*/ 32 w 32"/>
                <a:gd name="T7" fmla="*/ 0 h 107"/>
                <a:gd name="T8" fmla="*/ 0 w 32"/>
                <a:gd name="T9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07">
                  <a:moveTo>
                    <a:pt x="0" y="107"/>
                  </a:moveTo>
                  <a:lnTo>
                    <a:pt x="7" y="107"/>
                  </a:lnTo>
                  <a:lnTo>
                    <a:pt x="16" y="107"/>
                  </a:lnTo>
                  <a:lnTo>
                    <a:pt x="32" y="0"/>
                  </a:lnTo>
                  <a:lnTo>
                    <a:pt x="0" y="107"/>
                  </a:lnTo>
                  <a:close/>
                </a:path>
              </a:pathLst>
            </a:custGeom>
            <a:solidFill>
              <a:srgbClr val="497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80" name="任意多边形: 形状 179">
              <a:extLst>
                <a:ext uri="{FF2B5EF4-FFF2-40B4-BE49-F238E27FC236}">
                  <a16:creationId xmlns:a16="http://schemas.microsoft.com/office/drawing/2014/main" id="{0757128F-DD87-4A18-B83F-6269B0704B36}"/>
                </a:ext>
              </a:extLst>
            </p:cNvPr>
            <p:cNvSpPr/>
            <p:nvPr/>
          </p:nvSpPr>
          <p:spPr bwMode="auto">
            <a:xfrm>
              <a:off x="5045075" y="4457707"/>
              <a:ext cx="53975" cy="169863"/>
            </a:xfrm>
            <a:custGeom>
              <a:avLst/>
              <a:gdLst>
                <a:gd name="T0" fmla="*/ 0 w 34"/>
                <a:gd name="T1" fmla="*/ 0 h 107"/>
                <a:gd name="T2" fmla="*/ 18 w 34"/>
                <a:gd name="T3" fmla="*/ 107 h 107"/>
                <a:gd name="T4" fmla="*/ 27 w 34"/>
                <a:gd name="T5" fmla="*/ 107 h 107"/>
                <a:gd name="T6" fmla="*/ 34 w 34"/>
                <a:gd name="T7" fmla="*/ 107 h 107"/>
                <a:gd name="T8" fmla="*/ 0 w 34"/>
                <a:gd name="T9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07">
                  <a:moveTo>
                    <a:pt x="0" y="0"/>
                  </a:moveTo>
                  <a:lnTo>
                    <a:pt x="18" y="107"/>
                  </a:lnTo>
                  <a:lnTo>
                    <a:pt x="27" y="107"/>
                  </a:lnTo>
                  <a:lnTo>
                    <a:pt x="34" y="10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A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81" name="任意多边形: 形状 180">
              <a:extLst>
                <a:ext uri="{FF2B5EF4-FFF2-40B4-BE49-F238E27FC236}">
                  <a16:creationId xmlns:a16="http://schemas.microsoft.com/office/drawing/2014/main" id="{845C6383-C074-4AE9-BD8F-B7C898B22C31}"/>
                </a:ext>
              </a:extLst>
            </p:cNvPr>
            <p:cNvSpPr/>
            <p:nvPr/>
          </p:nvSpPr>
          <p:spPr bwMode="auto">
            <a:xfrm>
              <a:off x="5019675" y="4457707"/>
              <a:ext cx="53975" cy="169863"/>
            </a:xfrm>
            <a:custGeom>
              <a:avLst/>
              <a:gdLst>
                <a:gd name="T0" fmla="*/ 16 w 34"/>
                <a:gd name="T1" fmla="*/ 0 h 107"/>
                <a:gd name="T2" fmla="*/ 0 w 34"/>
                <a:gd name="T3" fmla="*/ 107 h 107"/>
                <a:gd name="T4" fmla="*/ 8 w 34"/>
                <a:gd name="T5" fmla="*/ 107 h 107"/>
                <a:gd name="T6" fmla="*/ 14 w 34"/>
                <a:gd name="T7" fmla="*/ 107 h 107"/>
                <a:gd name="T8" fmla="*/ 16 w 34"/>
                <a:gd name="T9" fmla="*/ 107 h 107"/>
                <a:gd name="T10" fmla="*/ 19 w 34"/>
                <a:gd name="T11" fmla="*/ 107 h 107"/>
                <a:gd name="T12" fmla="*/ 24 w 34"/>
                <a:gd name="T13" fmla="*/ 107 h 107"/>
                <a:gd name="T14" fmla="*/ 34 w 34"/>
                <a:gd name="T15" fmla="*/ 107 h 107"/>
                <a:gd name="T16" fmla="*/ 16 w 3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107">
                  <a:moveTo>
                    <a:pt x="16" y="0"/>
                  </a:moveTo>
                  <a:lnTo>
                    <a:pt x="0" y="107"/>
                  </a:lnTo>
                  <a:lnTo>
                    <a:pt x="8" y="107"/>
                  </a:lnTo>
                  <a:lnTo>
                    <a:pt x="14" y="107"/>
                  </a:lnTo>
                  <a:lnTo>
                    <a:pt x="16" y="107"/>
                  </a:lnTo>
                  <a:lnTo>
                    <a:pt x="19" y="107"/>
                  </a:lnTo>
                  <a:lnTo>
                    <a:pt x="24" y="107"/>
                  </a:lnTo>
                  <a:lnTo>
                    <a:pt x="34" y="107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4D8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82" name="任意多边形: 形状 181">
              <a:extLst>
                <a:ext uri="{FF2B5EF4-FFF2-40B4-BE49-F238E27FC236}">
                  <a16:creationId xmlns:a16="http://schemas.microsoft.com/office/drawing/2014/main" id="{DE079E85-6CBD-43FA-A202-A02BFFC5BC51}"/>
                </a:ext>
              </a:extLst>
            </p:cNvPr>
            <p:cNvSpPr/>
            <p:nvPr/>
          </p:nvSpPr>
          <p:spPr bwMode="auto">
            <a:xfrm>
              <a:off x="4999038" y="4416432"/>
              <a:ext cx="46038" cy="155575"/>
            </a:xfrm>
            <a:custGeom>
              <a:avLst/>
              <a:gdLst>
                <a:gd name="T0" fmla="*/ 0 w 29"/>
                <a:gd name="T1" fmla="*/ 98 h 98"/>
                <a:gd name="T2" fmla="*/ 7 w 29"/>
                <a:gd name="T3" fmla="*/ 98 h 98"/>
                <a:gd name="T4" fmla="*/ 15 w 29"/>
                <a:gd name="T5" fmla="*/ 98 h 98"/>
                <a:gd name="T6" fmla="*/ 29 w 29"/>
                <a:gd name="T7" fmla="*/ 0 h 98"/>
                <a:gd name="T8" fmla="*/ 0 w 29"/>
                <a:gd name="T9" fmla="*/ 9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98">
                  <a:moveTo>
                    <a:pt x="0" y="98"/>
                  </a:moveTo>
                  <a:lnTo>
                    <a:pt x="7" y="98"/>
                  </a:lnTo>
                  <a:lnTo>
                    <a:pt x="15" y="98"/>
                  </a:lnTo>
                  <a:lnTo>
                    <a:pt x="29" y="0"/>
                  </a:lnTo>
                  <a:lnTo>
                    <a:pt x="0" y="98"/>
                  </a:lnTo>
                  <a:close/>
                </a:path>
              </a:pathLst>
            </a:custGeom>
            <a:solidFill>
              <a:srgbClr val="497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83" name="任意多边形: 形状 182">
              <a:extLst>
                <a:ext uri="{FF2B5EF4-FFF2-40B4-BE49-F238E27FC236}">
                  <a16:creationId xmlns:a16="http://schemas.microsoft.com/office/drawing/2014/main" id="{934196BF-5C5B-4E56-AC16-CDB38DC58B3E}"/>
                </a:ext>
              </a:extLst>
            </p:cNvPr>
            <p:cNvSpPr/>
            <p:nvPr/>
          </p:nvSpPr>
          <p:spPr bwMode="auto">
            <a:xfrm>
              <a:off x="5045075" y="4416432"/>
              <a:ext cx="49213" cy="155575"/>
            </a:xfrm>
            <a:custGeom>
              <a:avLst/>
              <a:gdLst>
                <a:gd name="T0" fmla="*/ 0 w 31"/>
                <a:gd name="T1" fmla="*/ 0 h 98"/>
                <a:gd name="T2" fmla="*/ 16 w 31"/>
                <a:gd name="T3" fmla="*/ 98 h 98"/>
                <a:gd name="T4" fmla="*/ 24 w 31"/>
                <a:gd name="T5" fmla="*/ 98 h 98"/>
                <a:gd name="T6" fmla="*/ 31 w 31"/>
                <a:gd name="T7" fmla="*/ 98 h 98"/>
                <a:gd name="T8" fmla="*/ 0 w 31"/>
                <a:gd name="T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98">
                  <a:moveTo>
                    <a:pt x="0" y="0"/>
                  </a:moveTo>
                  <a:lnTo>
                    <a:pt x="16" y="98"/>
                  </a:lnTo>
                  <a:lnTo>
                    <a:pt x="24" y="98"/>
                  </a:lnTo>
                  <a:lnTo>
                    <a:pt x="31" y="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A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84" name="任意多边形: 形状 183">
              <a:extLst>
                <a:ext uri="{FF2B5EF4-FFF2-40B4-BE49-F238E27FC236}">
                  <a16:creationId xmlns:a16="http://schemas.microsoft.com/office/drawing/2014/main" id="{72467EE6-FB77-424C-85A6-145E8A28ED87}"/>
                </a:ext>
              </a:extLst>
            </p:cNvPr>
            <p:cNvSpPr/>
            <p:nvPr/>
          </p:nvSpPr>
          <p:spPr bwMode="auto">
            <a:xfrm>
              <a:off x="5022850" y="4416432"/>
              <a:ext cx="47625" cy="155575"/>
            </a:xfrm>
            <a:custGeom>
              <a:avLst/>
              <a:gdLst>
                <a:gd name="T0" fmla="*/ 14 w 30"/>
                <a:gd name="T1" fmla="*/ 0 h 98"/>
                <a:gd name="T2" fmla="*/ 0 w 30"/>
                <a:gd name="T3" fmla="*/ 98 h 98"/>
                <a:gd name="T4" fmla="*/ 7 w 30"/>
                <a:gd name="T5" fmla="*/ 98 h 98"/>
                <a:gd name="T6" fmla="*/ 12 w 30"/>
                <a:gd name="T7" fmla="*/ 98 h 98"/>
                <a:gd name="T8" fmla="*/ 14 w 30"/>
                <a:gd name="T9" fmla="*/ 98 h 98"/>
                <a:gd name="T10" fmla="*/ 17 w 30"/>
                <a:gd name="T11" fmla="*/ 98 h 98"/>
                <a:gd name="T12" fmla="*/ 22 w 30"/>
                <a:gd name="T13" fmla="*/ 98 h 98"/>
                <a:gd name="T14" fmla="*/ 30 w 30"/>
                <a:gd name="T15" fmla="*/ 98 h 98"/>
                <a:gd name="T16" fmla="*/ 14 w 30"/>
                <a:gd name="T17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98">
                  <a:moveTo>
                    <a:pt x="14" y="0"/>
                  </a:moveTo>
                  <a:lnTo>
                    <a:pt x="0" y="98"/>
                  </a:lnTo>
                  <a:lnTo>
                    <a:pt x="7" y="98"/>
                  </a:lnTo>
                  <a:lnTo>
                    <a:pt x="12" y="98"/>
                  </a:lnTo>
                  <a:lnTo>
                    <a:pt x="14" y="98"/>
                  </a:lnTo>
                  <a:lnTo>
                    <a:pt x="17" y="98"/>
                  </a:lnTo>
                  <a:lnTo>
                    <a:pt x="22" y="98"/>
                  </a:lnTo>
                  <a:lnTo>
                    <a:pt x="30" y="98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4D8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85" name="任意多边形: 形状 184">
              <a:extLst>
                <a:ext uri="{FF2B5EF4-FFF2-40B4-BE49-F238E27FC236}">
                  <a16:creationId xmlns:a16="http://schemas.microsoft.com/office/drawing/2014/main" id="{911DCE8E-9161-4946-BF00-61FC3F4E8E50}"/>
                </a:ext>
              </a:extLst>
            </p:cNvPr>
            <p:cNvSpPr/>
            <p:nvPr/>
          </p:nvSpPr>
          <p:spPr bwMode="auto">
            <a:xfrm>
              <a:off x="5008563" y="4392619"/>
              <a:ext cx="36513" cy="125413"/>
            </a:xfrm>
            <a:custGeom>
              <a:avLst/>
              <a:gdLst>
                <a:gd name="T0" fmla="*/ 0 w 23"/>
                <a:gd name="T1" fmla="*/ 79 h 79"/>
                <a:gd name="T2" fmla="*/ 5 w 23"/>
                <a:gd name="T3" fmla="*/ 79 h 79"/>
                <a:gd name="T4" fmla="*/ 12 w 23"/>
                <a:gd name="T5" fmla="*/ 79 h 79"/>
                <a:gd name="T6" fmla="*/ 23 w 23"/>
                <a:gd name="T7" fmla="*/ 0 h 79"/>
                <a:gd name="T8" fmla="*/ 0 w 23"/>
                <a:gd name="T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79">
                  <a:moveTo>
                    <a:pt x="0" y="79"/>
                  </a:moveTo>
                  <a:lnTo>
                    <a:pt x="5" y="79"/>
                  </a:lnTo>
                  <a:lnTo>
                    <a:pt x="12" y="79"/>
                  </a:lnTo>
                  <a:lnTo>
                    <a:pt x="23" y="0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rgbClr val="497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86" name="任意多边形: 形状 185">
              <a:extLst>
                <a:ext uri="{FF2B5EF4-FFF2-40B4-BE49-F238E27FC236}">
                  <a16:creationId xmlns:a16="http://schemas.microsoft.com/office/drawing/2014/main" id="{73482479-B841-4592-A2F4-9C54E5E36E2C}"/>
                </a:ext>
              </a:extLst>
            </p:cNvPr>
            <p:cNvSpPr/>
            <p:nvPr/>
          </p:nvSpPr>
          <p:spPr bwMode="auto">
            <a:xfrm>
              <a:off x="5045075" y="4392619"/>
              <a:ext cx="39688" cy="125413"/>
            </a:xfrm>
            <a:custGeom>
              <a:avLst/>
              <a:gdLst>
                <a:gd name="T0" fmla="*/ 0 w 25"/>
                <a:gd name="T1" fmla="*/ 0 h 79"/>
                <a:gd name="T2" fmla="*/ 13 w 25"/>
                <a:gd name="T3" fmla="*/ 79 h 79"/>
                <a:gd name="T4" fmla="*/ 20 w 25"/>
                <a:gd name="T5" fmla="*/ 79 h 79"/>
                <a:gd name="T6" fmla="*/ 25 w 25"/>
                <a:gd name="T7" fmla="*/ 79 h 79"/>
                <a:gd name="T8" fmla="*/ 0 w 25"/>
                <a:gd name="T9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79">
                  <a:moveTo>
                    <a:pt x="0" y="0"/>
                  </a:moveTo>
                  <a:lnTo>
                    <a:pt x="13" y="79"/>
                  </a:lnTo>
                  <a:lnTo>
                    <a:pt x="20" y="79"/>
                  </a:lnTo>
                  <a:lnTo>
                    <a:pt x="25" y="7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A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87" name="任意多边形: 形状 186">
              <a:extLst>
                <a:ext uri="{FF2B5EF4-FFF2-40B4-BE49-F238E27FC236}">
                  <a16:creationId xmlns:a16="http://schemas.microsoft.com/office/drawing/2014/main" id="{7D59F348-5547-452C-AD8E-04A2499C9E28}"/>
                </a:ext>
              </a:extLst>
            </p:cNvPr>
            <p:cNvSpPr/>
            <p:nvPr/>
          </p:nvSpPr>
          <p:spPr bwMode="auto">
            <a:xfrm>
              <a:off x="5027613" y="4392619"/>
              <a:ext cx="38100" cy="125413"/>
            </a:xfrm>
            <a:custGeom>
              <a:avLst/>
              <a:gdLst>
                <a:gd name="T0" fmla="*/ 11 w 24"/>
                <a:gd name="T1" fmla="*/ 0 h 79"/>
                <a:gd name="T2" fmla="*/ 0 w 24"/>
                <a:gd name="T3" fmla="*/ 79 h 79"/>
                <a:gd name="T4" fmla="*/ 6 w 24"/>
                <a:gd name="T5" fmla="*/ 79 h 79"/>
                <a:gd name="T6" fmla="*/ 10 w 24"/>
                <a:gd name="T7" fmla="*/ 79 h 79"/>
                <a:gd name="T8" fmla="*/ 11 w 24"/>
                <a:gd name="T9" fmla="*/ 79 h 79"/>
                <a:gd name="T10" fmla="*/ 13 w 24"/>
                <a:gd name="T11" fmla="*/ 79 h 79"/>
                <a:gd name="T12" fmla="*/ 17 w 24"/>
                <a:gd name="T13" fmla="*/ 79 h 79"/>
                <a:gd name="T14" fmla="*/ 24 w 24"/>
                <a:gd name="T15" fmla="*/ 79 h 79"/>
                <a:gd name="T16" fmla="*/ 11 w 24"/>
                <a:gd name="T17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79">
                  <a:moveTo>
                    <a:pt x="11" y="0"/>
                  </a:moveTo>
                  <a:lnTo>
                    <a:pt x="0" y="79"/>
                  </a:lnTo>
                  <a:lnTo>
                    <a:pt x="6" y="79"/>
                  </a:lnTo>
                  <a:lnTo>
                    <a:pt x="10" y="79"/>
                  </a:lnTo>
                  <a:lnTo>
                    <a:pt x="11" y="79"/>
                  </a:lnTo>
                  <a:lnTo>
                    <a:pt x="13" y="79"/>
                  </a:lnTo>
                  <a:lnTo>
                    <a:pt x="17" y="79"/>
                  </a:lnTo>
                  <a:lnTo>
                    <a:pt x="24" y="79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4D8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88" name="任意多边形: 形状 187">
              <a:extLst>
                <a:ext uri="{FF2B5EF4-FFF2-40B4-BE49-F238E27FC236}">
                  <a16:creationId xmlns:a16="http://schemas.microsoft.com/office/drawing/2014/main" id="{9E007FB7-2932-475F-ACB7-BFC193189549}"/>
                </a:ext>
              </a:extLst>
            </p:cNvPr>
            <p:cNvSpPr/>
            <p:nvPr/>
          </p:nvSpPr>
          <p:spPr bwMode="auto">
            <a:xfrm>
              <a:off x="4862513" y="4578357"/>
              <a:ext cx="34925" cy="103188"/>
            </a:xfrm>
            <a:custGeom>
              <a:avLst/>
              <a:gdLst>
                <a:gd name="T0" fmla="*/ 22 w 22"/>
                <a:gd name="T1" fmla="*/ 65 h 65"/>
                <a:gd name="T2" fmla="*/ 0 w 22"/>
                <a:gd name="T3" fmla="*/ 65 h 65"/>
                <a:gd name="T4" fmla="*/ 7 w 22"/>
                <a:gd name="T5" fmla="*/ 0 h 65"/>
                <a:gd name="T6" fmla="*/ 16 w 22"/>
                <a:gd name="T7" fmla="*/ 0 h 65"/>
                <a:gd name="T8" fmla="*/ 22 w 22"/>
                <a:gd name="T9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65">
                  <a:moveTo>
                    <a:pt x="22" y="65"/>
                  </a:moveTo>
                  <a:lnTo>
                    <a:pt x="0" y="65"/>
                  </a:lnTo>
                  <a:lnTo>
                    <a:pt x="7" y="0"/>
                  </a:lnTo>
                  <a:lnTo>
                    <a:pt x="16" y="0"/>
                  </a:lnTo>
                  <a:lnTo>
                    <a:pt x="22" y="65"/>
                  </a:lnTo>
                  <a:close/>
                </a:path>
              </a:pathLst>
            </a:custGeom>
            <a:solidFill>
              <a:srgbClr val="3F3B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89" name="任意多边形: 形状 188">
              <a:extLst>
                <a:ext uri="{FF2B5EF4-FFF2-40B4-BE49-F238E27FC236}">
                  <a16:creationId xmlns:a16="http://schemas.microsoft.com/office/drawing/2014/main" id="{DEC6F000-4596-486F-BEE6-A9DFA31713E6}"/>
                </a:ext>
              </a:extLst>
            </p:cNvPr>
            <p:cNvSpPr/>
            <p:nvPr/>
          </p:nvSpPr>
          <p:spPr bwMode="auto">
            <a:xfrm>
              <a:off x="4808538" y="4365632"/>
              <a:ext cx="71438" cy="241300"/>
            </a:xfrm>
            <a:custGeom>
              <a:avLst/>
              <a:gdLst>
                <a:gd name="T0" fmla="*/ 0 w 45"/>
                <a:gd name="T1" fmla="*/ 152 h 152"/>
                <a:gd name="T2" fmla="*/ 10 w 45"/>
                <a:gd name="T3" fmla="*/ 152 h 152"/>
                <a:gd name="T4" fmla="*/ 23 w 45"/>
                <a:gd name="T5" fmla="*/ 152 h 152"/>
                <a:gd name="T6" fmla="*/ 45 w 45"/>
                <a:gd name="T7" fmla="*/ 0 h 152"/>
                <a:gd name="T8" fmla="*/ 0 w 45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152">
                  <a:moveTo>
                    <a:pt x="0" y="152"/>
                  </a:moveTo>
                  <a:lnTo>
                    <a:pt x="10" y="152"/>
                  </a:lnTo>
                  <a:lnTo>
                    <a:pt x="23" y="152"/>
                  </a:lnTo>
                  <a:lnTo>
                    <a:pt x="45" y="0"/>
                  </a:lnTo>
                  <a:lnTo>
                    <a:pt x="0" y="152"/>
                  </a:lnTo>
                  <a:close/>
                </a:path>
              </a:pathLst>
            </a:custGeom>
            <a:solidFill>
              <a:srgbClr val="497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90" name="任意多边形: 形状 189">
              <a:extLst>
                <a:ext uri="{FF2B5EF4-FFF2-40B4-BE49-F238E27FC236}">
                  <a16:creationId xmlns:a16="http://schemas.microsoft.com/office/drawing/2014/main" id="{A40D9D30-AB53-4F56-8B65-445314A279B3}"/>
                </a:ext>
              </a:extLst>
            </p:cNvPr>
            <p:cNvSpPr/>
            <p:nvPr/>
          </p:nvSpPr>
          <p:spPr bwMode="auto">
            <a:xfrm>
              <a:off x="4879975" y="4365632"/>
              <a:ext cx="74613" cy="241300"/>
            </a:xfrm>
            <a:custGeom>
              <a:avLst/>
              <a:gdLst>
                <a:gd name="T0" fmla="*/ 0 w 47"/>
                <a:gd name="T1" fmla="*/ 0 h 152"/>
                <a:gd name="T2" fmla="*/ 23 w 47"/>
                <a:gd name="T3" fmla="*/ 152 h 152"/>
                <a:gd name="T4" fmla="*/ 37 w 47"/>
                <a:gd name="T5" fmla="*/ 152 h 152"/>
                <a:gd name="T6" fmla="*/ 47 w 47"/>
                <a:gd name="T7" fmla="*/ 152 h 152"/>
                <a:gd name="T8" fmla="*/ 0 w 47"/>
                <a:gd name="T9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52">
                  <a:moveTo>
                    <a:pt x="0" y="0"/>
                  </a:moveTo>
                  <a:lnTo>
                    <a:pt x="23" y="152"/>
                  </a:lnTo>
                  <a:lnTo>
                    <a:pt x="37" y="152"/>
                  </a:lnTo>
                  <a:lnTo>
                    <a:pt x="47" y="1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A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91" name="任意多边形: 形状 190">
              <a:extLst>
                <a:ext uri="{FF2B5EF4-FFF2-40B4-BE49-F238E27FC236}">
                  <a16:creationId xmlns:a16="http://schemas.microsoft.com/office/drawing/2014/main" id="{639FBBEB-AAE4-46BC-BEE7-1919B98B9951}"/>
                </a:ext>
              </a:extLst>
            </p:cNvPr>
            <p:cNvSpPr/>
            <p:nvPr/>
          </p:nvSpPr>
          <p:spPr bwMode="auto">
            <a:xfrm>
              <a:off x="4845050" y="4365632"/>
              <a:ext cx="71438" cy="241300"/>
            </a:xfrm>
            <a:custGeom>
              <a:avLst/>
              <a:gdLst>
                <a:gd name="T0" fmla="*/ 22 w 45"/>
                <a:gd name="T1" fmla="*/ 0 h 152"/>
                <a:gd name="T2" fmla="*/ 0 w 45"/>
                <a:gd name="T3" fmla="*/ 152 h 152"/>
                <a:gd name="T4" fmla="*/ 11 w 45"/>
                <a:gd name="T5" fmla="*/ 152 h 152"/>
                <a:gd name="T6" fmla="*/ 19 w 45"/>
                <a:gd name="T7" fmla="*/ 152 h 152"/>
                <a:gd name="T8" fmla="*/ 22 w 45"/>
                <a:gd name="T9" fmla="*/ 152 h 152"/>
                <a:gd name="T10" fmla="*/ 26 w 45"/>
                <a:gd name="T11" fmla="*/ 152 h 152"/>
                <a:gd name="T12" fmla="*/ 34 w 45"/>
                <a:gd name="T13" fmla="*/ 152 h 152"/>
                <a:gd name="T14" fmla="*/ 45 w 45"/>
                <a:gd name="T15" fmla="*/ 152 h 152"/>
                <a:gd name="T16" fmla="*/ 22 w 45"/>
                <a:gd name="T17" fmla="*/ 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152">
                  <a:moveTo>
                    <a:pt x="22" y="0"/>
                  </a:moveTo>
                  <a:lnTo>
                    <a:pt x="0" y="152"/>
                  </a:lnTo>
                  <a:lnTo>
                    <a:pt x="11" y="152"/>
                  </a:lnTo>
                  <a:lnTo>
                    <a:pt x="19" y="152"/>
                  </a:lnTo>
                  <a:lnTo>
                    <a:pt x="22" y="152"/>
                  </a:lnTo>
                  <a:lnTo>
                    <a:pt x="26" y="152"/>
                  </a:lnTo>
                  <a:lnTo>
                    <a:pt x="34" y="152"/>
                  </a:lnTo>
                  <a:lnTo>
                    <a:pt x="45" y="152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4D8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92" name="任意多边形: 形状 191">
              <a:extLst>
                <a:ext uri="{FF2B5EF4-FFF2-40B4-BE49-F238E27FC236}">
                  <a16:creationId xmlns:a16="http://schemas.microsoft.com/office/drawing/2014/main" id="{83A0FDCC-7D6E-4A08-9AFA-E3F273BFB1D1}"/>
                </a:ext>
              </a:extLst>
            </p:cNvPr>
            <p:cNvSpPr/>
            <p:nvPr/>
          </p:nvSpPr>
          <p:spPr bwMode="auto">
            <a:xfrm>
              <a:off x="4814888" y="4310069"/>
              <a:ext cx="65088" cy="215900"/>
            </a:xfrm>
            <a:custGeom>
              <a:avLst/>
              <a:gdLst>
                <a:gd name="T0" fmla="*/ 0 w 41"/>
                <a:gd name="T1" fmla="*/ 136 h 136"/>
                <a:gd name="T2" fmla="*/ 9 w 41"/>
                <a:gd name="T3" fmla="*/ 136 h 136"/>
                <a:gd name="T4" fmla="*/ 21 w 41"/>
                <a:gd name="T5" fmla="*/ 136 h 136"/>
                <a:gd name="T6" fmla="*/ 41 w 41"/>
                <a:gd name="T7" fmla="*/ 0 h 136"/>
                <a:gd name="T8" fmla="*/ 0 w 41"/>
                <a:gd name="T9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136">
                  <a:moveTo>
                    <a:pt x="0" y="136"/>
                  </a:moveTo>
                  <a:lnTo>
                    <a:pt x="9" y="136"/>
                  </a:lnTo>
                  <a:lnTo>
                    <a:pt x="21" y="136"/>
                  </a:lnTo>
                  <a:lnTo>
                    <a:pt x="41" y="0"/>
                  </a:lnTo>
                  <a:lnTo>
                    <a:pt x="0" y="136"/>
                  </a:lnTo>
                  <a:close/>
                </a:path>
              </a:pathLst>
            </a:custGeom>
            <a:solidFill>
              <a:srgbClr val="497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93" name="任意多边形: 形状 192">
              <a:extLst>
                <a:ext uri="{FF2B5EF4-FFF2-40B4-BE49-F238E27FC236}">
                  <a16:creationId xmlns:a16="http://schemas.microsoft.com/office/drawing/2014/main" id="{1133EE15-8EF9-48FB-BC97-49A175643263}"/>
                </a:ext>
              </a:extLst>
            </p:cNvPr>
            <p:cNvSpPr/>
            <p:nvPr/>
          </p:nvSpPr>
          <p:spPr bwMode="auto">
            <a:xfrm>
              <a:off x="4879975" y="4310069"/>
              <a:ext cx="66675" cy="215900"/>
            </a:xfrm>
            <a:custGeom>
              <a:avLst/>
              <a:gdLst>
                <a:gd name="T0" fmla="*/ 0 w 42"/>
                <a:gd name="T1" fmla="*/ 0 h 136"/>
                <a:gd name="T2" fmla="*/ 21 w 42"/>
                <a:gd name="T3" fmla="*/ 136 h 136"/>
                <a:gd name="T4" fmla="*/ 34 w 42"/>
                <a:gd name="T5" fmla="*/ 136 h 136"/>
                <a:gd name="T6" fmla="*/ 42 w 42"/>
                <a:gd name="T7" fmla="*/ 136 h 136"/>
                <a:gd name="T8" fmla="*/ 0 w 42"/>
                <a:gd name="T9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136">
                  <a:moveTo>
                    <a:pt x="0" y="0"/>
                  </a:moveTo>
                  <a:lnTo>
                    <a:pt x="21" y="136"/>
                  </a:lnTo>
                  <a:lnTo>
                    <a:pt x="34" y="136"/>
                  </a:lnTo>
                  <a:lnTo>
                    <a:pt x="42" y="1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A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94" name="任意多边形: 形状 193">
              <a:extLst>
                <a:ext uri="{FF2B5EF4-FFF2-40B4-BE49-F238E27FC236}">
                  <a16:creationId xmlns:a16="http://schemas.microsoft.com/office/drawing/2014/main" id="{EE4132D6-837A-4DCC-A115-24621AF5DA48}"/>
                </a:ext>
              </a:extLst>
            </p:cNvPr>
            <p:cNvSpPr/>
            <p:nvPr/>
          </p:nvSpPr>
          <p:spPr bwMode="auto">
            <a:xfrm>
              <a:off x="4848225" y="4310069"/>
              <a:ext cx="65088" cy="215900"/>
            </a:xfrm>
            <a:custGeom>
              <a:avLst/>
              <a:gdLst>
                <a:gd name="T0" fmla="*/ 20 w 41"/>
                <a:gd name="T1" fmla="*/ 0 h 136"/>
                <a:gd name="T2" fmla="*/ 0 w 41"/>
                <a:gd name="T3" fmla="*/ 136 h 136"/>
                <a:gd name="T4" fmla="*/ 10 w 41"/>
                <a:gd name="T5" fmla="*/ 136 h 136"/>
                <a:gd name="T6" fmla="*/ 17 w 41"/>
                <a:gd name="T7" fmla="*/ 136 h 136"/>
                <a:gd name="T8" fmla="*/ 20 w 41"/>
                <a:gd name="T9" fmla="*/ 136 h 136"/>
                <a:gd name="T10" fmla="*/ 24 w 41"/>
                <a:gd name="T11" fmla="*/ 136 h 136"/>
                <a:gd name="T12" fmla="*/ 31 w 41"/>
                <a:gd name="T13" fmla="*/ 136 h 136"/>
                <a:gd name="T14" fmla="*/ 41 w 41"/>
                <a:gd name="T15" fmla="*/ 136 h 136"/>
                <a:gd name="T16" fmla="*/ 20 w 41"/>
                <a:gd name="T17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136">
                  <a:moveTo>
                    <a:pt x="20" y="0"/>
                  </a:moveTo>
                  <a:lnTo>
                    <a:pt x="0" y="136"/>
                  </a:lnTo>
                  <a:lnTo>
                    <a:pt x="10" y="136"/>
                  </a:lnTo>
                  <a:lnTo>
                    <a:pt x="17" y="136"/>
                  </a:lnTo>
                  <a:lnTo>
                    <a:pt x="20" y="136"/>
                  </a:lnTo>
                  <a:lnTo>
                    <a:pt x="24" y="136"/>
                  </a:lnTo>
                  <a:lnTo>
                    <a:pt x="31" y="136"/>
                  </a:lnTo>
                  <a:lnTo>
                    <a:pt x="41" y="136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4D8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95" name="任意多边形: 形状 194">
              <a:extLst>
                <a:ext uri="{FF2B5EF4-FFF2-40B4-BE49-F238E27FC236}">
                  <a16:creationId xmlns:a16="http://schemas.microsoft.com/office/drawing/2014/main" id="{B0B5583B-8ECB-4EDF-80CC-0FD1B16B3047}"/>
                </a:ext>
              </a:extLst>
            </p:cNvPr>
            <p:cNvSpPr/>
            <p:nvPr/>
          </p:nvSpPr>
          <p:spPr bwMode="auto">
            <a:xfrm>
              <a:off x="4827588" y="4275144"/>
              <a:ext cx="52388" cy="176213"/>
            </a:xfrm>
            <a:custGeom>
              <a:avLst/>
              <a:gdLst>
                <a:gd name="T0" fmla="*/ 0 w 33"/>
                <a:gd name="T1" fmla="*/ 111 h 111"/>
                <a:gd name="T2" fmla="*/ 7 w 33"/>
                <a:gd name="T3" fmla="*/ 111 h 111"/>
                <a:gd name="T4" fmla="*/ 17 w 33"/>
                <a:gd name="T5" fmla="*/ 111 h 111"/>
                <a:gd name="T6" fmla="*/ 33 w 33"/>
                <a:gd name="T7" fmla="*/ 0 h 111"/>
                <a:gd name="T8" fmla="*/ 0 w 33"/>
                <a:gd name="T9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11">
                  <a:moveTo>
                    <a:pt x="0" y="111"/>
                  </a:moveTo>
                  <a:lnTo>
                    <a:pt x="7" y="111"/>
                  </a:lnTo>
                  <a:lnTo>
                    <a:pt x="17" y="111"/>
                  </a:lnTo>
                  <a:lnTo>
                    <a:pt x="33" y="0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rgbClr val="497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96" name="任意多边形: 形状 195">
              <a:extLst>
                <a:ext uri="{FF2B5EF4-FFF2-40B4-BE49-F238E27FC236}">
                  <a16:creationId xmlns:a16="http://schemas.microsoft.com/office/drawing/2014/main" id="{90A0C957-271B-489B-B3A6-D145A4EC26DF}"/>
                </a:ext>
              </a:extLst>
            </p:cNvPr>
            <p:cNvSpPr/>
            <p:nvPr/>
          </p:nvSpPr>
          <p:spPr bwMode="auto">
            <a:xfrm>
              <a:off x="4879975" y="4275144"/>
              <a:ext cx="53975" cy="176213"/>
            </a:xfrm>
            <a:custGeom>
              <a:avLst/>
              <a:gdLst>
                <a:gd name="T0" fmla="*/ 0 w 34"/>
                <a:gd name="T1" fmla="*/ 0 h 111"/>
                <a:gd name="T2" fmla="*/ 17 w 34"/>
                <a:gd name="T3" fmla="*/ 111 h 111"/>
                <a:gd name="T4" fmla="*/ 26 w 34"/>
                <a:gd name="T5" fmla="*/ 111 h 111"/>
                <a:gd name="T6" fmla="*/ 34 w 34"/>
                <a:gd name="T7" fmla="*/ 111 h 111"/>
                <a:gd name="T8" fmla="*/ 0 w 34"/>
                <a:gd name="T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11">
                  <a:moveTo>
                    <a:pt x="0" y="0"/>
                  </a:moveTo>
                  <a:lnTo>
                    <a:pt x="17" y="111"/>
                  </a:lnTo>
                  <a:lnTo>
                    <a:pt x="26" y="111"/>
                  </a:lnTo>
                  <a:lnTo>
                    <a:pt x="34" y="1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A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97" name="任意多边形: 形状 196">
              <a:extLst>
                <a:ext uri="{FF2B5EF4-FFF2-40B4-BE49-F238E27FC236}">
                  <a16:creationId xmlns:a16="http://schemas.microsoft.com/office/drawing/2014/main" id="{5219626A-244B-4382-A6B0-BFCB9731FB3A}"/>
                </a:ext>
              </a:extLst>
            </p:cNvPr>
            <p:cNvSpPr/>
            <p:nvPr/>
          </p:nvSpPr>
          <p:spPr bwMode="auto">
            <a:xfrm>
              <a:off x="4854575" y="4275144"/>
              <a:ext cx="52388" cy="176213"/>
            </a:xfrm>
            <a:custGeom>
              <a:avLst/>
              <a:gdLst>
                <a:gd name="T0" fmla="*/ 16 w 33"/>
                <a:gd name="T1" fmla="*/ 0 h 111"/>
                <a:gd name="T2" fmla="*/ 0 w 33"/>
                <a:gd name="T3" fmla="*/ 111 h 111"/>
                <a:gd name="T4" fmla="*/ 8 w 33"/>
                <a:gd name="T5" fmla="*/ 111 h 111"/>
                <a:gd name="T6" fmla="*/ 14 w 33"/>
                <a:gd name="T7" fmla="*/ 111 h 111"/>
                <a:gd name="T8" fmla="*/ 16 w 33"/>
                <a:gd name="T9" fmla="*/ 111 h 111"/>
                <a:gd name="T10" fmla="*/ 19 w 33"/>
                <a:gd name="T11" fmla="*/ 111 h 111"/>
                <a:gd name="T12" fmla="*/ 25 w 33"/>
                <a:gd name="T13" fmla="*/ 111 h 111"/>
                <a:gd name="T14" fmla="*/ 33 w 33"/>
                <a:gd name="T15" fmla="*/ 111 h 111"/>
                <a:gd name="T16" fmla="*/ 16 w 33"/>
                <a:gd name="T17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111">
                  <a:moveTo>
                    <a:pt x="16" y="0"/>
                  </a:moveTo>
                  <a:lnTo>
                    <a:pt x="0" y="111"/>
                  </a:lnTo>
                  <a:lnTo>
                    <a:pt x="8" y="111"/>
                  </a:lnTo>
                  <a:lnTo>
                    <a:pt x="14" y="111"/>
                  </a:lnTo>
                  <a:lnTo>
                    <a:pt x="16" y="111"/>
                  </a:lnTo>
                  <a:lnTo>
                    <a:pt x="19" y="111"/>
                  </a:lnTo>
                  <a:lnTo>
                    <a:pt x="25" y="111"/>
                  </a:lnTo>
                  <a:lnTo>
                    <a:pt x="33" y="111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4D8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98" name="任意多边形: 形状 197">
              <a:extLst>
                <a:ext uri="{FF2B5EF4-FFF2-40B4-BE49-F238E27FC236}">
                  <a16:creationId xmlns:a16="http://schemas.microsoft.com/office/drawing/2014/main" id="{238B0FB1-843F-4D89-BA1E-927823C5A244}"/>
                </a:ext>
              </a:extLst>
            </p:cNvPr>
            <p:cNvSpPr/>
            <p:nvPr/>
          </p:nvSpPr>
          <p:spPr bwMode="auto">
            <a:xfrm>
              <a:off x="4706938" y="4616457"/>
              <a:ext cx="22225" cy="65088"/>
            </a:xfrm>
            <a:custGeom>
              <a:avLst/>
              <a:gdLst>
                <a:gd name="T0" fmla="*/ 14 w 14"/>
                <a:gd name="T1" fmla="*/ 41 h 41"/>
                <a:gd name="T2" fmla="*/ 0 w 14"/>
                <a:gd name="T3" fmla="*/ 41 h 41"/>
                <a:gd name="T4" fmla="*/ 4 w 14"/>
                <a:gd name="T5" fmla="*/ 0 h 41"/>
                <a:gd name="T6" fmla="*/ 10 w 14"/>
                <a:gd name="T7" fmla="*/ 0 h 41"/>
                <a:gd name="T8" fmla="*/ 14 w 14"/>
                <a:gd name="T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41">
                  <a:moveTo>
                    <a:pt x="14" y="41"/>
                  </a:moveTo>
                  <a:lnTo>
                    <a:pt x="0" y="41"/>
                  </a:lnTo>
                  <a:lnTo>
                    <a:pt x="4" y="0"/>
                  </a:lnTo>
                  <a:lnTo>
                    <a:pt x="10" y="0"/>
                  </a:lnTo>
                  <a:lnTo>
                    <a:pt x="14" y="41"/>
                  </a:lnTo>
                  <a:close/>
                </a:path>
              </a:pathLst>
            </a:custGeom>
            <a:solidFill>
              <a:srgbClr val="3F3B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199" name="任意多边形: 形状 198">
              <a:extLst>
                <a:ext uri="{FF2B5EF4-FFF2-40B4-BE49-F238E27FC236}">
                  <a16:creationId xmlns:a16="http://schemas.microsoft.com/office/drawing/2014/main" id="{AFD4A87F-6569-4C10-8A18-F96D237B310B}"/>
                </a:ext>
              </a:extLst>
            </p:cNvPr>
            <p:cNvSpPr/>
            <p:nvPr/>
          </p:nvSpPr>
          <p:spPr bwMode="auto">
            <a:xfrm>
              <a:off x="4673600" y="4484694"/>
              <a:ext cx="44450" cy="149225"/>
            </a:xfrm>
            <a:custGeom>
              <a:avLst/>
              <a:gdLst>
                <a:gd name="T0" fmla="*/ 0 w 28"/>
                <a:gd name="T1" fmla="*/ 94 h 94"/>
                <a:gd name="T2" fmla="*/ 6 w 28"/>
                <a:gd name="T3" fmla="*/ 94 h 94"/>
                <a:gd name="T4" fmla="*/ 14 w 28"/>
                <a:gd name="T5" fmla="*/ 94 h 94"/>
                <a:gd name="T6" fmla="*/ 28 w 28"/>
                <a:gd name="T7" fmla="*/ 0 h 94"/>
                <a:gd name="T8" fmla="*/ 0 w 28"/>
                <a:gd name="T9" fmla="*/ 94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94">
                  <a:moveTo>
                    <a:pt x="0" y="94"/>
                  </a:moveTo>
                  <a:lnTo>
                    <a:pt x="6" y="94"/>
                  </a:lnTo>
                  <a:lnTo>
                    <a:pt x="14" y="94"/>
                  </a:lnTo>
                  <a:lnTo>
                    <a:pt x="28" y="0"/>
                  </a:lnTo>
                  <a:lnTo>
                    <a:pt x="0" y="94"/>
                  </a:lnTo>
                  <a:close/>
                </a:path>
              </a:pathLst>
            </a:custGeom>
            <a:solidFill>
              <a:srgbClr val="497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00" name="任意多边形: 形状 199">
              <a:extLst>
                <a:ext uri="{FF2B5EF4-FFF2-40B4-BE49-F238E27FC236}">
                  <a16:creationId xmlns:a16="http://schemas.microsoft.com/office/drawing/2014/main" id="{8A72AC04-9F7D-48DB-8C57-0AADBA6C543C}"/>
                </a:ext>
              </a:extLst>
            </p:cNvPr>
            <p:cNvSpPr/>
            <p:nvPr/>
          </p:nvSpPr>
          <p:spPr bwMode="auto">
            <a:xfrm>
              <a:off x="4718050" y="4484694"/>
              <a:ext cx="44450" cy="149225"/>
            </a:xfrm>
            <a:custGeom>
              <a:avLst/>
              <a:gdLst>
                <a:gd name="T0" fmla="*/ 0 w 28"/>
                <a:gd name="T1" fmla="*/ 0 h 94"/>
                <a:gd name="T2" fmla="*/ 14 w 28"/>
                <a:gd name="T3" fmla="*/ 94 h 94"/>
                <a:gd name="T4" fmla="*/ 22 w 28"/>
                <a:gd name="T5" fmla="*/ 94 h 94"/>
                <a:gd name="T6" fmla="*/ 28 w 28"/>
                <a:gd name="T7" fmla="*/ 94 h 94"/>
                <a:gd name="T8" fmla="*/ 0 w 28"/>
                <a:gd name="T9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94">
                  <a:moveTo>
                    <a:pt x="0" y="0"/>
                  </a:moveTo>
                  <a:lnTo>
                    <a:pt x="14" y="94"/>
                  </a:lnTo>
                  <a:lnTo>
                    <a:pt x="22" y="94"/>
                  </a:lnTo>
                  <a:lnTo>
                    <a:pt x="28" y="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A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01" name="任意多边形: 形状 200">
              <a:extLst>
                <a:ext uri="{FF2B5EF4-FFF2-40B4-BE49-F238E27FC236}">
                  <a16:creationId xmlns:a16="http://schemas.microsoft.com/office/drawing/2014/main" id="{48363B5B-83EB-4304-BD07-3C5634399135}"/>
                </a:ext>
              </a:extLst>
            </p:cNvPr>
            <p:cNvSpPr/>
            <p:nvPr/>
          </p:nvSpPr>
          <p:spPr bwMode="auto">
            <a:xfrm>
              <a:off x="4695825" y="4484694"/>
              <a:ext cx="44450" cy="149225"/>
            </a:xfrm>
            <a:custGeom>
              <a:avLst/>
              <a:gdLst>
                <a:gd name="T0" fmla="*/ 14 w 28"/>
                <a:gd name="T1" fmla="*/ 0 h 94"/>
                <a:gd name="T2" fmla="*/ 0 w 28"/>
                <a:gd name="T3" fmla="*/ 94 h 94"/>
                <a:gd name="T4" fmla="*/ 7 w 28"/>
                <a:gd name="T5" fmla="*/ 94 h 94"/>
                <a:gd name="T6" fmla="*/ 12 w 28"/>
                <a:gd name="T7" fmla="*/ 94 h 94"/>
                <a:gd name="T8" fmla="*/ 14 w 28"/>
                <a:gd name="T9" fmla="*/ 94 h 94"/>
                <a:gd name="T10" fmla="*/ 16 w 28"/>
                <a:gd name="T11" fmla="*/ 94 h 94"/>
                <a:gd name="T12" fmla="*/ 21 w 28"/>
                <a:gd name="T13" fmla="*/ 94 h 94"/>
                <a:gd name="T14" fmla="*/ 28 w 28"/>
                <a:gd name="T15" fmla="*/ 94 h 94"/>
                <a:gd name="T16" fmla="*/ 14 w 28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94">
                  <a:moveTo>
                    <a:pt x="14" y="0"/>
                  </a:moveTo>
                  <a:lnTo>
                    <a:pt x="0" y="94"/>
                  </a:lnTo>
                  <a:lnTo>
                    <a:pt x="7" y="94"/>
                  </a:lnTo>
                  <a:lnTo>
                    <a:pt x="12" y="94"/>
                  </a:lnTo>
                  <a:lnTo>
                    <a:pt x="14" y="94"/>
                  </a:lnTo>
                  <a:lnTo>
                    <a:pt x="16" y="94"/>
                  </a:lnTo>
                  <a:lnTo>
                    <a:pt x="21" y="94"/>
                  </a:lnTo>
                  <a:lnTo>
                    <a:pt x="28" y="94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4D8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02" name="任意多边形: 形状 201">
              <a:extLst>
                <a:ext uri="{FF2B5EF4-FFF2-40B4-BE49-F238E27FC236}">
                  <a16:creationId xmlns:a16="http://schemas.microsoft.com/office/drawing/2014/main" id="{1A855377-AD0E-4ADF-8F67-691952F1B418}"/>
                </a:ext>
              </a:extLst>
            </p:cNvPr>
            <p:cNvSpPr/>
            <p:nvPr/>
          </p:nvSpPr>
          <p:spPr bwMode="auto">
            <a:xfrm>
              <a:off x="4678363" y="4449769"/>
              <a:ext cx="39688" cy="134938"/>
            </a:xfrm>
            <a:custGeom>
              <a:avLst/>
              <a:gdLst>
                <a:gd name="T0" fmla="*/ 0 w 25"/>
                <a:gd name="T1" fmla="*/ 85 h 85"/>
                <a:gd name="T2" fmla="*/ 5 w 25"/>
                <a:gd name="T3" fmla="*/ 85 h 85"/>
                <a:gd name="T4" fmla="*/ 12 w 25"/>
                <a:gd name="T5" fmla="*/ 85 h 85"/>
                <a:gd name="T6" fmla="*/ 25 w 25"/>
                <a:gd name="T7" fmla="*/ 0 h 85"/>
                <a:gd name="T8" fmla="*/ 0 w 25"/>
                <a:gd name="T9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85">
                  <a:moveTo>
                    <a:pt x="0" y="85"/>
                  </a:moveTo>
                  <a:lnTo>
                    <a:pt x="5" y="85"/>
                  </a:lnTo>
                  <a:lnTo>
                    <a:pt x="12" y="85"/>
                  </a:lnTo>
                  <a:lnTo>
                    <a:pt x="25" y="0"/>
                  </a:lnTo>
                  <a:lnTo>
                    <a:pt x="0" y="85"/>
                  </a:lnTo>
                  <a:close/>
                </a:path>
              </a:pathLst>
            </a:custGeom>
            <a:solidFill>
              <a:srgbClr val="497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03" name="任意多边形: 形状 202">
              <a:extLst>
                <a:ext uri="{FF2B5EF4-FFF2-40B4-BE49-F238E27FC236}">
                  <a16:creationId xmlns:a16="http://schemas.microsoft.com/office/drawing/2014/main" id="{A189311B-82A4-46AA-A20D-64D0DF4C1218}"/>
                </a:ext>
              </a:extLst>
            </p:cNvPr>
            <p:cNvSpPr/>
            <p:nvPr/>
          </p:nvSpPr>
          <p:spPr bwMode="auto">
            <a:xfrm>
              <a:off x="4718050" y="4449769"/>
              <a:ext cx="41275" cy="134938"/>
            </a:xfrm>
            <a:custGeom>
              <a:avLst/>
              <a:gdLst>
                <a:gd name="T0" fmla="*/ 0 w 26"/>
                <a:gd name="T1" fmla="*/ 0 h 85"/>
                <a:gd name="T2" fmla="*/ 13 w 26"/>
                <a:gd name="T3" fmla="*/ 85 h 85"/>
                <a:gd name="T4" fmla="*/ 20 w 26"/>
                <a:gd name="T5" fmla="*/ 85 h 85"/>
                <a:gd name="T6" fmla="*/ 26 w 26"/>
                <a:gd name="T7" fmla="*/ 85 h 85"/>
                <a:gd name="T8" fmla="*/ 0 w 26"/>
                <a:gd name="T9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85">
                  <a:moveTo>
                    <a:pt x="0" y="0"/>
                  </a:moveTo>
                  <a:lnTo>
                    <a:pt x="13" y="85"/>
                  </a:lnTo>
                  <a:lnTo>
                    <a:pt x="20" y="85"/>
                  </a:lnTo>
                  <a:lnTo>
                    <a:pt x="26" y="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A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04" name="任意多边形: 形状 203">
              <a:extLst>
                <a:ext uri="{FF2B5EF4-FFF2-40B4-BE49-F238E27FC236}">
                  <a16:creationId xmlns:a16="http://schemas.microsoft.com/office/drawing/2014/main" id="{4727F8F5-7AA2-4A6B-A9E6-B24365F73A53}"/>
                </a:ext>
              </a:extLst>
            </p:cNvPr>
            <p:cNvSpPr/>
            <p:nvPr/>
          </p:nvSpPr>
          <p:spPr bwMode="auto">
            <a:xfrm>
              <a:off x="4697413" y="4449769"/>
              <a:ext cx="41275" cy="134938"/>
            </a:xfrm>
            <a:custGeom>
              <a:avLst/>
              <a:gdLst>
                <a:gd name="T0" fmla="*/ 13 w 26"/>
                <a:gd name="T1" fmla="*/ 0 h 85"/>
                <a:gd name="T2" fmla="*/ 0 w 26"/>
                <a:gd name="T3" fmla="*/ 85 h 85"/>
                <a:gd name="T4" fmla="*/ 7 w 26"/>
                <a:gd name="T5" fmla="*/ 85 h 85"/>
                <a:gd name="T6" fmla="*/ 11 w 26"/>
                <a:gd name="T7" fmla="*/ 85 h 85"/>
                <a:gd name="T8" fmla="*/ 13 w 26"/>
                <a:gd name="T9" fmla="*/ 85 h 85"/>
                <a:gd name="T10" fmla="*/ 15 w 26"/>
                <a:gd name="T11" fmla="*/ 85 h 85"/>
                <a:gd name="T12" fmla="*/ 19 w 26"/>
                <a:gd name="T13" fmla="*/ 85 h 85"/>
                <a:gd name="T14" fmla="*/ 26 w 26"/>
                <a:gd name="T15" fmla="*/ 85 h 85"/>
                <a:gd name="T16" fmla="*/ 13 w 26"/>
                <a:gd name="T17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85">
                  <a:moveTo>
                    <a:pt x="13" y="0"/>
                  </a:moveTo>
                  <a:lnTo>
                    <a:pt x="0" y="85"/>
                  </a:lnTo>
                  <a:lnTo>
                    <a:pt x="7" y="85"/>
                  </a:lnTo>
                  <a:lnTo>
                    <a:pt x="11" y="85"/>
                  </a:lnTo>
                  <a:lnTo>
                    <a:pt x="13" y="85"/>
                  </a:lnTo>
                  <a:lnTo>
                    <a:pt x="15" y="85"/>
                  </a:lnTo>
                  <a:lnTo>
                    <a:pt x="19" y="85"/>
                  </a:lnTo>
                  <a:lnTo>
                    <a:pt x="26" y="85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4D8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05" name="任意多边形: 形状 204">
              <a:extLst>
                <a:ext uri="{FF2B5EF4-FFF2-40B4-BE49-F238E27FC236}">
                  <a16:creationId xmlns:a16="http://schemas.microsoft.com/office/drawing/2014/main" id="{0B1DF39E-EE85-45B1-9219-E309C976561F}"/>
                </a:ext>
              </a:extLst>
            </p:cNvPr>
            <p:cNvSpPr/>
            <p:nvPr/>
          </p:nvSpPr>
          <p:spPr bwMode="auto">
            <a:xfrm>
              <a:off x="4686300" y="4429132"/>
              <a:ext cx="31750" cy="107950"/>
            </a:xfrm>
            <a:custGeom>
              <a:avLst/>
              <a:gdLst>
                <a:gd name="T0" fmla="*/ 0 w 20"/>
                <a:gd name="T1" fmla="*/ 68 h 68"/>
                <a:gd name="T2" fmla="*/ 4 w 20"/>
                <a:gd name="T3" fmla="*/ 68 h 68"/>
                <a:gd name="T4" fmla="*/ 10 w 20"/>
                <a:gd name="T5" fmla="*/ 68 h 68"/>
                <a:gd name="T6" fmla="*/ 20 w 20"/>
                <a:gd name="T7" fmla="*/ 0 h 68"/>
                <a:gd name="T8" fmla="*/ 0 w 20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8">
                  <a:moveTo>
                    <a:pt x="0" y="68"/>
                  </a:moveTo>
                  <a:lnTo>
                    <a:pt x="4" y="68"/>
                  </a:lnTo>
                  <a:lnTo>
                    <a:pt x="10" y="68"/>
                  </a:lnTo>
                  <a:lnTo>
                    <a:pt x="20" y="0"/>
                  </a:lnTo>
                  <a:lnTo>
                    <a:pt x="0" y="68"/>
                  </a:lnTo>
                  <a:close/>
                </a:path>
              </a:pathLst>
            </a:custGeom>
            <a:solidFill>
              <a:srgbClr val="497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06" name="任意多边形: 形状 205">
              <a:extLst>
                <a:ext uri="{FF2B5EF4-FFF2-40B4-BE49-F238E27FC236}">
                  <a16:creationId xmlns:a16="http://schemas.microsoft.com/office/drawing/2014/main" id="{581909C3-AC0F-4064-8635-FB19E2D6726C}"/>
                </a:ext>
              </a:extLst>
            </p:cNvPr>
            <p:cNvSpPr/>
            <p:nvPr/>
          </p:nvSpPr>
          <p:spPr bwMode="auto">
            <a:xfrm>
              <a:off x="4718050" y="4429132"/>
              <a:ext cx="33338" cy="107950"/>
            </a:xfrm>
            <a:custGeom>
              <a:avLst/>
              <a:gdLst>
                <a:gd name="T0" fmla="*/ 0 w 21"/>
                <a:gd name="T1" fmla="*/ 0 h 68"/>
                <a:gd name="T2" fmla="*/ 10 w 21"/>
                <a:gd name="T3" fmla="*/ 68 h 68"/>
                <a:gd name="T4" fmla="*/ 16 w 21"/>
                <a:gd name="T5" fmla="*/ 68 h 68"/>
                <a:gd name="T6" fmla="*/ 21 w 21"/>
                <a:gd name="T7" fmla="*/ 68 h 68"/>
                <a:gd name="T8" fmla="*/ 0 w 21"/>
                <a:gd name="T9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68">
                  <a:moveTo>
                    <a:pt x="0" y="0"/>
                  </a:moveTo>
                  <a:lnTo>
                    <a:pt x="10" y="68"/>
                  </a:lnTo>
                  <a:lnTo>
                    <a:pt x="16" y="68"/>
                  </a:lnTo>
                  <a:lnTo>
                    <a:pt x="21" y="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A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07" name="任意多边形: 形状 206">
              <a:extLst>
                <a:ext uri="{FF2B5EF4-FFF2-40B4-BE49-F238E27FC236}">
                  <a16:creationId xmlns:a16="http://schemas.microsoft.com/office/drawing/2014/main" id="{981F25A5-2805-4CA5-8437-183041E52962}"/>
                </a:ext>
              </a:extLst>
            </p:cNvPr>
            <p:cNvSpPr/>
            <p:nvPr/>
          </p:nvSpPr>
          <p:spPr bwMode="auto">
            <a:xfrm>
              <a:off x="4702175" y="4429132"/>
              <a:ext cx="31750" cy="107950"/>
            </a:xfrm>
            <a:custGeom>
              <a:avLst/>
              <a:gdLst>
                <a:gd name="T0" fmla="*/ 10 w 20"/>
                <a:gd name="T1" fmla="*/ 0 h 68"/>
                <a:gd name="T2" fmla="*/ 0 w 20"/>
                <a:gd name="T3" fmla="*/ 68 h 68"/>
                <a:gd name="T4" fmla="*/ 5 w 20"/>
                <a:gd name="T5" fmla="*/ 68 h 68"/>
                <a:gd name="T6" fmla="*/ 9 w 20"/>
                <a:gd name="T7" fmla="*/ 68 h 68"/>
                <a:gd name="T8" fmla="*/ 10 w 20"/>
                <a:gd name="T9" fmla="*/ 68 h 68"/>
                <a:gd name="T10" fmla="*/ 12 w 20"/>
                <a:gd name="T11" fmla="*/ 68 h 68"/>
                <a:gd name="T12" fmla="*/ 15 w 20"/>
                <a:gd name="T13" fmla="*/ 68 h 68"/>
                <a:gd name="T14" fmla="*/ 20 w 20"/>
                <a:gd name="T15" fmla="*/ 68 h 68"/>
                <a:gd name="T16" fmla="*/ 10 w 20"/>
                <a:gd name="T17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68">
                  <a:moveTo>
                    <a:pt x="10" y="0"/>
                  </a:moveTo>
                  <a:lnTo>
                    <a:pt x="0" y="68"/>
                  </a:lnTo>
                  <a:lnTo>
                    <a:pt x="5" y="68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2" y="68"/>
                  </a:lnTo>
                  <a:lnTo>
                    <a:pt x="15" y="68"/>
                  </a:lnTo>
                  <a:lnTo>
                    <a:pt x="20" y="68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4D8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08" name="矩形 207">
              <a:extLst>
                <a:ext uri="{FF2B5EF4-FFF2-40B4-BE49-F238E27FC236}">
                  <a16:creationId xmlns:a16="http://schemas.microsoft.com/office/drawing/2014/main" id="{384DA29D-1015-42ED-BA8B-F1688D40B133}"/>
                </a:ext>
              </a:extLst>
            </p:cNvPr>
            <p:cNvSpPr/>
            <p:nvPr/>
          </p:nvSpPr>
          <p:spPr bwMode="auto">
            <a:xfrm>
              <a:off x="6061075" y="1497019"/>
              <a:ext cx="30163" cy="314325"/>
            </a:xfrm>
            <a:prstGeom prst="rect">
              <a:avLst/>
            </a:prstGeom>
            <a:solidFill>
              <a:srgbClr val="6660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09" name="任意多边形: 形状 208">
              <a:extLst>
                <a:ext uri="{FF2B5EF4-FFF2-40B4-BE49-F238E27FC236}">
                  <a16:creationId xmlns:a16="http://schemas.microsoft.com/office/drawing/2014/main" id="{AB8D7AC4-8D74-43C7-8C7F-50AEDAD47C56}"/>
                </a:ext>
              </a:extLst>
            </p:cNvPr>
            <p:cNvSpPr/>
            <p:nvPr/>
          </p:nvSpPr>
          <p:spPr bwMode="auto">
            <a:xfrm>
              <a:off x="5651500" y="1276357"/>
              <a:ext cx="439738" cy="239713"/>
            </a:xfrm>
            <a:custGeom>
              <a:avLst/>
              <a:gdLst>
                <a:gd name="T0" fmla="*/ 0 w 277"/>
                <a:gd name="T1" fmla="*/ 0 h 151"/>
                <a:gd name="T2" fmla="*/ 90 w 277"/>
                <a:gd name="T3" fmla="*/ 75 h 151"/>
                <a:gd name="T4" fmla="*/ 0 w 277"/>
                <a:gd name="T5" fmla="*/ 151 h 151"/>
                <a:gd name="T6" fmla="*/ 277 w 277"/>
                <a:gd name="T7" fmla="*/ 151 h 151"/>
                <a:gd name="T8" fmla="*/ 277 w 277"/>
                <a:gd name="T9" fmla="*/ 0 h 151"/>
                <a:gd name="T10" fmla="*/ 0 w 277"/>
                <a:gd name="T11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7" h="151">
                  <a:moveTo>
                    <a:pt x="0" y="0"/>
                  </a:moveTo>
                  <a:lnTo>
                    <a:pt x="90" y="75"/>
                  </a:lnTo>
                  <a:lnTo>
                    <a:pt x="0" y="151"/>
                  </a:lnTo>
                  <a:lnTo>
                    <a:pt x="277" y="151"/>
                  </a:lnTo>
                  <a:lnTo>
                    <a:pt x="27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0A3D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210" name="任意多边形: 形状 209">
              <a:extLst>
                <a:ext uri="{FF2B5EF4-FFF2-40B4-BE49-F238E27FC236}">
                  <a16:creationId xmlns:a16="http://schemas.microsoft.com/office/drawing/2014/main" id="{5AAED6F9-973B-4B5E-9C17-EC490EDE57CD}"/>
                </a:ext>
              </a:extLst>
            </p:cNvPr>
            <p:cNvSpPr/>
            <p:nvPr/>
          </p:nvSpPr>
          <p:spPr bwMode="auto">
            <a:xfrm>
              <a:off x="3573463" y="1781182"/>
              <a:ext cx="2997200" cy="2760663"/>
            </a:xfrm>
            <a:custGeom>
              <a:avLst/>
              <a:gdLst>
                <a:gd name="T0" fmla="*/ 9 w 1888"/>
                <a:gd name="T1" fmla="*/ 1739 h 1739"/>
                <a:gd name="T2" fmla="*/ 0 w 1888"/>
                <a:gd name="T3" fmla="*/ 1719 h 1739"/>
                <a:gd name="T4" fmla="*/ 655 w 1888"/>
                <a:gd name="T5" fmla="*/ 1427 h 1739"/>
                <a:gd name="T6" fmla="*/ 1386 w 1888"/>
                <a:gd name="T7" fmla="*/ 1360 h 1739"/>
                <a:gd name="T8" fmla="*/ 1848 w 1888"/>
                <a:gd name="T9" fmla="*/ 1133 h 1739"/>
                <a:gd name="T10" fmla="*/ 1418 w 1888"/>
                <a:gd name="T11" fmla="*/ 776 h 1739"/>
                <a:gd name="T12" fmla="*/ 1692 w 1888"/>
                <a:gd name="T13" fmla="*/ 402 h 1739"/>
                <a:gd name="T14" fmla="*/ 1559 w 1888"/>
                <a:gd name="T15" fmla="*/ 7 h 1739"/>
                <a:gd name="T16" fmla="*/ 1580 w 1888"/>
                <a:gd name="T17" fmla="*/ 0 h 1739"/>
                <a:gd name="T18" fmla="*/ 1716 w 1888"/>
                <a:gd name="T19" fmla="*/ 405 h 1739"/>
                <a:gd name="T20" fmla="*/ 1448 w 1888"/>
                <a:gd name="T21" fmla="*/ 771 h 1739"/>
                <a:gd name="T22" fmla="*/ 1888 w 1888"/>
                <a:gd name="T23" fmla="*/ 1138 h 1739"/>
                <a:gd name="T24" fmla="*/ 1392 w 1888"/>
                <a:gd name="T25" fmla="*/ 1382 h 1739"/>
                <a:gd name="T26" fmla="*/ 661 w 1888"/>
                <a:gd name="T27" fmla="*/ 1448 h 1739"/>
                <a:gd name="T28" fmla="*/ 9 w 1888"/>
                <a:gd name="T29" fmla="*/ 1739 h 17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888" h="1739">
                  <a:moveTo>
                    <a:pt x="9" y="1739"/>
                  </a:moveTo>
                  <a:lnTo>
                    <a:pt x="0" y="1719"/>
                  </a:lnTo>
                  <a:lnTo>
                    <a:pt x="655" y="1427"/>
                  </a:lnTo>
                  <a:lnTo>
                    <a:pt x="1386" y="1360"/>
                  </a:lnTo>
                  <a:lnTo>
                    <a:pt x="1848" y="1133"/>
                  </a:lnTo>
                  <a:lnTo>
                    <a:pt x="1418" y="776"/>
                  </a:lnTo>
                  <a:lnTo>
                    <a:pt x="1692" y="402"/>
                  </a:lnTo>
                  <a:lnTo>
                    <a:pt x="1559" y="7"/>
                  </a:lnTo>
                  <a:lnTo>
                    <a:pt x="1580" y="0"/>
                  </a:lnTo>
                  <a:lnTo>
                    <a:pt x="1716" y="405"/>
                  </a:lnTo>
                  <a:lnTo>
                    <a:pt x="1448" y="771"/>
                  </a:lnTo>
                  <a:lnTo>
                    <a:pt x="1888" y="1138"/>
                  </a:lnTo>
                  <a:lnTo>
                    <a:pt x="1392" y="1382"/>
                  </a:lnTo>
                  <a:lnTo>
                    <a:pt x="661" y="1448"/>
                  </a:lnTo>
                  <a:lnTo>
                    <a:pt x="9" y="1739"/>
                  </a:lnTo>
                  <a:close/>
                </a:path>
              </a:pathLst>
            </a:custGeom>
            <a:solidFill>
              <a:srgbClr val="30A3D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211" name="椭圆 210">
              <a:extLst>
                <a:ext uri="{FF2B5EF4-FFF2-40B4-BE49-F238E27FC236}">
                  <a16:creationId xmlns:a16="http://schemas.microsoft.com/office/drawing/2014/main" id="{CCF043E3-8CE7-4836-BBE5-62FD9EC247E2}"/>
                </a:ext>
              </a:extLst>
            </p:cNvPr>
            <p:cNvSpPr/>
            <p:nvPr/>
          </p:nvSpPr>
          <p:spPr bwMode="auto">
            <a:xfrm>
              <a:off x="5992813" y="1712919"/>
              <a:ext cx="146050" cy="147638"/>
            </a:xfrm>
            <a:prstGeom prst="ellipse">
              <a:avLst/>
            </a:prstGeom>
            <a:solidFill>
              <a:srgbClr val="F077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12" name="任意多边形: 形状 211">
              <a:extLst>
                <a:ext uri="{FF2B5EF4-FFF2-40B4-BE49-F238E27FC236}">
                  <a16:creationId xmlns:a16="http://schemas.microsoft.com/office/drawing/2014/main" id="{DEF99774-36CB-41FF-B9B7-791488ADB2E2}"/>
                </a:ext>
              </a:extLst>
            </p:cNvPr>
            <p:cNvSpPr/>
            <p:nvPr/>
          </p:nvSpPr>
          <p:spPr bwMode="auto">
            <a:xfrm>
              <a:off x="5956300" y="1677994"/>
              <a:ext cx="215900" cy="217488"/>
            </a:xfrm>
            <a:custGeom>
              <a:avLst/>
              <a:gdLst>
                <a:gd name="T0" fmla="*/ 67 w 134"/>
                <a:gd name="T1" fmla="*/ 0 h 135"/>
                <a:gd name="T2" fmla="*/ 0 w 134"/>
                <a:gd name="T3" fmla="*/ 68 h 135"/>
                <a:gd name="T4" fmla="*/ 67 w 134"/>
                <a:gd name="T5" fmla="*/ 135 h 135"/>
                <a:gd name="T6" fmla="*/ 134 w 134"/>
                <a:gd name="T7" fmla="*/ 68 h 135"/>
                <a:gd name="T8" fmla="*/ 67 w 134"/>
                <a:gd name="T9" fmla="*/ 0 h 135"/>
                <a:gd name="T10" fmla="*/ 67 w 134"/>
                <a:gd name="T11" fmla="*/ 113 h 135"/>
                <a:gd name="T12" fmla="*/ 22 w 134"/>
                <a:gd name="T13" fmla="*/ 68 h 135"/>
                <a:gd name="T14" fmla="*/ 67 w 134"/>
                <a:gd name="T15" fmla="*/ 22 h 135"/>
                <a:gd name="T16" fmla="*/ 113 w 134"/>
                <a:gd name="T17" fmla="*/ 68 h 135"/>
                <a:gd name="T18" fmla="*/ 67 w 134"/>
                <a:gd name="T19" fmla="*/ 113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5">
                  <a:moveTo>
                    <a:pt x="67" y="0"/>
                  </a:moveTo>
                  <a:cubicBezTo>
                    <a:pt x="30" y="0"/>
                    <a:pt x="0" y="30"/>
                    <a:pt x="0" y="68"/>
                  </a:cubicBezTo>
                  <a:cubicBezTo>
                    <a:pt x="0" y="105"/>
                    <a:pt x="30" y="135"/>
                    <a:pt x="67" y="135"/>
                  </a:cubicBezTo>
                  <a:cubicBezTo>
                    <a:pt x="104" y="135"/>
                    <a:pt x="134" y="105"/>
                    <a:pt x="134" y="68"/>
                  </a:cubicBezTo>
                  <a:cubicBezTo>
                    <a:pt x="134" y="30"/>
                    <a:pt x="104" y="0"/>
                    <a:pt x="67" y="0"/>
                  </a:cubicBezTo>
                  <a:close/>
                  <a:moveTo>
                    <a:pt x="67" y="113"/>
                  </a:moveTo>
                  <a:cubicBezTo>
                    <a:pt x="42" y="113"/>
                    <a:pt x="22" y="93"/>
                    <a:pt x="22" y="68"/>
                  </a:cubicBezTo>
                  <a:cubicBezTo>
                    <a:pt x="22" y="42"/>
                    <a:pt x="42" y="22"/>
                    <a:pt x="67" y="22"/>
                  </a:cubicBezTo>
                  <a:cubicBezTo>
                    <a:pt x="92" y="22"/>
                    <a:pt x="113" y="42"/>
                    <a:pt x="113" y="68"/>
                  </a:cubicBezTo>
                  <a:cubicBezTo>
                    <a:pt x="113" y="93"/>
                    <a:pt x="92" y="113"/>
                    <a:pt x="67" y="113"/>
                  </a:cubicBezTo>
                  <a:close/>
                </a:path>
              </a:pathLst>
            </a:custGeom>
            <a:solidFill>
              <a:srgbClr val="30A3D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213" name="椭圆 212">
              <a:extLst>
                <a:ext uri="{FF2B5EF4-FFF2-40B4-BE49-F238E27FC236}">
                  <a16:creationId xmlns:a16="http://schemas.microsoft.com/office/drawing/2014/main" id="{0BDD0D9D-3053-4EB2-9EEE-B2D49CB9C458}"/>
                </a:ext>
              </a:extLst>
            </p:cNvPr>
            <p:cNvSpPr/>
            <p:nvPr/>
          </p:nvSpPr>
          <p:spPr bwMode="auto">
            <a:xfrm>
              <a:off x="5775325" y="2935294"/>
              <a:ext cx="146050" cy="146050"/>
            </a:xfrm>
            <a:prstGeom prst="ellipse">
              <a:avLst/>
            </a:prstGeom>
            <a:solidFill>
              <a:srgbClr val="F077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14" name="任意多边形: 形状 213">
              <a:extLst>
                <a:ext uri="{FF2B5EF4-FFF2-40B4-BE49-F238E27FC236}">
                  <a16:creationId xmlns:a16="http://schemas.microsoft.com/office/drawing/2014/main" id="{B8D41C4C-BE1C-4155-A5F9-8FB5F1D6046B}"/>
                </a:ext>
              </a:extLst>
            </p:cNvPr>
            <p:cNvSpPr/>
            <p:nvPr/>
          </p:nvSpPr>
          <p:spPr bwMode="auto">
            <a:xfrm>
              <a:off x="5740400" y="2901957"/>
              <a:ext cx="215900" cy="214313"/>
            </a:xfrm>
            <a:custGeom>
              <a:avLst/>
              <a:gdLst>
                <a:gd name="T0" fmla="*/ 67 w 135"/>
                <a:gd name="T1" fmla="*/ 0 h 134"/>
                <a:gd name="T2" fmla="*/ 0 w 135"/>
                <a:gd name="T3" fmla="*/ 67 h 134"/>
                <a:gd name="T4" fmla="*/ 67 w 135"/>
                <a:gd name="T5" fmla="*/ 134 h 134"/>
                <a:gd name="T6" fmla="*/ 135 w 135"/>
                <a:gd name="T7" fmla="*/ 67 h 134"/>
                <a:gd name="T8" fmla="*/ 67 w 135"/>
                <a:gd name="T9" fmla="*/ 0 h 134"/>
                <a:gd name="T10" fmla="*/ 22 w 135"/>
                <a:gd name="T11" fmla="*/ 67 h 134"/>
                <a:gd name="T12" fmla="*/ 67 w 135"/>
                <a:gd name="T13" fmla="*/ 21 h 134"/>
                <a:gd name="T14" fmla="*/ 113 w 135"/>
                <a:gd name="T15" fmla="*/ 67 h 134"/>
                <a:gd name="T16" fmla="*/ 67 w 135"/>
                <a:gd name="T17" fmla="*/ 112 h 134"/>
                <a:gd name="T18" fmla="*/ 22 w 135"/>
                <a:gd name="T19" fmla="*/ 67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5" h="134">
                  <a:moveTo>
                    <a:pt x="67" y="0"/>
                  </a:moveTo>
                  <a:cubicBezTo>
                    <a:pt x="30" y="0"/>
                    <a:pt x="0" y="30"/>
                    <a:pt x="0" y="67"/>
                  </a:cubicBezTo>
                  <a:cubicBezTo>
                    <a:pt x="0" y="104"/>
                    <a:pt x="30" y="134"/>
                    <a:pt x="67" y="134"/>
                  </a:cubicBezTo>
                  <a:cubicBezTo>
                    <a:pt x="104" y="134"/>
                    <a:pt x="135" y="104"/>
                    <a:pt x="135" y="67"/>
                  </a:cubicBezTo>
                  <a:cubicBezTo>
                    <a:pt x="135" y="30"/>
                    <a:pt x="104" y="0"/>
                    <a:pt x="67" y="0"/>
                  </a:cubicBezTo>
                  <a:close/>
                  <a:moveTo>
                    <a:pt x="22" y="67"/>
                  </a:moveTo>
                  <a:cubicBezTo>
                    <a:pt x="22" y="42"/>
                    <a:pt x="42" y="21"/>
                    <a:pt x="67" y="21"/>
                  </a:cubicBezTo>
                  <a:cubicBezTo>
                    <a:pt x="93" y="21"/>
                    <a:pt x="113" y="42"/>
                    <a:pt x="113" y="67"/>
                  </a:cubicBezTo>
                  <a:cubicBezTo>
                    <a:pt x="113" y="92"/>
                    <a:pt x="93" y="112"/>
                    <a:pt x="67" y="112"/>
                  </a:cubicBezTo>
                  <a:cubicBezTo>
                    <a:pt x="42" y="112"/>
                    <a:pt x="22" y="92"/>
                    <a:pt x="22" y="67"/>
                  </a:cubicBezTo>
                  <a:close/>
                </a:path>
              </a:pathLst>
            </a:custGeom>
            <a:solidFill>
              <a:srgbClr val="30A3D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215" name="椭圆 214">
              <a:extLst>
                <a:ext uri="{FF2B5EF4-FFF2-40B4-BE49-F238E27FC236}">
                  <a16:creationId xmlns:a16="http://schemas.microsoft.com/office/drawing/2014/main" id="{1BF59D71-C4EC-43AB-B21C-66750A946093}"/>
                </a:ext>
              </a:extLst>
            </p:cNvPr>
            <p:cNvSpPr/>
            <p:nvPr/>
          </p:nvSpPr>
          <p:spPr bwMode="auto">
            <a:xfrm>
              <a:off x="3475038" y="4467232"/>
              <a:ext cx="146050" cy="146050"/>
            </a:xfrm>
            <a:prstGeom prst="ellipse">
              <a:avLst/>
            </a:prstGeom>
            <a:solidFill>
              <a:srgbClr val="F077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16" name="任意多边形: 形状 215">
              <a:extLst>
                <a:ext uri="{FF2B5EF4-FFF2-40B4-BE49-F238E27FC236}">
                  <a16:creationId xmlns:a16="http://schemas.microsoft.com/office/drawing/2014/main" id="{7D8FD129-D40A-48F7-A2A8-CA3D9D0C1B75}"/>
                </a:ext>
              </a:extLst>
            </p:cNvPr>
            <p:cNvSpPr/>
            <p:nvPr/>
          </p:nvSpPr>
          <p:spPr bwMode="auto">
            <a:xfrm>
              <a:off x="3440113" y="4430719"/>
              <a:ext cx="215900" cy="217488"/>
            </a:xfrm>
            <a:custGeom>
              <a:avLst/>
              <a:gdLst>
                <a:gd name="T0" fmla="*/ 67 w 134"/>
                <a:gd name="T1" fmla="*/ 0 h 135"/>
                <a:gd name="T2" fmla="*/ 0 w 134"/>
                <a:gd name="T3" fmla="*/ 67 h 135"/>
                <a:gd name="T4" fmla="*/ 67 w 134"/>
                <a:gd name="T5" fmla="*/ 135 h 135"/>
                <a:gd name="T6" fmla="*/ 134 w 134"/>
                <a:gd name="T7" fmla="*/ 67 h 135"/>
                <a:gd name="T8" fmla="*/ 67 w 134"/>
                <a:gd name="T9" fmla="*/ 0 h 135"/>
                <a:gd name="T10" fmla="*/ 67 w 134"/>
                <a:gd name="T11" fmla="*/ 113 h 135"/>
                <a:gd name="T12" fmla="*/ 22 w 134"/>
                <a:gd name="T13" fmla="*/ 67 h 135"/>
                <a:gd name="T14" fmla="*/ 67 w 134"/>
                <a:gd name="T15" fmla="*/ 22 h 135"/>
                <a:gd name="T16" fmla="*/ 113 w 134"/>
                <a:gd name="T17" fmla="*/ 67 h 135"/>
                <a:gd name="T18" fmla="*/ 67 w 134"/>
                <a:gd name="T19" fmla="*/ 113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5">
                  <a:moveTo>
                    <a:pt x="67" y="0"/>
                  </a:moveTo>
                  <a:cubicBezTo>
                    <a:pt x="30" y="0"/>
                    <a:pt x="0" y="30"/>
                    <a:pt x="0" y="67"/>
                  </a:cubicBezTo>
                  <a:cubicBezTo>
                    <a:pt x="0" y="104"/>
                    <a:pt x="30" y="135"/>
                    <a:pt x="67" y="135"/>
                  </a:cubicBezTo>
                  <a:cubicBezTo>
                    <a:pt x="104" y="135"/>
                    <a:pt x="134" y="104"/>
                    <a:pt x="134" y="67"/>
                  </a:cubicBezTo>
                  <a:cubicBezTo>
                    <a:pt x="134" y="30"/>
                    <a:pt x="104" y="0"/>
                    <a:pt x="67" y="0"/>
                  </a:cubicBezTo>
                  <a:close/>
                  <a:moveTo>
                    <a:pt x="67" y="113"/>
                  </a:moveTo>
                  <a:cubicBezTo>
                    <a:pt x="42" y="113"/>
                    <a:pt x="22" y="92"/>
                    <a:pt x="22" y="67"/>
                  </a:cubicBezTo>
                  <a:cubicBezTo>
                    <a:pt x="22" y="42"/>
                    <a:pt x="42" y="22"/>
                    <a:pt x="67" y="22"/>
                  </a:cubicBezTo>
                  <a:cubicBezTo>
                    <a:pt x="92" y="22"/>
                    <a:pt x="113" y="42"/>
                    <a:pt x="113" y="67"/>
                  </a:cubicBezTo>
                  <a:cubicBezTo>
                    <a:pt x="113" y="92"/>
                    <a:pt x="92" y="113"/>
                    <a:pt x="67" y="113"/>
                  </a:cubicBezTo>
                  <a:close/>
                </a:path>
              </a:pathLst>
            </a:custGeom>
            <a:solidFill>
              <a:srgbClr val="30A3D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217" name="椭圆 216">
              <a:extLst>
                <a:ext uri="{FF2B5EF4-FFF2-40B4-BE49-F238E27FC236}">
                  <a16:creationId xmlns:a16="http://schemas.microsoft.com/office/drawing/2014/main" id="{029BC37F-7E40-44ED-A846-962C0E38A0FA}"/>
                </a:ext>
              </a:extLst>
            </p:cNvPr>
            <p:cNvSpPr/>
            <p:nvPr/>
          </p:nvSpPr>
          <p:spPr bwMode="auto">
            <a:xfrm>
              <a:off x="6465888" y="3509969"/>
              <a:ext cx="146050" cy="147638"/>
            </a:xfrm>
            <a:prstGeom prst="ellipse">
              <a:avLst/>
            </a:prstGeom>
            <a:solidFill>
              <a:srgbClr val="F077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18" name="任意多边形: 形状 217">
              <a:extLst>
                <a:ext uri="{FF2B5EF4-FFF2-40B4-BE49-F238E27FC236}">
                  <a16:creationId xmlns:a16="http://schemas.microsoft.com/office/drawing/2014/main" id="{66813371-74F7-4B20-8C73-CC87E44E76C0}"/>
                </a:ext>
              </a:extLst>
            </p:cNvPr>
            <p:cNvSpPr/>
            <p:nvPr/>
          </p:nvSpPr>
          <p:spPr bwMode="auto">
            <a:xfrm>
              <a:off x="6430963" y="3476632"/>
              <a:ext cx="215900" cy="215900"/>
            </a:xfrm>
            <a:custGeom>
              <a:avLst/>
              <a:gdLst>
                <a:gd name="T0" fmla="*/ 67 w 134"/>
                <a:gd name="T1" fmla="*/ 0 h 134"/>
                <a:gd name="T2" fmla="*/ 0 w 134"/>
                <a:gd name="T3" fmla="*/ 67 h 134"/>
                <a:gd name="T4" fmla="*/ 67 w 134"/>
                <a:gd name="T5" fmla="*/ 134 h 134"/>
                <a:gd name="T6" fmla="*/ 134 w 134"/>
                <a:gd name="T7" fmla="*/ 67 h 134"/>
                <a:gd name="T8" fmla="*/ 67 w 134"/>
                <a:gd name="T9" fmla="*/ 0 h 134"/>
                <a:gd name="T10" fmla="*/ 22 w 134"/>
                <a:gd name="T11" fmla="*/ 67 h 134"/>
                <a:gd name="T12" fmla="*/ 67 w 134"/>
                <a:gd name="T13" fmla="*/ 21 h 134"/>
                <a:gd name="T14" fmla="*/ 113 w 134"/>
                <a:gd name="T15" fmla="*/ 67 h 134"/>
                <a:gd name="T16" fmla="*/ 67 w 134"/>
                <a:gd name="T17" fmla="*/ 112 h 134"/>
                <a:gd name="T18" fmla="*/ 22 w 134"/>
                <a:gd name="T19" fmla="*/ 67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4">
                  <a:moveTo>
                    <a:pt x="67" y="0"/>
                  </a:moveTo>
                  <a:cubicBezTo>
                    <a:pt x="30" y="0"/>
                    <a:pt x="0" y="30"/>
                    <a:pt x="0" y="67"/>
                  </a:cubicBezTo>
                  <a:cubicBezTo>
                    <a:pt x="0" y="104"/>
                    <a:pt x="30" y="134"/>
                    <a:pt x="67" y="134"/>
                  </a:cubicBezTo>
                  <a:cubicBezTo>
                    <a:pt x="104" y="134"/>
                    <a:pt x="134" y="104"/>
                    <a:pt x="134" y="67"/>
                  </a:cubicBezTo>
                  <a:cubicBezTo>
                    <a:pt x="134" y="30"/>
                    <a:pt x="104" y="0"/>
                    <a:pt x="67" y="0"/>
                  </a:cubicBezTo>
                  <a:close/>
                  <a:moveTo>
                    <a:pt x="22" y="67"/>
                  </a:moveTo>
                  <a:cubicBezTo>
                    <a:pt x="22" y="42"/>
                    <a:pt x="42" y="21"/>
                    <a:pt x="67" y="21"/>
                  </a:cubicBezTo>
                  <a:cubicBezTo>
                    <a:pt x="92" y="21"/>
                    <a:pt x="113" y="42"/>
                    <a:pt x="113" y="67"/>
                  </a:cubicBezTo>
                  <a:cubicBezTo>
                    <a:pt x="113" y="92"/>
                    <a:pt x="92" y="112"/>
                    <a:pt x="67" y="112"/>
                  </a:cubicBezTo>
                  <a:cubicBezTo>
                    <a:pt x="42" y="112"/>
                    <a:pt x="22" y="92"/>
                    <a:pt x="22" y="67"/>
                  </a:cubicBezTo>
                  <a:close/>
                </a:path>
              </a:pathLst>
            </a:custGeom>
            <a:solidFill>
              <a:srgbClr val="30A3D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219" name="椭圆 218">
              <a:extLst>
                <a:ext uri="{FF2B5EF4-FFF2-40B4-BE49-F238E27FC236}">
                  <a16:creationId xmlns:a16="http://schemas.microsoft.com/office/drawing/2014/main" id="{E0E2162E-AE6C-443B-B4DC-469308888585}"/>
                </a:ext>
              </a:extLst>
            </p:cNvPr>
            <p:cNvSpPr/>
            <p:nvPr/>
          </p:nvSpPr>
          <p:spPr bwMode="auto">
            <a:xfrm>
              <a:off x="5703888" y="3883032"/>
              <a:ext cx="147638" cy="146050"/>
            </a:xfrm>
            <a:prstGeom prst="ellipse">
              <a:avLst/>
            </a:prstGeom>
            <a:solidFill>
              <a:srgbClr val="F077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20" name="任意多边形: 形状 219">
              <a:extLst>
                <a:ext uri="{FF2B5EF4-FFF2-40B4-BE49-F238E27FC236}">
                  <a16:creationId xmlns:a16="http://schemas.microsoft.com/office/drawing/2014/main" id="{7DF456AC-DCFF-4FAA-8A70-EAF650CB8039}"/>
                </a:ext>
              </a:extLst>
            </p:cNvPr>
            <p:cNvSpPr/>
            <p:nvPr/>
          </p:nvSpPr>
          <p:spPr bwMode="auto">
            <a:xfrm>
              <a:off x="5668963" y="3849694"/>
              <a:ext cx="217488" cy="215900"/>
            </a:xfrm>
            <a:custGeom>
              <a:avLst/>
              <a:gdLst>
                <a:gd name="T0" fmla="*/ 68 w 135"/>
                <a:gd name="T1" fmla="*/ 0 h 134"/>
                <a:gd name="T2" fmla="*/ 0 w 135"/>
                <a:gd name="T3" fmla="*/ 67 h 134"/>
                <a:gd name="T4" fmla="*/ 68 w 135"/>
                <a:gd name="T5" fmla="*/ 134 h 134"/>
                <a:gd name="T6" fmla="*/ 135 w 135"/>
                <a:gd name="T7" fmla="*/ 67 h 134"/>
                <a:gd name="T8" fmla="*/ 68 w 135"/>
                <a:gd name="T9" fmla="*/ 0 h 134"/>
                <a:gd name="T10" fmla="*/ 22 w 135"/>
                <a:gd name="T11" fmla="*/ 67 h 134"/>
                <a:gd name="T12" fmla="*/ 68 w 135"/>
                <a:gd name="T13" fmla="*/ 21 h 134"/>
                <a:gd name="T14" fmla="*/ 113 w 135"/>
                <a:gd name="T15" fmla="*/ 67 h 134"/>
                <a:gd name="T16" fmla="*/ 68 w 135"/>
                <a:gd name="T17" fmla="*/ 112 h 134"/>
                <a:gd name="T18" fmla="*/ 22 w 135"/>
                <a:gd name="T19" fmla="*/ 67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5" h="134">
                  <a:moveTo>
                    <a:pt x="68" y="0"/>
                  </a:moveTo>
                  <a:cubicBezTo>
                    <a:pt x="31" y="0"/>
                    <a:pt x="0" y="30"/>
                    <a:pt x="0" y="67"/>
                  </a:cubicBezTo>
                  <a:cubicBezTo>
                    <a:pt x="0" y="104"/>
                    <a:pt x="31" y="134"/>
                    <a:pt x="68" y="134"/>
                  </a:cubicBezTo>
                  <a:cubicBezTo>
                    <a:pt x="105" y="134"/>
                    <a:pt x="135" y="104"/>
                    <a:pt x="135" y="67"/>
                  </a:cubicBezTo>
                  <a:cubicBezTo>
                    <a:pt x="135" y="30"/>
                    <a:pt x="105" y="0"/>
                    <a:pt x="68" y="0"/>
                  </a:cubicBezTo>
                  <a:close/>
                  <a:moveTo>
                    <a:pt x="22" y="67"/>
                  </a:moveTo>
                  <a:cubicBezTo>
                    <a:pt x="22" y="42"/>
                    <a:pt x="42" y="21"/>
                    <a:pt x="68" y="21"/>
                  </a:cubicBezTo>
                  <a:cubicBezTo>
                    <a:pt x="93" y="21"/>
                    <a:pt x="113" y="42"/>
                    <a:pt x="113" y="67"/>
                  </a:cubicBezTo>
                  <a:cubicBezTo>
                    <a:pt x="113" y="92"/>
                    <a:pt x="93" y="112"/>
                    <a:pt x="68" y="112"/>
                  </a:cubicBezTo>
                  <a:cubicBezTo>
                    <a:pt x="42" y="112"/>
                    <a:pt x="22" y="92"/>
                    <a:pt x="22" y="67"/>
                  </a:cubicBezTo>
                  <a:close/>
                </a:path>
              </a:pathLst>
            </a:custGeom>
            <a:solidFill>
              <a:srgbClr val="30A3D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221" name="椭圆 220">
              <a:extLst>
                <a:ext uri="{FF2B5EF4-FFF2-40B4-BE49-F238E27FC236}">
                  <a16:creationId xmlns:a16="http://schemas.microsoft.com/office/drawing/2014/main" id="{BC285C90-83CD-44BC-9CE8-F8CE842FF9F7}"/>
                </a:ext>
              </a:extLst>
            </p:cNvPr>
            <p:cNvSpPr/>
            <p:nvPr/>
          </p:nvSpPr>
          <p:spPr bwMode="auto">
            <a:xfrm>
              <a:off x="4546600" y="3989394"/>
              <a:ext cx="146050" cy="146050"/>
            </a:xfrm>
            <a:prstGeom prst="ellipse">
              <a:avLst/>
            </a:prstGeom>
            <a:solidFill>
              <a:srgbClr val="F077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22" name="任意多边形: 形状 221">
              <a:extLst>
                <a:ext uri="{FF2B5EF4-FFF2-40B4-BE49-F238E27FC236}">
                  <a16:creationId xmlns:a16="http://schemas.microsoft.com/office/drawing/2014/main" id="{F9878CC7-EF3A-4EDD-87CE-29E78C3552EA}"/>
                </a:ext>
              </a:extLst>
            </p:cNvPr>
            <p:cNvSpPr/>
            <p:nvPr/>
          </p:nvSpPr>
          <p:spPr bwMode="auto">
            <a:xfrm>
              <a:off x="4510088" y="3954469"/>
              <a:ext cx="215900" cy="215900"/>
            </a:xfrm>
            <a:custGeom>
              <a:avLst/>
              <a:gdLst>
                <a:gd name="T0" fmla="*/ 67 w 134"/>
                <a:gd name="T1" fmla="*/ 0 h 135"/>
                <a:gd name="T2" fmla="*/ 0 w 134"/>
                <a:gd name="T3" fmla="*/ 68 h 135"/>
                <a:gd name="T4" fmla="*/ 67 w 134"/>
                <a:gd name="T5" fmla="*/ 135 h 135"/>
                <a:gd name="T6" fmla="*/ 134 w 134"/>
                <a:gd name="T7" fmla="*/ 68 h 135"/>
                <a:gd name="T8" fmla="*/ 67 w 134"/>
                <a:gd name="T9" fmla="*/ 0 h 135"/>
                <a:gd name="T10" fmla="*/ 67 w 134"/>
                <a:gd name="T11" fmla="*/ 113 h 135"/>
                <a:gd name="T12" fmla="*/ 22 w 134"/>
                <a:gd name="T13" fmla="*/ 68 h 135"/>
                <a:gd name="T14" fmla="*/ 67 w 134"/>
                <a:gd name="T15" fmla="*/ 22 h 135"/>
                <a:gd name="T16" fmla="*/ 113 w 134"/>
                <a:gd name="T17" fmla="*/ 68 h 135"/>
                <a:gd name="T18" fmla="*/ 67 w 134"/>
                <a:gd name="T19" fmla="*/ 113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5">
                  <a:moveTo>
                    <a:pt x="67" y="0"/>
                  </a:moveTo>
                  <a:cubicBezTo>
                    <a:pt x="30" y="0"/>
                    <a:pt x="0" y="31"/>
                    <a:pt x="0" y="68"/>
                  </a:cubicBezTo>
                  <a:cubicBezTo>
                    <a:pt x="0" y="105"/>
                    <a:pt x="30" y="135"/>
                    <a:pt x="67" y="135"/>
                  </a:cubicBezTo>
                  <a:cubicBezTo>
                    <a:pt x="104" y="135"/>
                    <a:pt x="134" y="105"/>
                    <a:pt x="134" y="68"/>
                  </a:cubicBezTo>
                  <a:cubicBezTo>
                    <a:pt x="134" y="31"/>
                    <a:pt x="104" y="0"/>
                    <a:pt x="67" y="0"/>
                  </a:cubicBezTo>
                  <a:close/>
                  <a:moveTo>
                    <a:pt x="67" y="113"/>
                  </a:moveTo>
                  <a:cubicBezTo>
                    <a:pt x="42" y="113"/>
                    <a:pt x="22" y="93"/>
                    <a:pt x="22" y="68"/>
                  </a:cubicBezTo>
                  <a:cubicBezTo>
                    <a:pt x="22" y="43"/>
                    <a:pt x="42" y="22"/>
                    <a:pt x="67" y="22"/>
                  </a:cubicBezTo>
                  <a:cubicBezTo>
                    <a:pt x="92" y="22"/>
                    <a:pt x="113" y="43"/>
                    <a:pt x="113" y="68"/>
                  </a:cubicBezTo>
                  <a:cubicBezTo>
                    <a:pt x="113" y="93"/>
                    <a:pt x="92" y="113"/>
                    <a:pt x="67" y="113"/>
                  </a:cubicBezTo>
                  <a:close/>
                </a:path>
              </a:pathLst>
            </a:custGeom>
            <a:solidFill>
              <a:srgbClr val="30A3D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223" name="椭圆 222">
              <a:extLst>
                <a:ext uri="{FF2B5EF4-FFF2-40B4-BE49-F238E27FC236}">
                  <a16:creationId xmlns:a16="http://schemas.microsoft.com/office/drawing/2014/main" id="{45B68DF0-72D1-450C-85A7-54250C5C2D13}"/>
                </a:ext>
              </a:extLst>
            </p:cNvPr>
            <p:cNvSpPr/>
            <p:nvPr/>
          </p:nvSpPr>
          <p:spPr bwMode="auto">
            <a:xfrm>
              <a:off x="6205538" y="2347919"/>
              <a:ext cx="146050" cy="147638"/>
            </a:xfrm>
            <a:prstGeom prst="ellipse">
              <a:avLst/>
            </a:prstGeom>
            <a:solidFill>
              <a:srgbClr val="F0778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24" name="任意多边形: 形状 223">
              <a:extLst>
                <a:ext uri="{FF2B5EF4-FFF2-40B4-BE49-F238E27FC236}">
                  <a16:creationId xmlns:a16="http://schemas.microsoft.com/office/drawing/2014/main" id="{B93883A0-B164-4B67-84CE-DA625A7B9B1C}"/>
                </a:ext>
              </a:extLst>
            </p:cNvPr>
            <p:cNvSpPr/>
            <p:nvPr/>
          </p:nvSpPr>
          <p:spPr bwMode="auto">
            <a:xfrm>
              <a:off x="6170613" y="2312994"/>
              <a:ext cx="217488" cy="217488"/>
            </a:xfrm>
            <a:custGeom>
              <a:avLst/>
              <a:gdLst>
                <a:gd name="T0" fmla="*/ 67 w 135"/>
                <a:gd name="T1" fmla="*/ 0 h 135"/>
                <a:gd name="T2" fmla="*/ 0 w 135"/>
                <a:gd name="T3" fmla="*/ 67 h 135"/>
                <a:gd name="T4" fmla="*/ 67 w 135"/>
                <a:gd name="T5" fmla="*/ 135 h 135"/>
                <a:gd name="T6" fmla="*/ 135 w 135"/>
                <a:gd name="T7" fmla="*/ 67 h 135"/>
                <a:gd name="T8" fmla="*/ 67 w 135"/>
                <a:gd name="T9" fmla="*/ 0 h 135"/>
                <a:gd name="T10" fmla="*/ 22 w 135"/>
                <a:gd name="T11" fmla="*/ 67 h 135"/>
                <a:gd name="T12" fmla="*/ 67 w 135"/>
                <a:gd name="T13" fmla="*/ 22 h 135"/>
                <a:gd name="T14" fmla="*/ 113 w 135"/>
                <a:gd name="T15" fmla="*/ 67 h 135"/>
                <a:gd name="T16" fmla="*/ 67 w 135"/>
                <a:gd name="T17" fmla="*/ 113 h 135"/>
                <a:gd name="T18" fmla="*/ 22 w 135"/>
                <a:gd name="T19" fmla="*/ 67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5" h="135">
                  <a:moveTo>
                    <a:pt x="67" y="0"/>
                  </a:moveTo>
                  <a:cubicBezTo>
                    <a:pt x="30" y="0"/>
                    <a:pt x="0" y="30"/>
                    <a:pt x="0" y="67"/>
                  </a:cubicBezTo>
                  <a:cubicBezTo>
                    <a:pt x="0" y="105"/>
                    <a:pt x="30" y="135"/>
                    <a:pt x="67" y="135"/>
                  </a:cubicBezTo>
                  <a:cubicBezTo>
                    <a:pt x="104" y="135"/>
                    <a:pt x="135" y="105"/>
                    <a:pt x="135" y="67"/>
                  </a:cubicBezTo>
                  <a:cubicBezTo>
                    <a:pt x="135" y="30"/>
                    <a:pt x="104" y="0"/>
                    <a:pt x="67" y="0"/>
                  </a:cubicBezTo>
                  <a:close/>
                  <a:moveTo>
                    <a:pt x="22" y="67"/>
                  </a:moveTo>
                  <a:cubicBezTo>
                    <a:pt x="22" y="42"/>
                    <a:pt x="42" y="22"/>
                    <a:pt x="67" y="22"/>
                  </a:cubicBezTo>
                  <a:cubicBezTo>
                    <a:pt x="92" y="22"/>
                    <a:pt x="113" y="42"/>
                    <a:pt x="113" y="67"/>
                  </a:cubicBezTo>
                  <a:cubicBezTo>
                    <a:pt x="113" y="93"/>
                    <a:pt x="92" y="113"/>
                    <a:pt x="67" y="113"/>
                  </a:cubicBezTo>
                  <a:cubicBezTo>
                    <a:pt x="42" y="113"/>
                    <a:pt x="22" y="93"/>
                    <a:pt x="22" y="67"/>
                  </a:cubicBezTo>
                  <a:close/>
                </a:path>
              </a:pathLst>
            </a:custGeom>
            <a:solidFill>
              <a:srgbClr val="30A3D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30A3DC"/>
                </a:solidFill>
                <a:effectLst/>
                <a:uLnTx/>
                <a:uFillTx/>
              </a:endParaRPr>
            </a:p>
          </p:txBody>
        </p:sp>
        <p:sp>
          <p:nvSpPr>
            <p:cNvPr id="225" name="任意多边形: 形状 224">
              <a:extLst>
                <a:ext uri="{FF2B5EF4-FFF2-40B4-BE49-F238E27FC236}">
                  <a16:creationId xmlns:a16="http://schemas.microsoft.com/office/drawing/2014/main" id="{0AC1CC96-8E87-4D94-831D-04151A87A14A}"/>
                </a:ext>
              </a:extLst>
            </p:cNvPr>
            <p:cNvSpPr/>
            <p:nvPr/>
          </p:nvSpPr>
          <p:spPr bwMode="auto">
            <a:xfrm>
              <a:off x="7643813" y="4572007"/>
              <a:ext cx="38100" cy="107950"/>
            </a:xfrm>
            <a:custGeom>
              <a:avLst/>
              <a:gdLst>
                <a:gd name="T0" fmla="*/ 24 w 24"/>
                <a:gd name="T1" fmla="*/ 68 h 68"/>
                <a:gd name="T2" fmla="*/ 0 w 24"/>
                <a:gd name="T3" fmla="*/ 68 h 68"/>
                <a:gd name="T4" fmla="*/ 7 w 24"/>
                <a:gd name="T5" fmla="*/ 0 h 68"/>
                <a:gd name="T6" fmla="*/ 18 w 24"/>
                <a:gd name="T7" fmla="*/ 0 h 68"/>
                <a:gd name="T8" fmla="*/ 24 w 24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68">
                  <a:moveTo>
                    <a:pt x="24" y="68"/>
                  </a:moveTo>
                  <a:lnTo>
                    <a:pt x="0" y="68"/>
                  </a:lnTo>
                  <a:lnTo>
                    <a:pt x="7" y="0"/>
                  </a:lnTo>
                  <a:lnTo>
                    <a:pt x="18" y="0"/>
                  </a:lnTo>
                  <a:lnTo>
                    <a:pt x="24" y="68"/>
                  </a:lnTo>
                  <a:close/>
                </a:path>
              </a:pathLst>
            </a:custGeom>
            <a:solidFill>
              <a:srgbClr val="3F3B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26" name="任意多边形: 形状 225">
              <a:extLst>
                <a:ext uri="{FF2B5EF4-FFF2-40B4-BE49-F238E27FC236}">
                  <a16:creationId xmlns:a16="http://schemas.microsoft.com/office/drawing/2014/main" id="{562C0389-D4D8-400F-8388-3CC23EE4FD71}"/>
                </a:ext>
              </a:extLst>
            </p:cNvPr>
            <p:cNvSpPr/>
            <p:nvPr/>
          </p:nvSpPr>
          <p:spPr bwMode="auto">
            <a:xfrm>
              <a:off x="7586663" y="4351344"/>
              <a:ext cx="76200" cy="250825"/>
            </a:xfrm>
            <a:custGeom>
              <a:avLst/>
              <a:gdLst>
                <a:gd name="T0" fmla="*/ 0 w 48"/>
                <a:gd name="T1" fmla="*/ 158 h 158"/>
                <a:gd name="T2" fmla="*/ 10 w 48"/>
                <a:gd name="T3" fmla="*/ 158 h 158"/>
                <a:gd name="T4" fmla="*/ 24 w 48"/>
                <a:gd name="T5" fmla="*/ 158 h 158"/>
                <a:gd name="T6" fmla="*/ 48 w 48"/>
                <a:gd name="T7" fmla="*/ 0 h 158"/>
                <a:gd name="T8" fmla="*/ 0 w 48"/>
                <a:gd name="T9" fmla="*/ 15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158">
                  <a:moveTo>
                    <a:pt x="0" y="158"/>
                  </a:moveTo>
                  <a:lnTo>
                    <a:pt x="10" y="158"/>
                  </a:lnTo>
                  <a:lnTo>
                    <a:pt x="24" y="158"/>
                  </a:lnTo>
                  <a:lnTo>
                    <a:pt x="48" y="0"/>
                  </a:lnTo>
                  <a:lnTo>
                    <a:pt x="0" y="158"/>
                  </a:lnTo>
                  <a:close/>
                </a:path>
              </a:pathLst>
            </a:custGeom>
            <a:solidFill>
              <a:srgbClr val="497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0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27" name="任意多边形: 形状 226">
              <a:extLst>
                <a:ext uri="{FF2B5EF4-FFF2-40B4-BE49-F238E27FC236}">
                  <a16:creationId xmlns:a16="http://schemas.microsoft.com/office/drawing/2014/main" id="{016884F0-BB1D-4881-A127-EB175CEEDF92}"/>
                </a:ext>
              </a:extLst>
            </p:cNvPr>
            <p:cNvSpPr/>
            <p:nvPr/>
          </p:nvSpPr>
          <p:spPr bwMode="auto">
            <a:xfrm>
              <a:off x="7662863" y="4351344"/>
              <a:ext cx="76200" cy="250825"/>
            </a:xfrm>
            <a:custGeom>
              <a:avLst/>
              <a:gdLst>
                <a:gd name="T0" fmla="*/ 0 w 48"/>
                <a:gd name="T1" fmla="*/ 0 h 158"/>
                <a:gd name="T2" fmla="*/ 24 w 48"/>
                <a:gd name="T3" fmla="*/ 158 h 158"/>
                <a:gd name="T4" fmla="*/ 38 w 48"/>
                <a:gd name="T5" fmla="*/ 158 h 158"/>
                <a:gd name="T6" fmla="*/ 48 w 48"/>
                <a:gd name="T7" fmla="*/ 158 h 158"/>
                <a:gd name="T8" fmla="*/ 0 w 48"/>
                <a:gd name="T9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158">
                  <a:moveTo>
                    <a:pt x="0" y="0"/>
                  </a:moveTo>
                  <a:lnTo>
                    <a:pt x="24" y="158"/>
                  </a:lnTo>
                  <a:lnTo>
                    <a:pt x="38" y="158"/>
                  </a:lnTo>
                  <a:lnTo>
                    <a:pt x="48" y="1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A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0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28" name="任意多边形: 形状 227">
              <a:extLst>
                <a:ext uri="{FF2B5EF4-FFF2-40B4-BE49-F238E27FC236}">
                  <a16:creationId xmlns:a16="http://schemas.microsoft.com/office/drawing/2014/main" id="{732121D9-19EF-43E9-914D-4698F73258B2}"/>
                </a:ext>
              </a:extLst>
            </p:cNvPr>
            <p:cNvSpPr/>
            <p:nvPr/>
          </p:nvSpPr>
          <p:spPr bwMode="auto">
            <a:xfrm>
              <a:off x="7624763" y="4351344"/>
              <a:ext cx="76200" cy="250825"/>
            </a:xfrm>
            <a:custGeom>
              <a:avLst/>
              <a:gdLst>
                <a:gd name="T0" fmla="*/ 24 w 48"/>
                <a:gd name="T1" fmla="*/ 0 h 158"/>
                <a:gd name="T2" fmla="*/ 0 w 48"/>
                <a:gd name="T3" fmla="*/ 158 h 158"/>
                <a:gd name="T4" fmla="*/ 11 w 48"/>
                <a:gd name="T5" fmla="*/ 158 h 158"/>
                <a:gd name="T6" fmla="*/ 20 w 48"/>
                <a:gd name="T7" fmla="*/ 158 h 158"/>
                <a:gd name="T8" fmla="*/ 24 w 48"/>
                <a:gd name="T9" fmla="*/ 158 h 158"/>
                <a:gd name="T10" fmla="*/ 28 w 48"/>
                <a:gd name="T11" fmla="*/ 158 h 158"/>
                <a:gd name="T12" fmla="*/ 36 w 48"/>
                <a:gd name="T13" fmla="*/ 158 h 158"/>
                <a:gd name="T14" fmla="*/ 48 w 48"/>
                <a:gd name="T15" fmla="*/ 158 h 158"/>
                <a:gd name="T16" fmla="*/ 24 w 48"/>
                <a:gd name="T17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158">
                  <a:moveTo>
                    <a:pt x="24" y="0"/>
                  </a:moveTo>
                  <a:lnTo>
                    <a:pt x="0" y="158"/>
                  </a:lnTo>
                  <a:lnTo>
                    <a:pt x="11" y="158"/>
                  </a:lnTo>
                  <a:lnTo>
                    <a:pt x="20" y="158"/>
                  </a:lnTo>
                  <a:lnTo>
                    <a:pt x="24" y="158"/>
                  </a:lnTo>
                  <a:lnTo>
                    <a:pt x="28" y="158"/>
                  </a:lnTo>
                  <a:lnTo>
                    <a:pt x="36" y="158"/>
                  </a:lnTo>
                  <a:lnTo>
                    <a:pt x="48" y="158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4D8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0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29" name="任意多边形: 形状 228">
              <a:extLst>
                <a:ext uri="{FF2B5EF4-FFF2-40B4-BE49-F238E27FC236}">
                  <a16:creationId xmlns:a16="http://schemas.microsoft.com/office/drawing/2014/main" id="{8F4A2D2F-E651-48A7-A3B6-07BE5092A292}"/>
                </a:ext>
              </a:extLst>
            </p:cNvPr>
            <p:cNvSpPr/>
            <p:nvPr/>
          </p:nvSpPr>
          <p:spPr bwMode="auto">
            <a:xfrm>
              <a:off x="7594600" y="4291019"/>
              <a:ext cx="68263" cy="227013"/>
            </a:xfrm>
            <a:custGeom>
              <a:avLst/>
              <a:gdLst>
                <a:gd name="T0" fmla="*/ 0 w 43"/>
                <a:gd name="T1" fmla="*/ 143 h 143"/>
                <a:gd name="T2" fmla="*/ 9 w 43"/>
                <a:gd name="T3" fmla="*/ 143 h 143"/>
                <a:gd name="T4" fmla="*/ 21 w 43"/>
                <a:gd name="T5" fmla="*/ 143 h 143"/>
                <a:gd name="T6" fmla="*/ 43 w 43"/>
                <a:gd name="T7" fmla="*/ 0 h 143"/>
                <a:gd name="T8" fmla="*/ 0 w 43"/>
                <a:gd name="T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143">
                  <a:moveTo>
                    <a:pt x="0" y="143"/>
                  </a:moveTo>
                  <a:lnTo>
                    <a:pt x="9" y="143"/>
                  </a:lnTo>
                  <a:lnTo>
                    <a:pt x="21" y="143"/>
                  </a:lnTo>
                  <a:lnTo>
                    <a:pt x="43" y="0"/>
                  </a:lnTo>
                  <a:lnTo>
                    <a:pt x="0" y="143"/>
                  </a:lnTo>
                  <a:close/>
                </a:path>
              </a:pathLst>
            </a:custGeom>
            <a:solidFill>
              <a:srgbClr val="497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30" name="任意多边形: 形状 229">
              <a:extLst>
                <a:ext uri="{FF2B5EF4-FFF2-40B4-BE49-F238E27FC236}">
                  <a16:creationId xmlns:a16="http://schemas.microsoft.com/office/drawing/2014/main" id="{91C086C8-5005-4EEC-9483-723AF0751C8D}"/>
                </a:ext>
              </a:extLst>
            </p:cNvPr>
            <p:cNvSpPr/>
            <p:nvPr/>
          </p:nvSpPr>
          <p:spPr bwMode="auto">
            <a:xfrm>
              <a:off x="7662863" y="4291019"/>
              <a:ext cx="68263" cy="227013"/>
            </a:xfrm>
            <a:custGeom>
              <a:avLst/>
              <a:gdLst>
                <a:gd name="T0" fmla="*/ 0 w 43"/>
                <a:gd name="T1" fmla="*/ 0 h 143"/>
                <a:gd name="T2" fmla="*/ 22 w 43"/>
                <a:gd name="T3" fmla="*/ 143 h 143"/>
                <a:gd name="T4" fmla="*/ 34 w 43"/>
                <a:gd name="T5" fmla="*/ 143 h 143"/>
                <a:gd name="T6" fmla="*/ 43 w 43"/>
                <a:gd name="T7" fmla="*/ 143 h 143"/>
                <a:gd name="T8" fmla="*/ 0 w 43"/>
                <a:gd name="T9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143">
                  <a:moveTo>
                    <a:pt x="0" y="0"/>
                  </a:moveTo>
                  <a:lnTo>
                    <a:pt x="22" y="143"/>
                  </a:lnTo>
                  <a:lnTo>
                    <a:pt x="34" y="143"/>
                  </a:lnTo>
                  <a:lnTo>
                    <a:pt x="43" y="14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A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31" name="任意多边形: 形状 230">
              <a:extLst>
                <a:ext uri="{FF2B5EF4-FFF2-40B4-BE49-F238E27FC236}">
                  <a16:creationId xmlns:a16="http://schemas.microsoft.com/office/drawing/2014/main" id="{8F4415DF-C055-4A1A-BC4E-CBADBDFDA267}"/>
                </a:ext>
              </a:extLst>
            </p:cNvPr>
            <p:cNvSpPr/>
            <p:nvPr/>
          </p:nvSpPr>
          <p:spPr bwMode="auto">
            <a:xfrm>
              <a:off x="7627938" y="4291019"/>
              <a:ext cx="69850" cy="227013"/>
            </a:xfrm>
            <a:custGeom>
              <a:avLst/>
              <a:gdLst>
                <a:gd name="T0" fmla="*/ 22 w 44"/>
                <a:gd name="T1" fmla="*/ 0 h 143"/>
                <a:gd name="T2" fmla="*/ 0 w 44"/>
                <a:gd name="T3" fmla="*/ 143 h 143"/>
                <a:gd name="T4" fmla="*/ 11 w 44"/>
                <a:gd name="T5" fmla="*/ 143 h 143"/>
                <a:gd name="T6" fmla="*/ 18 w 44"/>
                <a:gd name="T7" fmla="*/ 143 h 143"/>
                <a:gd name="T8" fmla="*/ 22 w 44"/>
                <a:gd name="T9" fmla="*/ 143 h 143"/>
                <a:gd name="T10" fmla="*/ 26 w 44"/>
                <a:gd name="T11" fmla="*/ 143 h 143"/>
                <a:gd name="T12" fmla="*/ 33 w 44"/>
                <a:gd name="T13" fmla="*/ 143 h 143"/>
                <a:gd name="T14" fmla="*/ 44 w 44"/>
                <a:gd name="T15" fmla="*/ 143 h 143"/>
                <a:gd name="T16" fmla="*/ 22 w 44"/>
                <a:gd name="T17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143">
                  <a:moveTo>
                    <a:pt x="22" y="0"/>
                  </a:moveTo>
                  <a:lnTo>
                    <a:pt x="0" y="143"/>
                  </a:lnTo>
                  <a:lnTo>
                    <a:pt x="11" y="143"/>
                  </a:lnTo>
                  <a:lnTo>
                    <a:pt x="18" y="143"/>
                  </a:lnTo>
                  <a:lnTo>
                    <a:pt x="22" y="143"/>
                  </a:lnTo>
                  <a:lnTo>
                    <a:pt x="26" y="143"/>
                  </a:lnTo>
                  <a:lnTo>
                    <a:pt x="33" y="143"/>
                  </a:lnTo>
                  <a:lnTo>
                    <a:pt x="44" y="143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4D8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32" name="任意多边形: 形状 231">
              <a:extLst>
                <a:ext uri="{FF2B5EF4-FFF2-40B4-BE49-F238E27FC236}">
                  <a16:creationId xmlns:a16="http://schemas.microsoft.com/office/drawing/2014/main" id="{B84C00B8-5B37-4041-B650-0118169FBEFC}"/>
                </a:ext>
              </a:extLst>
            </p:cNvPr>
            <p:cNvSpPr/>
            <p:nvPr/>
          </p:nvSpPr>
          <p:spPr bwMode="auto">
            <a:xfrm>
              <a:off x="7607300" y="4256094"/>
              <a:ext cx="55563" cy="184150"/>
            </a:xfrm>
            <a:custGeom>
              <a:avLst/>
              <a:gdLst>
                <a:gd name="T0" fmla="*/ 0 w 35"/>
                <a:gd name="T1" fmla="*/ 116 h 116"/>
                <a:gd name="T2" fmla="*/ 7 w 35"/>
                <a:gd name="T3" fmla="*/ 116 h 116"/>
                <a:gd name="T4" fmla="*/ 17 w 35"/>
                <a:gd name="T5" fmla="*/ 116 h 116"/>
                <a:gd name="T6" fmla="*/ 35 w 35"/>
                <a:gd name="T7" fmla="*/ 0 h 116"/>
                <a:gd name="T8" fmla="*/ 0 w 35"/>
                <a:gd name="T9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16">
                  <a:moveTo>
                    <a:pt x="0" y="116"/>
                  </a:moveTo>
                  <a:lnTo>
                    <a:pt x="7" y="116"/>
                  </a:lnTo>
                  <a:lnTo>
                    <a:pt x="17" y="116"/>
                  </a:lnTo>
                  <a:lnTo>
                    <a:pt x="35" y="0"/>
                  </a:lnTo>
                  <a:lnTo>
                    <a:pt x="0" y="116"/>
                  </a:lnTo>
                  <a:close/>
                </a:path>
              </a:pathLst>
            </a:custGeom>
            <a:solidFill>
              <a:srgbClr val="497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33" name="任意多边形: 形状 232">
              <a:extLst>
                <a:ext uri="{FF2B5EF4-FFF2-40B4-BE49-F238E27FC236}">
                  <a16:creationId xmlns:a16="http://schemas.microsoft.com/office/drawing/2014/main" id="{AADDA56B-34FD-4170-90D7-4DDE6096F3F9}"/>
                </a:ext>
              </a:extLst>
            </p:cNvPr>
            <p:cNvSpPr/>
            <p:nvPr/>
          </p:nvSpPr>
          <p:spPr bwMode="auto">
            <a:xfrm>
              <a:off x="7662863" y="4256094"/>
              <a:ext cx="55563" cy="184150"/>
            </a:xfrm>
            <a:custGeom>
              <a:avLst/>
              <a:gdLst>
                <a:gd name="T0" fmla="*/ 0 w 35"/>
                <a:gd name="T1" fmla="*/ 0 h 116"/>
                <a:gd name="T2" fmla="*/ 18 w 35"/>
                <a:gd name="T3" fmla="*/ 116 h 116"/>
                <a:gd name="T4" fmla="*/ 27 w 35"/>
                <a:gd name="T5" fmla="*/ 116 h 116"/>
                <a:gd name="T6" fmla="*/ 35 w 35"/>
                <a:gd name="T7" fmla="*/ 116 h 116"/>
                <a:gd name="T8" fmla="*/ 0 w 35"/>
                <a:gd name="T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16">
                  <a:moveTo>
                    <a:pt x="0" y="0"/>
                  </a:moveTo>
                  <a:lnTo>
                    <a:pt x="18" y="116"/>
                  </a:lnTo>
                  <a:lnTo>
                    <a:pt x="27" y="116"/>
                  </a:lnTo>
                  <a:lnTo>
                    <a:pt x="35" y="1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A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34" name="任意多边形: 形状 233">
              <a:extLst>
                <a:ext uri="{FF2B5EF4-FFF2-40B4-BE49-F238E27FC236}">
                  <a16:creationId xmlns:a16="http://schemas.microsoft.com/office/drawing/2014/main" id="{2562C953-D97A-45C5-88AE-22B9BB886900}"/>
                </a:ext>
              </a:extLst>
            </p:cNvPr>
            <p:cNvSpPr/>
            <p:nvPr/>
          </p:nvSpPr>
          <p:spPr bwMode="auto">
            <a:xfrm>
              <a:off x="7634288" y="4256094"/>
              <a:ext cx="57150" cy="184150"/>
            </a:xfrm>
            <a:custGeom>
              <a:avLst/>
              <a:gdLst>
                <a:gd name="T0" fmla="*/ 18 w 36"/>
                <a:gd name="T1" fmla="*/ 0 h 116"/>
                <a:gd name="T2" fmla="*/ 0 w 36"/>
                <a:gd name="T3" fmla="*/ 116 h 116"/>
                <a:gd name="T4" fmla="*/ 9 w 36"/>
                <a:gd name="T5" fmla="*/ 116 h 116"/>
                <a:gd name="T6" fmla="*/ 16 w 36"/>
                <a:gd name="T7" fmla="*/ 116 h 116"/>
                <a:gd name="T8" fmla="*/ 18 w 36"/>
                <a:gd name="T9" fmla="*/ 116 h 116"/>
                <a:gd name="T10" fmla="*/ 21 w 36"/>
                <a:gd name="T11" fmla="*/ 116 h 116"/>
                <a:gd name="T12" fmla="*/ 27 w 36"/>
                <a:gd name="T13" fmla="*/ 116 h 116"/>
                <a:gd name="T14" fmla="*/ 36 w 36"/>
                <a:gd name="T15" fmla="*/ 116 h 116"/>
                <a:gd name="T16" fmla="*/ 18 w 36"/>
                <a:gd name="T17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16">
                  <a:moveTo>
                    <a:pt x="18" y="0"/>
                  </a:moveTo>
                  <a:lnTo>
                    <a:pt x="0" y="116"/>
                  </a:lnTo>
                  <a:lnTo>
                    <a:pt x="9" y="116"/>
                  </a:lnTo>
                  <a:lnTo>
                    <a:pt x="16" y="116"/>
                  </a:lnTo>
                  <a:lnTo>
                    <a:pt x="18" y="116"/>
                  </a:lnTo>
                  <a:lnTo>
                    <a:pt x="21" y="116"/>
                  </a:lnTo>
                  <a:lnTo>
                    <a:pt x="27" y="116"/>
                  </a:lnTo>
                  <a:lnTo>
                    <a:pt x="36" y="116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4D8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35" name="任意多边形: 形状 234">
              <a:extLst>
                <a:ext uri="{FF2B5EF4-FFF2-40B4-BE49-F238E27FC236}">
                  <a16:creationId xmlns:a16="http://schemas.microsoft.com/office/drawing/2014/main" id="{F5E024A2-275C-4043-89E0-3E16D74A6CE1}"/>
                </a:ext>
              </a:extLst>
            </p:cNvPr>
            <p:cNvSpPr/>
            <p:nvPr/>
          </p:nvSpPr>
          <p:spPr bwMode="auto">
            <a:xfrm>
              <a:off x="7391400" y="4527557"/>
              <a:ext cx="53975" cy="152400"/>
            </a:xfrm>
            <a:custGeom>
              <a:avLst/>
              <a:gdLst>
                <a:gd name="T0" fmla="*/ 34 w 34"/>
                <a:gd name="T1" fmla="*/ 96 h 96"/>
                <a:gd name="T2" fmla="*/ 0 w 34"/>
                <a:gd name="T3" fmla="*/ 96 h 96"/>
                <a:gd name="T4" fmla="*/ 12 w 34"/>
                <a:gd name="T5" fmla="*/ 0 h 96"/>
                <a:gd name="T6" fmla="*/ 25 w 34"/>
                <a:gd name="T7" fmla="*/ 0 h 96"/>
                <a:gd name="T8" fmla="*/ 34 w 34"/>
                <a:gd name="T9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96">
                  <a:moveTo>
                    <a:pt x="34" y="96"/>
                  </a:moveTo>
                  <a:lnTo>
                    <a:pt x="0" y="96"/>
                  </a:lnTo>
                  <a:lnTo>
                    <a:pt x="12" y="0"/>
                  </a:lnTo>
                  <a:lnTo>
                    <a:pt x="25" y="0"/>
                  </a:lnTo>
                  <a:lnTo>
                    <a:pt x="34" y="96"/>
                  </a:lnTo>
                  <a:close/>
                </a:path>
              </a:pathLst>
            </a:custGeom>
            <a:solidFill>
              <a:srgbClr val="3F3B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36" name="任意多边形: 形状 235">
              <a:extLst>
                <a:ext uri="{FF2B5EF4-FFF2-40B4-BE49-F238E27FC236}">
                  <a16:creationId xmlns:a16="http://schemas.microsoft.com/office/drawing/2014/main" id="{1A0C0212-B3EE-40E0-AE04-0CE1985D9253}"/>
                </a:ext>
              </a:extLst>
            </p:cNvPr>
            <p:cNvSpPr/>
            <p:nvPr/>
          </p:nvSpPr>
          <p:spPr bwMode="auto">
            <a:xfrm>
              <a:off x="7312025" y="4216407"/>
              <a:ext cx="107950" cy="355600"/>
            </a:xfrm>
            <a:custGeom>
              <a:avLst/>
              <a:gdLst>
                <a:gd name="T0" fmla="*/ 0 w 68"/>
                <a:gd name="T1" fmla="*/ 224 h 224"/>
                <a:gd name="T2" fmla="*/ 14 w 68"/>
                <a:gd name="T3" fmla="*/ 224 h 224"/>
                <a:gd name="T4" fmla="*/ 33 w 68"/>
                <a:gd name="T5" fmla="*/ 224 h 224"/>
                <a:gd name="T6" fmla="*/ 68 w 68"/>
                <a:gd name="T7" fmla="*/ 0 h 224"/>
                <a:gd name="T8" fmla="*/ 0 w 68"/>
                <a:gd name="T9" fmla="*/ 224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8" h="224">
                  <a:moveTo>
                    <a:pt x="0" y="224"/>
                  </a:moveTo>
                  <a:lnTo>
                    <a:pt x="14" y="224"/>
                  </a:lnTo>
                  <a:lnTo>
                    <a:pt x="33" y="224"/>
                  </a:lnTo>
                  <a:lnTo>
                    <a:pt x="68" y="0"/>
                  </a:lnTo>
                  <a:lnTo>
                    <a:pt x="0" y="224"/>
                  </a:lnTo>
                  <a:close/>
                </a:path>
              </a:pathLst>
            </a:custGeom>
            <a:solidFill>
              <a:srgbClr val="497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37" name="任意多边形: 形状 236">
              <a:extLst>
                <a:ext uri="{FF2B5EF4-FFF2-40B4-BE49-F238E27FC236}">
                  <a16:creationId xmlns:a16="http://schemas.microsoft.com/office/drawing/2014/main" id="{C18CB1A8-3406-4A5C-8812-AAAD5FB9884D}"/>
                </a:ext>
              </a:extLst>
            </p:cNvPr>
            <p:cNvSpPr/>
            <p:nvPr/>
          </p:nvSpPr>
          <p:spPr bwMode="auto">
            <a:xfrm>
              <a:off x="7419975" y="4216407"/>
              <a:ext cx="104775" cy="355600"/>
            </a:xfrm>
            <a:custGeom>
              <a:avLst/>
              <a:gdLst>
                <a:gd name="T0" fmla="*/ 0 w 66"/>
                <a:gd name="T1" fmla="*/ 0 h 224"/>
                <a:gd name="T2" fmla="*/ 33 w 66"/>
                <a:gd name="T3" fmla="*/ 224 h 224"/>
                <a:gd name="T4" fmla="*/ 52 w 66"/>
                <a:gd name="T5" fmla="*/ 224 h 224"/>
                <a:gd name="T6" fmla="*/ 66 w 66"/>
                <a:gd name="T7" fmla="*/ 224 h 224"/>
                <a:gd name="T8" fmla="*/ 0 w 66"/>
                <a:gd name="T9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224">
                  <a:moveTo>
                    <a:pt x="0" y="0"/>
                  </a:moveTo>
                  <a:lnTo>
                    <a:pt x="33" y="224"/>
                  </a:lnTo>
                  <a:lnTo>
                    <a:pt x="52" y="224"/>
                  </a:lnTo>
                  <a:lnTo>
                    <a:pt x="66" y="2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A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38" name="任意多边形: 形状 237">
              <a:extLst>
                <a:ext uri="{FF2B5EF4-FFF2-40B4-BE49-F238E27FC236}">
                  <a16:creationId xmlns:a16="http://schemas.microsoft.com/office/drawing/2014/main" id="{5B1A79BD-9AB3-43A6-B1F3-040FA3A9D22F}"/>
                </a:ext>
              </a:extLst>
            </p:cNvPr>
            <p:cNvSpPr/>
            <p:nvPr/>
          </p:nvSpPr>
          <p:spPr bwMode="auto">
            <a:xfrm>
              <a:off x="7364413" y="4216407"/>
              <a:ext cx="107950" cy="355600"/>
            </a:xfrm>
            <a:custGeom>
              <a:avLst/>
              <a:gdLst>
                <a:gd name="T0" fmla="*/ 35 w 68"/>
                <a:gd name="T1" fmla="*/ 0 h 224"/>
                <a:gd name="T2" fmla="*/ 0 w 68"/>
                <a:gd name="T3" fmla="*/ 224 h 224"/>
                <a:gd name="T4" fmla="*/ 17 w 68"/>
                <a:gd name="T5" fmla="*/ 224 h 224"/>
                <a:gd name="T6" fmla="*/ 30 w 68"/>
                <a:gd name="T7" fmla="*/ 224 h 224"/>
                <a:gd name="T8" fmla="*/ 35 w 68"/>
                <a:gd name="T9" fmla="*/ 224 h 224"/>
                <a:gd name="T10" fmla="*/ 40 w 68"/>
                <a:gd name="T11" fmla="*/ 224 h 224"/>
                <a:gd name="T12" fmla="*/ 51 w 68"/>
                <a:gd name="T13" fmla="*/ 224 h 224"/>
                <a:gd name="T14" fmla="*/ 68 w 68"/>
                <a:gd name="T15" fmla="*/ 224 h 224"/>
                <a:gd name="T16" fmla="*/ 35 w 68"/>
                <a:gd name="T17" fmla="*/ 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224">
                  <a:moveTo>
                    <a:pt x="35" y="0"/>
                  </a:moveTo>
                  <a:lnTo>
                    <a:pt x="0" y="224"/>
                  </a:lnTo>
                  <a:lnTo>
                    <a:pt x="17" y="224"/>
                  </a:lnTo>
                  <a:lnTo>
                    <a:pt x="30" y="224"/>
                  </a:lnTo>
                  <a:lnTo>
                    <a:pt x="35" y="224"/>
                  </a:lnTo>
                  <a:lnTo>
                    <a:pt x="40" y="224"/>
                  </a:lnTo>
                  <a:lnTo>
                    <a:pt x="51" y="224"/>
                  </a:lnTo>
                  <a:lnTo>
                    <a:pt x="68" y="224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4D8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39" name="任意多边形: 形状 238">
              <a:extLst>
                <a:ext uri="{FF2B5EF4-FFF2-40B4-BE49-F238E27FC236}">
                  <a16:creationId xmlns:a16="http://schemas.microsoft.com/office/drawing/2014/main" id="{5AAE4841-A06C-42D4-80BD-1229D726D669}"/>
                </a:ext>
              </a:extLst>
            </p:cNvPr>
            <p:cNvSpPr/>
            <p:nvPr/>
          </p:nvSpPr>
          <p:spPr bwMode="auto">
            <a:xfrm>
              <a:off x="7323138" y="4132269"/>
              <a:ext cx="96838" cy="320675"/>
            </a:xfrm>
            <a:custGeom>
              <a:avLst/>
              <a:gdLst>
                <a:gd name="T0" fmla="*/ 0 w 61"/>
                <a:gd name="T1" fmla="*/ 202 h 202"/>
                <a:gd name="T2" fmla="*/ 12 w 61"/>
                <a:gd name="T3" fmla="*/ 202 h 202"/>
                <a:gd name="T4" fmla="*/ 30 w 61"/>
                <a:gd name="T5" fmla="*/ 202 h 202"/>
                <a:gd name="T6" fmla="*/ 61 w 61"/>
                <a:gd name="T7" fmla="*/ 0 h 202"/>
                <a:gd name="T8" fmla="*/ 0 w 61"/>
                <a:gd name="T9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202">
                  <a:moveTo>
                    <a:pt x="0" y="202"/>
                  </a:moveTo>
                  <a:lnTo>
                    <a:pt x="12" y="202"/>
                  </a:lnTo>
                  <a:lnTo>
                    <a:pt x="30" y="202"/>
                  </a:lnTo>
                  <a:lnTo>
                    <a:pt x="61" y="0"/>
                  </a:lnTo>
                  <a:lnTo>
                    <a:pt x="0" y="202"/>
                  </a:lnTo>
                  <a:close/>
                </a:path>
              </a:pathLst>
            </a:custGeom>
            <a:solidFill>
              <a:srgbClr val="497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40" name="任意多边形: 形状 239">
              <a:extLst>
                <a:ext uri="{FF2B5EF4-FFF2-40B4-BE49-F238E27FC236}">
                  <a16:creationId xmlns:a16="http://schemas.microsoft.com/office/drawing/2014/main" id="{BB5DE70D-98F4-4033-B744-5CF09D1A183F}"/>
                </a:ext>
              </a:extLst>
            </p:cNvPr>
            <p:cNvSpPr/>
            <p:nvPr/>
          </p:nvSpPr>
          <p:spPr bwMode="auto">
            <a:xfrm>
              <a:off x="7419975" y="4132269"/>
              <a:ext cx="95250" cy="320675"/>
            </a:xfrm>
            <a:custGeom>
              <a:avLst/>
              <a:gdLst>
                <a:gd name="T0" fmla="*/ 0 w 60"/>
                <a:gd name="T1" fmla="*/ 0 h 202"/>
                <a:gd name="T2" fmla="*/ 30 w 60"/>
                <a:gd name="T3" fmla="*/ 202 h 202"/>
                <a:gd name="T4" fmla="*/ 47 w 60"/>
                <a:gd name="T5" fmla="*/ 202 h 202"/>
                <a:gd name="T6" fmla="*/ 60 w 60"/>
                <a:gd name="T7" fmla="*/ 202 h 202"/>
                <a:gd name="T8" fmla="*/ 0 w 60"/>
                <a:gd name="T9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202">
                  <a:moveTo>
                    <a:pt x="0" y="0"/>
                  </a:moveTo>
                  <a:lnTo>
                    <a:pt x="30" y="202"/>
                  </a:lnTo>
                  <a:lnTo>
                    <a:pt x="47" y="202"/>
                  </a:lnTo>
                  <a:lnTo>
                    <a:pt x="60" y="2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A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41" name="任意多边形: 形状 240">
              <a:extLst>
                <a:ext uri="{FF2B5EF4-FFF2-40B4-BE49-F238E27FC236}">
                  <a16:creationId xmlns:a16="http://schemas.microsoft.com/office/drawing/2014/main" id="{F6B6D88F-D121-43B3-8685-292040B23841}"/>
                </a:ext>
              </a:extLst>
            </p:cNvPr>
            <p:cNvSpPr/>
            <p:nvPr/>
          </p:nvSpPr>
          <p:spPr bwMode="auto">
            <a:xfrm>
              <a:off x="7370763" y="4132269"/>
              <a:ext cx="96838" cy="320675"/>
            </a:xfrm>
            <a:custGeom>
              <a:avLst/>
              <a:gdLst>
                <a:gd name="T0" fmla="*/ 31 w 61"/>
                <a:gd name="T1" fmla="*/ 0 h 202"/>
                <a:gd name="T2" fmla="*/ 0 w 61"/>
                <a:gd name="T3" fmla="*/ 202 h 202"/>
                <a:gd name="T4" fmla="*/ 15 w 61"/>
                <a:gd name="T5" fmla="*/ 202 h 202"/>
                <a:gd name="T6" fmla="*/ 26 w 61"/>
                <a:gd name="T7" fmla="*/ 202 h 202"/>
                <a:gd name="T8" fmla="*/ 31 w 61"/>
                <a:gd name="T9" fmla="*/ 202 h 202"/>
                <a:gd name="T10" fmla="*/ 35 w 61"/>
                <a:gd name="T11" fmla="*/ 202 h 202"/>
                <a:gd name="T12" fmla="*/ 46 w 61"/>
                <a:gd name="T13" fmla="*/ 202 h 202"/>
                <a:gd name="T14" fmla="*/ 61 w 61"/>
                <a:gd name="T15" fmla="*/ 202 h 202"/>
                <a:gd name="T16" fmla="*/ 31 w 61"/>
                <a:gd name="T17" fmla="*/ 0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202">
                  <a:moveTo>
                    <a:pt x="31" y="0"/>
                  </a:moveTo>
                  <a:lnTo>
                    <a:pt x="0" y="202"/>
                  </a:lnTo>
                  <a:lnTo>
                    <a:pt x="15" y="202"/>
                  </a:lnTo>
                  <a:lnTo>
                    <a:pt x="26" y="202"/>
                  </a:lnTo>
                  <a:lnTo>
                    <a:pt x="31" y="202"/>
                  </a:lnTo>
                  <a:lnTo>
                    <a:pt x="35" y="202"/>
                  </a:lnTo>
                  <a:lnTo>
                    <a:pt x="46" y="202"/>
                  </a:lnTo>
                  <a:lnTo>
                    <a:pt x="61" y="202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4D8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42" name="任意多边形: 形状 241">
              <a:extLst>
                <a:ext uri="{FF2B5EF4-FFF2-40B4-BE49-F238E27FC236}">
                  <a16:creationId xmlns:a16="http://schemas.microsoft.com/office/drawing/2014/main" id="{9E940341-7DBB-49D6-A310-5F51A8078D2D}"/>
                </a:ext>
              </a:extLst>
            </p:cNvPr>
            <p:cNvSpPr/>
            <p:nvPr/>
          </p:nvSpPr>
          <p:spPr bwMode="auto">
            <a:xfrm>
              <a:off x="7340600" y="4084644"/>
              <a:ext cx="79375" cy="258763"/>
            </a:xfrm>
            <a:custGeom>
              <a:avLst/>
              <a:gdLst>
                <a:gd name="T0" fmla="*/ 0 w 50"/>
                <a:gd name="T1" fmla="*/ 163 h 163"/>
                <a:gd name="T2" fmla="*/ 11 w 50"/>
                <a:gd name="T3" fmla="*/ 163 h 163"/>
                <a:gd name="T4" fmla="*/ 24 w 50"/>
                <a:gd name="T5" fmla="*/ 163 h 163"/>
                <a:gd name="T6" fmla="*/ 50 w 50"/>
                <a:gd name="T7" fmla="*/ 0 h 163"/>
                <a:gd name="T8" fmla="*/ 0 w 50"/>
                <a:gd name="T9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163">
                  <a:moveTo>
                    <a:pt x="0" y="163"/>
                  </a:moveTo>
                  <a:lnTo>
                    <a:pt x="11" y="163"/>
                  </a:lnTo>
                  <a:lnTo>
                    <a:pt x="24" y="163"/>
                  </a:lnTo>
                  <a:lnTo>
                    <a:pt x="50" y="0"/>
                  </a:lnTo>
                  <a:lnTo>
                    <a:pt x="0" y="163"/>
                  </a:lnTo>
                  <a:close/>
                </a:path>
              </a:pathLst>
            </a:custGeom>
            <a:solidFill>
              <a:srgbClr val="497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0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43" name="任意多边形: 形状 242">
              <a:extLst>
                <a:ext uri="{FF2B5EF4-FFF2-40B4-BE49-F238E27FC236}">
                  <a16:creationId xmlns:a16="http://schemas.microsoft.com/office/drawing/2014/main" id="{CADE12C1-68EC-4F84-94A9-44B13FCD7345}"/>
                </a:ext>
              </a:extLst>
            </p:cNvPr>
            <p:cNvSpPr/>
            <p:nvPr/>
          </p:nvSpPr>
          <p:spPr bwMode="auto">
            <a:xfrm>
              <a:off x="7419975" y="4084644"/>
              <a:ext cx="76200" cy="258763"/>
            </a:xfrm>
            <a:custGeom>
              <a:avLst/>
              <a:gdLst>
                <a:gd name="T0" fmla="*/ 0 w 48"/>
                <a:gd name="T1" fmla="*/ 0 h 163"/>
                <a:gd name="T2" fmla="*/ 24 w 48"/>
                <a:gd name="T3" fmla="*/ 163 h 163"/>
                <a:gd name="T4" fmla="*/ 38 w 48"/>
                <a:gd name="T5" fmla="*/ 163 h 163"/>
                <a:gd name="T6" fmla="*/ 48 w 48"/>
                <a:gd name="T7" fmla="*/ 163 h 163"/>
                <a:gd name="T8" fmla="*/ 0 w 48"/>
                <a:gd name="T9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163">
                  <a:moveTo>
                    <a:pt x="0" y="0"/>
                  </a:moveTo>
                  <a:lnTo>
                    <a:pt x="24" y="163"/>
                  </a:lnTo>
                  <a:lnTo>
                    <a:pt x="38" y="163"/>
                  </a:lnTo>
                  <a:lnTo>
                    <a:pt x="48" y="1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A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0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44" name="任意多边形: 形状 243">
              <a:extLst>
                <a:ext uri="{FF2B5EF4-FFF2-40B4-BE49-F238E27FC236}">
                  <a16:creationId xmlns:a16="http://schemas.microsoft.com/office/drawing/2014/main" id="{A1D73A3F-912C-472E-9DA9-8663814DF36E}"/>
                </a:ext>
              </a:extLst>
            </p:cNvPr>
            <p:cNvSpPr/>
            <p:nvPr/>
          </p:nvSpPr>
          <p:spPr bwMode="auto">
            <a:xfrm>
              <a:off x="7378700" y="4084644"/>
              <a:ext cx="79375" cy="258763"/>
            </a:xfrm>
            <a:custGeom>
              <a:avLst/>
              <a:gdLst>
                <a:gd name="T0" fmla="*/ 26 w 50"/>
                <a:gd name="T1" fmla="*/ 0 h 163"/>
                <a:gd name="T2" fmla="*/ 0 w 50"/>
                <a:gd name="T3" fmla="*/ 163 h 163"/>
                <a:gd name="T4" fmla="*/ 14 w 50"/>
                <a:gd name="T5" fmla="*/ 163 h 163"/>
                <a:gd name="T6" fmla="*/ 22 w 50"/>
                <a:gd name="T7" fmla="*/ 163 h 163"/>
                <a:gd name="T8" fmla="*/ 26 w 50"/>
                <a:gd name="T9" fmla="*/ 163 h 163"/>
                <a:gd name="T10" fmla="*/ 30 w 50"/>
                <a:gd name="T11" fmla="*/ 163 h 163"/>
                <a:gd name="T12" fmla="*/ 38 w 50"/>
                <a:gd name="T13" fmla="*/ 163 h 163"/>
                <a:gd name="T14" fmla="*/ 50 w 50"/>
                <a:gd name="T15" fmla="*/ 163 h 163"/>
                <a:gd name="T16" fmla="*/ 26 w 50"/>
                <a:gd name="T17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163">
                  <a:moveTo>
                    <a:pt x="26" y="0"/>
                  </a:moveTo>
                  <a:lnTo>
                    <a:pt x="0" y="163"/>
                  </a:lnTo>
                  <a:lnTo>
                    <a:pt x="14" y="163"/>
                  </a:lnTo>
                  <a:lnTo>
                    <a:pt x="22" y="163"/>
                  </a:lnTo>
                  <a:lnTo>
                    <a:pt x="26" y="163"/>
                  </a:lnTo>
                  <a:lnTo>
                    <a:pt x="30" y="163"/>
                  </a:lnTo>
                  <a:lnTo>
                    <a:pt x="38" y="163"/>
                  </a:lnTo>
                  <a:lnTo>
                    <a:pt x="50" y="163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4D8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0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45" name="任意多边形: 形状 244">
              <a:extLst>
                <a:ext uri="{FF2B5EF4-FFF2-40B4-BE49-F238E27FC236}">
                  <a16:creationId xmlns:a16="http://schemas.microsoft.com/office/drawing/2014/main" id="{13970C17-5F3E-4C9C-AF34-9BAFAF7A1461}"/>
                </a:ext>
              </a:extLst>
            </p:cNvPr>
            <p:cNvSpPr/>
            <p:nvPr/>
          </p:nvSpPr>
          <p:spPr bwMode="auto">
            <a:xfrm>
              <a:off x="7164388" y="4586294"/>
              <a:ext cx="31750" cy="93663"/>
            </a:xfrm>
            <a:custGeom>
              <a:avLst/>
              <a:gdLst>
                <a:gd name="T0" fmla="*/ 20 w 20"/>
                <a:gd name="T1" fmla="*/ 59 h 59"/>
                <a:gd name="T2" fmla="*/ 0 w 20"/>
                <a:gd name="T3" fmla="*/ 59 h 59"/>
                <a:gd name="T4" fmla="*/ 6 w 20"/>
                <a:gd name="T5" fmla="*/ 0 h 59"/>
                <a:gd name="T6" fmla="*/ 14 w 20"/>
                <a:gd name="T7" fmla="*/ 0 h 59"/>
                <a:gd name="T8" fmla="*/ 20 w 20"/>
                <a:gd name="T9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59">
                  <a:moveTo>
                    <a:pt x="20" y="59"/>
                  </a:moveTo>
                  <a:lnTo>
                    <a:pt x="0" y="59"/>
                  </a:lnTo>
                  <a:lnTo>
                    <a:pt x="6" y="0"/>
                  </a:lnTo>
                  <a:lnTo>
                    <a:pt x="14" y="0"/>
                  </a:lnTo>
                  <a:lnTo>
                    <a:pt x="20" y="59"/>
                  </a:lnTo>
                  <a:close/>
                </a:path>
              </a:pathLst>
            </a:custGeom>
            <a:solidFill>
              <a:srgbClr val="3F3B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46" name="任意多边形: 形状 245">
              <a:extLst>
                <a:ext uri="{FF2B5EF4-FFF2-40B4-BE49-F238E27FC236}">
                  <a16:creationId xmlns:a16="http://schemas.microsoft.com/office/drawing/2014/main" id="{FD8C3D85-AB5B-460B-A5E4-40BF56BFBAF8}"/>
                </a:ext>
              </a:extLst>
            </p:cNvPr>
            <p:cNvSpPr/>
            <p:nvPr/>
          </p:nvSpPr>
          <p:spPr bwMode="auto">
            <a:xfrm>
              <a:off x="7112000" y="4392619"/>
              <a:ext cx="68263" cy="219075"/>
            </a:xfrm>
            <a:custGeom>
              <a:avLst/>
              <a:gdLst>
                <a:gd name="T0" fmla="*/ 0 w 43"/>
                <a:gd name="T1" fmla="*/ 138 h 138"/>
                <a:gd name="T2" fmla="*/ 9 w 43"/>
                <a:gd name="T3" fmla="*/ 138 h 138"/>
                <a:gd name="T4" fmla="*/ 22 w 43"/>
                <a:gd name="T5" fmla="*/ 138 h 138"/>
                <a:gd name="T6" fmla="*/ 43 w 43"/>
                <a:gd name="T7" fmla="*/ 0 h 138"/>
                <a:gd name="T8" fmla="*/ 0 w 43"/>
                <a:gd name="T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138">
                  <a:moveTo>
                    <a:pt x="0" y="138"/>
                  </a:moveTo>
                  <a:lnTo>
                    <a:pt x="9" y="138"/>
                  </a:lnTo>
                  <a:lnTo>
                    <a:pt x="22" y="138"/>
                  </a:lnTo>
                  <a:lnTo>
                    <a:pt x="43" y="0"/>
                  </a:lnTo>
                  <a:lnTo>
                    <a:pt x="0" y="138"/>
                  </a:lnTo>
                  <a:close/>
                </a:path>
              </a:pathLst>
            </a:custGeom>
            <a:solidFill>
              <a:srgbClr val="497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47" name="任意多边形: 形状 246">
              <a:extLst>
                <a:ext uri="{FF2B5EF4-FFF2-40B4-BE49-F238E27FC236}">
                  <a16:creationId xmlns:a16="http://schemas.microsoft.com/office/drawing/2014/main" id="{06949DD8-BFBD-4AB8-901B-5CD428CFF801}"/>
                </a:ext>
              </a:extLst>
            </p:cNvPr>
            <p:cNvSpPr/>
            <p:nvPr/>
          </p:nvSpPr>
          <p:spPr bwMode="auto">
            <a:xfrm>
              <a:off x="7180263" y="4392619"/>
              <a:ext cx="65088" cy="219075"/>
            </a:xfrm>
            <a:custGeom>
              <a:avLst/>
              <a:gdLst>
                <a:gd name="T0" fmla="*/ 0 w 41"/>
                <a:gd name="T1" fmla="*/ 0 h 138"/>
                <a:gd name="T2" fmla="*/ 21 w 41"/>
                <a:gd name="T3" fmla="*/ 138 h 138"/>
                <a:gd name="T4" fmla="*/ 32 w 41"/>
                <a:gd name="T5" fmla="*/ 138 h 138"/>
                <a:gd name="T6" fmla="*/ 41 w 41"/>
                <a:gd name="T7" fmla="*/ 138 h 138"/>
                <a:gd name="T8" fmla="*/ 0 w 41"/>
                <a:gd name="T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138">
                  <a:moveTo>
                    <a:pt x="0" y="0"/>
                  </a:moveTo>
                  <a:lnTo>
                    <a:pt x="21" y="138"/>
                  </a:lnTo>
                  <a:lnTo>
                    <a:pt x="32" y="138"/>
                  </a:lnTo>
                  <a:lnTo>
                    <a:pt x="41" y="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A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48" name="任意多边形: 形状 247">
              <a:extLst>
                <a:ext uri="{FF2B5EF4-FFF2-40B4-BE49-F238E27FC236}">
                  <a16:creationId xmlns:a16="http://schemas.microsoft.com/office/drawing/2014/main" id="{9FD0CBA8-2833-44C6-B6B3-F7DDB269E5F9}"/>
                </a:ext>
              </a:extLst>
            </p:cNvPr>
            <p:cNvSpPr/>
            <p:nvPr/>
          </p:nvSpPr>
          <p:spPr bwMode="auto">
            <a:xfrm>
              <a:off x="7146925" y="4392619"/>
              <a:ext cx="66675" cy="219075"/>
            </a:xfrm>
            <a:custGeom>
              <a:avLst/>
              <a:gdLst>
                <a:gd name="T0" fmla="*/ 21 w 42"/>
                <a:gd name="T1" fmla="*/ 0 h 138"/>
                <a:gd name="T2" fmla="*/ 0 w 42"/>
                <a:gd name="T3" fmla="*/ 138 h 138"/>
                <a:gd name="T4" fmla="*/ 10 w 42"/>
                <a:gd name="T5" fmla="*/ 138 h 138"/>
                <a:gd name="T6" fmla="*/ 18 w 42"/>
                <a:gd name="T7" fmla="*/ 138 h 138"/>
                <a:gd name="T8" fmla="*/ 21 w 42"/>
                <a:gd name="T9" fmla="*/ 138 h 138"/>
                <a:gd name="T10" fmla="*/ 24 w 42"/>
                <a:gd name="T11" fmla="*/ 138 h 138"/>
                <a:gd name="T12" fmla="*/ 31 w 42"/>
                <a:gd name="T13" fmla="*/ 138 h 138"/>
                <a:gd name="T14" fmla="*/ 42 w 42"/>
                <a:gd name="T15" fmla="*/ 138 h 138"/>
                <a:gd name="T16" fmla="*/ 21 w 42"/>
                <a:gd name="T17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138">
                  <a:moveTo>
                    <a:pt x="21" y="0"/>
                  </a:moveTo>
                  <a:lnTo>
                    <a:pt x="0" y="138"/>
                  </a:lnTo>
                  <a:lnTo>
                    <a:pt x="10" y="138"/>
                  </a:lnTo>
                  <a:lnTo>
                    <a:pt x="18" y="138"/>
                  </a:lnTo>
                  <a:lnTo>
                    <a:pt x="21" y="138"/>
                  </a:lnTo>
                  <a:lnTo>
                    <a:pt x="24" y="138"/>
                  </a:lnTo>
                  <a:lnTo>
                    <a:pt x="31" y="138"/>
                  </a:lnTo>
                  <a:lnTo>
                    <a:pt x="42" y="138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4D8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49" name="任意多边形: 形状 248">
              <a:extLst>
                <a:ext uri="{FF2B5EF4-FFF2-40B4-BE49-F238E27FC236}">
                  <a16:creationId xmlns:a16="http://schemas.microsoft.com/office/drawing/2014/main" id="{95955288-D920-456D-8B65-2C6A8251CCCD}"/>
                </a:ext>
              </a:extLst>
            </p:cNvPr>
            <p:cNvSpPr/>
            <p:nvPr/>
          </p:nvSpPr>
          <p:spPr bwMode="auto">
            <a:xfrm>
              <a:off x="7118350" y="4340232"/>
              <a:ext cx="61913" cy="198438"/>
            </a:xfrm>
            <a:custGeom>
              <a:avLst/>
              <a:gdLst>
                <a:gd name="T0" fmla="*/ 0 w 39"/>
                <a:gd name="T1" fmla="*/ 125 h 125"/>
                <a:gd name="T2" fmla="*/ 8 w 39"/>
                <a:gd name="T3" fmla="*/ 125 h 125"/>
                <a:gd name="T4" fmla="*/ 20 w 39"/>
                <a:gd name="T5" fmla="*/ 125 h 125"/>
                <a:gd name="T6" fmla="*/ 39 w 39"/>
                <a:gd name="T7" fmla="*/ 0 h 125"/>
                <a:gd name="T8" fmla="*/ 0 w 39"/>
                <a:gd name="T9" fmla="*/ 12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125">
                  <a:moveTo>
                    <a:pt x="0" y="125"/>
                  </a:moveTo>
                  <a:lnTo>
                    <a:pt x="8" y="125"/>
                  </a:lnTo>
                  <a:lnTo>
                    <a:pt x="20" y="125"/>
                  </a:lnTo>
                  <a:lnTo>
                    <a:pt x="39" y="0"/>
                  </a:lnTo>
                  <a:lnTo>
                    <a:pt x="0" y="125"/>
                  </a:lnTo>
                  <a:close/>
                </a:path>
              </a:pathLst>
            </a:custGeom>
            <a:solidFill>
              <a:srgbClr val="497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50" name="任意多边形: 形状 249">
              <a:extLst>
                <a:ext uri="{FF2B5EF4-FFF2-40B4-BE49-F238E27FC236}">
                  <a16:creationId xmlns:a16="http://schemas.microsoft.com/office/drawing/2014/main" id="{2D86979A-DDA3-4175-9048-BAA224E2B640}"/>
                </a:ext>
              </a:extLst>
            </p:cNvPr>
            <p:cNvSpPr/>
            <p:nvPr/>
          </p:nvSpPr>
          <p:spPr bwMode="auto">
            <a:xfrm>
              <a:off x="7180263" y="4340232"/>
              <a:ext cx="58738" cy="198438"/>
            </a:xfrm>
            <a:custGeom>
              <a:avLst/>
              <a:gdLst>
                <a:gd name="T0" fmla="*/ 0 w 37"/>
                <a:gd name="T1" fmla="*/ 0 h 125"/>
                <a:gd name="T2" fmla="*/ 18 w 37"/>
                <a:gd name="T3" fmla="*/ 125 h 125"/>
                <a:gd name="T4" fmla="*/ 29 w 37"/>
                <a:gd name="T5" fmla="*/ 125 h 125"/>
                <a:gd name="T6" fmla="*/ 37 w 37"/>
                <a:gd name="T7" fmla="*/ 125 h 125"/>
                <a:gd name="T8" fmla="*/ 0 w 37"/>
                <a:gd name="T9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125">
                  <a:moveTo>
                    <a:pt x="0" y="0"/>
                  </a:moveTo>
                  <a:lnTo>
                    <a:pt x="18" y="125"/>
                  </a:lnTo>
                  <a:lnTo>
                    <a:pt x="29" y="125"/>
                  </a:lnTo>
                  <a:lnTo>
                    <a:pt x="37" y="12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A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51" name="任意多边形: 形状 250">
              <a:extLst>
                <a:ext uri="{FF2B5EF4-FFF2-40B4-BE49-F238E27FC236}">
                  <a16:creationId xmlns:a16="http://schemas.microsoft.com/office/drawing/2014/main" id="{EC37E14E-4088-4B78-B957-CDBDF404291C}"/>
                </a:ext>
              </a:extLst>
            </p:cNvPr>
            <p:cNvSpPr/>
            <p:nvPr/>
          </p:nvSpPr>
          <p:spPr bwMode="auto">
            <a:xfrm>
              <a:off x="7150100" y="4340232"/>
              <a:ext cx="58738" cy="198438"/>
            </a:xfrm>
            <a:custGeom>
              <a:avLst/>
              <a:gdLst>
                <a:gd name="T0" fmla="*/ 19 w 37"/>
                <a:gd name="T1" fmla="*/ 0 h 125"/>
                <a:gd name="T2" fmla="*/ 0 w 37"/>
                <a:gd name="T3" fmla="*/ 125 h 125"/>
                <a:gd name="T4" fmla="*/ 9 w 37"/>
                <a:gd name="T5" fmla="*/ 125 h 125"/>
                <a:gd name="T6" fmla="*/ 16 w 37"/>
                <a:gd name="T7" fmla="*/ 125 h 125"/>
                <a:gd name="T8" fmla="*/ 19 w 37"/>
                <a:gd name="T9" fmla="*/ 125 h 125"/>
                <a:gd name="T10" fmla="*/ 22 w 37"/>
                <a:gd name="T11" fmla="*/ 125 h 125"/>
                <a:gd name="T12" fmla="*/ 28 w 37"/>
                <a:gd name="T13" fmla="*/ 125 h 125"/>
                <a:gd name="T14" fmla="*/ 37 w 37"/>
                <a:gd name="T15" fmla="*/ 125 h 125"/>
                <a:gd name="T16" fmla="*/ 19 w 37"/>
                <a:gd name="T17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125">
                  <a:moveTo>
                    <a:pt x="19" y="0"/>
                  </a:moveTo>
                  <a:lnTo>
                    <a:pt x="0" y="125"/>
                  </a:lnTo>
                  <a:lnTo>
                    <a:pt x="9" y="125"/>
                  </a:lnTo>
                  <a:lnTo>
                    <a:pt x="16" y="125"/>
                  </a:lnTo>
                  <a:lnTo>
                    <a:pt x="19" y="125"/>
                  </a:lnTo>
                  <a:lnTo>
                    <a:pt x="22" y="125"/>
                  </a:lnTo>
                  <a:lnTo>
                    <a:pt x="28" y="125"/>
                  </a:lnTo>
                  <a:lnTo>
                    <a:pt x="37" y="125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4D8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52" name="任意多边形: 形状 251">
              <a:extLst>
                <a:ext uri="{FF2B5EF4-FFF2-40B4-BE49-F238E27FC236}">
                  <a16:creationId xmlns:a16="http://schemas.microsoft.com/office/drawing/2014/main" id="{2416C03D-A6CF-4687-B872-EF826ADABCF5}"/>
                </a:ext>
              </a:extLst>
            </p:cNvPr>
            <p:cNvSpPr/>
            <p:nvPr/>
          </p:nvSpPr>
          <p:spPr bwMode="auto">
            <a:xfrm>
              <a:off x="7131050" y="4310069"/>
              <a:ext cx="49213" cy="160338"/>
            </a:xfrm>
            <a:custGeom>
              <a:avLst/>
              <a:gdLst>
                <a:gd name="T0" fmla="*/ 0 w 31"/>
                <a:gd name="T1" fmla="*/ 101 h 101"/>
                <a:gd name="T2" fmla="*/ 7 w 31"/>
                <a:gd name="T3" fmla="*/ 101 h 101"/>
                <a:gd name="T4" fmla="*/ 16 w 31"/>
                <a:gd name="T5" fmla="*/ 101 h 101"/>
                <a:gd name="T6" fmla="*/ 31 w 31"/>
                <a:gd name="T7" fmla="*/ 0 h 101"/>
                <a:gd name="T8" fmla="*/ 0 w 31"/>
                <a:gd name="T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01">
                  <a:moveTo>
                    <a:pt x="0" y="101"/>
                  </a:moveTo>
                  <a:lnTo>
                    <a:pt x="7" y="101"/>
                  </a:lnTo>
                  <a:lnTo>
                    <a:pt x="16" y="101"/>
                  </a:lnTo>
                  <a:lnTo>
                    <a:pt x="31" y="0"/>
                  </a:lnTo>
                  <a:lnTo>
                    <a:pt x="0" y="101"/>
                  </a:lnTo>
                  <a:close/>
                </a:path>
              </a:pathLst>
            </a:custGeom>
            <a:solidFill>
              <a:srgbClr val="497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53" name="任意多边形: 形状 252">
              <a:extLst>
                <a:ext uri="{FF2B5EF4-FFF2-40B4-BE49-F238E27FC236}">
                  <a16:creationId xmlns:a16="http://schemas.microsoft.com/office/drawing/2014/main" id="{B2010512-57D4-4FAB-930C-29E7E6ABB00C}"/>
                </a:ext>
              </a:extLst>
            </p:cNvPr>
            <p:cNvSpPr/>
            <p:nvPr/>
          </p:nvSpPr>
          <p:spPr bwMode="auto">
            <a:xfrm>
              <a:off x="7180263" y="4310069"/>
              <a:ext cx="47625" cy="160338"/>
            </a:xfrm>
            <a:custGeom>
              <a:avLst/>
              <a:gdLst>
                <a:gd name="T0" fmla="*/ 0 w 30"/>
                <a:gd name="T1" fmla="*/ 0 h 101"/>
                <a:gd name="T2" fmla="*/ 15 w 30"/>
                <a:gd name="T3" fmla="*/ 101 h 101"/>
                <a:gd name="T4" fmla="*/ 24 w 30"/>
                <a:gd name="T5" fmla="*/ 101 h 101"/>
                <a:gd name="T6" fmla="*/ 30 w 30"/>
                <a:gd name="T7" fmla="*/ 101 h 101"/>
                <a:gd name="T8" fmla="*/ 0 w 30"/>
                <a:gd name="T9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01">
                  <a:moveTo>
                    <a:pt x="0" y="0"/>
                  </a:moveTo>
                  <a:lnTo>
                    <a:pt x="15" y="101"/>
                  </a:lnTo>
                  <a:lnTo>
                    <a:pt x="24" y="101"/>
                  </a:lnTo>
                  <a:lnTo>
                    <a:pt x="30" y="10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CA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  <p:sp>
          <p:nvSpPr>
            <p:cNvPr id="254" name="任意多边形: 形状 253">
              <a:extLst>
                <a:ext uri="{FF2B5EF4-FFF2-40B4-BE49-F238E27FC236}">
                  <a16:creationId xmlns:a16="http://schemas.microsoft.com/office/drawing/2014/main" id="{0D344CA3-DDC5-41FB-836B-D654C1A07DF1}"/>
                </a:ext>
              </a:extLst>
            </p:cNvPr>
            <p:cNvSpPr/>
            <p:nvPr/>
          </p:nvSpPr>
          <p:spPr bwMode="auto">
            <a:xfrm>
              <a:off x="7156450" y="4310069"/>
              <a:ext cx="47625" cy="160338"/>
            </a:xfrm>
            <a:custGeom>
              <a:avLst/>
              <a:gdLst>
                <a:gd name="T0" fmla="*/ 15 w 30"/>
                <a:gd name="T1" fmla="*/ 0 h 101"/>
                <a:gd name="T2" fmla="*/ 0 w 30"/>
                <a:gd name="T3" fmla="*/ 101 h 101"/>
                <a:gd name="T4" fmla="*/ 7 w 30"/>
                <a:gd name="T5" fmla="*/ 101 h 101"/>
                <a:gd name="T6" fmla="*/ 12 w 30"/>
                <a:gd name="T7" fmla="*/ 101 h 101"/>
                <a:gd name="T8" fmla="*/ 15 w 30"/>
                <a:gd name="T9" fmla="*/ 101 h 101"/>
                <a:gd name="T10" fmla="*/ 17 w 30"/>
                <a:gd name="T11" fmla="*/ 101 h 101"/>
                <a:gd name="T12" fmla="*/ 22 w 30"/>
                <a:gd name="T13" fmla="*/ 101 h 101"/>
                <a:gd name="T14" fmla="*/ 30 w 30"/>
                <a:gd name="T15" fmla="*/ 101 h 101"/>
                <a:gd name="T16" fmla="*/ 15 w 30"/>
                <a:gd name="T17" fmla="*/ 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101">
                  <a:moveTo>
                    <a:pt x="15" y="0"/>
                  </a:moveTo>
                  <a:lnTo>
                    <a:pt x="0" y="101"/>
                  </a:lnTo>
                  <a:lnTo>
                    <a:pt x="7" y="101"/>
                  </a:lnTo>
                  <a:lnTo>
                    <a:pt x="12" y="101"/>
                  </a:lnTo>
                  <a:lnTo>
                    <a:pt x="15" y="101"/>
                  </a:lnTo>
                  <a:lnTo>
                    <a:pt x="17" y="101"/>
                  </a:lnTo>
                  <a:lnTo>
                    <a:pt x="22" y="101"/>
                  </a:lnTo>
                  <a:lnTo>
                    <a:pt x="30" y="101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rgbClr val="4D8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en-US">
                <a:solidFill>
                  <a:srgbClr val="30A3DC"/>
                </a:solidFill>
              </a:endParaRPr>
            </a:p>
          </p:txBody>
        </p:sp>
      </p:grpSp>
      <p:cxnSp>
        <p:nvCxnSpPr>
          <p:cNvPr id="67" name="直接连接符 66">
            <a:extLst>
              <a:ext uri="{FF2B5EF4-FFF2-40B4-BE49-F238E27FC236}">
                <a16:creationId xmlns:a16="http://schemas.microsoft.com/office/drawing/2014/main" id="{F0130A7B-B46B-4762-83CD-A28873CEE771}"/>
              </a:ext>
            </a:extLst>
          </p:cNvPr>
          <p:cNvCxnSpPr/>
          <p:nvPr/>
        </p:nvCxnSpPr>
        <p:spPr>
          <a:xfrm>
            <a:off x="669925" y="4945060"/>
            <a:ext cx="1085056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椭圆 67">
            <a:extLst>
              <a:ext uri="{FF2B5EF4-FFF2-40B4-BE49-F238E27FC236}">
                <a16:creationId xmlns:a16="http://schemas.microsoft.com/office/drawing/2014/main" id="{C022BFE7-AC52-4109-98C5-46631516A548}"/>
              </a:ext>
            </a:extLst>
          </p:cNvPr>
          <p:cNvSpPr/>
          <p:nvPr/>
        </p:nvSpPr>
        <p:spPr>
          <a:xfrm>
            <a:off x="1114422" y="4684710"/>
            <a:ext cx="520708" cy="520702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altLang="zh-CN" sz="1200" b="1" i="1" dirty="0"/>
              <a:t>1</a:t>
            </a:r>
            <a:endParaRPr lang="zh-CN" altLang="en-US" sz="1200" b="1" i="1" dirty="0"/>
          </a:p>
        </p:txBody>
      </p:sp>
      <p:sp>
        <p:nvSpPr>
          <p:cNvPr id="94" name="矩形 93">
            <a:extLst>
              <a:ext uri="{FF2B5EF4-FFF2-40B4-BE49-F238E27FC236}">
                <a16:creationId xmlns:a16="http://schemas.microsoft.com/office/drawing/2014/main" id="{7FA862F4-14A5-4615-87DF-D40F30DC85C7}"/>
              </a:ext>
            </a:extLst>
          </p:cNvPr>
          <p:cNvSpPr/>
          <p:nvPr/>
        </p:nvSpPr>
        <p:spPr bwMode="auto">
          <a:xfrm>
            <a:off x="673100" y="5725840"/>
            <a:ext cx="1403351" cy="509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92500"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 </a:t>
            </a:r>
          </a:p>
        </p:txBody>
      </p:sp>
      <p:sp>
        <p:nvSpPr>
          <p:cNvPr id="95" name="文本框 94">
            <a:extLst>
              <a:ext uri="{FF2B5EF4-FFF2-40B4-BE49-F238E27FC236}">
                <a16:creationId xmlns:a16="http://schemas.microsoft.com/office/drawing/2014/main" id="{D690DE7B-A854-4308-BEB5-2D65B07995A3}"/>
              </a:ext>
            </a:extLst>
          </p:cNvPr>
          <p:cNvSpPr txBox="1"/>
          <p:nvPr/>
        </p:nvSpPr>
        <p:spPr bwMode="auto">
          <a:xfrm>
            <a:off x="673100" y="5284035"/>
            <a:ext cx="1403351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/>
              <a:t>Text here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FB419C7A-85E6-4AB4-A0B9-E701A92FD29C}"/>
              </a:ext>
            </a:extLst>
          </p:cNvPr>
          <p:cNvSpPr/>
          <p:nvPr/>
        </p:nvSpPr>
        <p:spPr bwMode="auto">
          <a:xfrm>
            <a:off x="2246842" y="5725840"/>
            <a:ext cx="1403351" cy="509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92500"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 </a:t>
            </a:r>
          </a:p>
        </p:txBody>
      </p:sp>
      <p:sp>
        <p:nvSpPr>
          <p:cNvPr id="93" name="文本框 92">
            <a:extLst>
              <a:ext uri="{FF2B5EF4-FFF2-40B4-BE49-F238E27FC236}">
                <a16:creationId xmlns:a16="http://schemas.microsoft.com/office/drawing/2014/main" id="{9EFF6B29-49AA-4E23-9882-2D89E5150F67}"/>
              </a:ext>
            </a:extLst>
          </p:cNvPr>
          <p:cNvSpPr txBox="1"/>
          <p:nvPr/>
        </p:nvSpPr>
        <p:spPr bwMode="auto">
          <a:xfrm>
            <a:off x="2246842" y="5284035"/>
            <a:ext cx="1403351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/>
              <a:t>Text here</a:t>
            </a:r>
          </a:p>
        </p:txBody>
      </p:sp>
      <p:sp>
        <p:nvSpPr>
          <p:cNvPr id="90" name="矩形 89">
            <a:extLst>
              <a:ext uri="{FF2B5EF4-FFF2-40B4-BE49-F238E27FC236}">
                <a16:creationId xmlns:a16="http://schemas.microsoft.com/office/drawing/2014/main" id="{A858FA07-F4D2-4A36-AA9D-9F088793BBB0}"/>
              </a:ext>
            </a:extLst>
          </p:cNvPr>
          <p:cNvSpPr/>
          <p:nvPr/>
        </p:nvSpPr>
        <p:spPr bwMode="auto">
          <a:xfrm>
            <a:off x="3820585" y="5725840"/>
            <a:ext cx="1403351" cy="509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92500"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 </a:t>
            </a:r>
          </a:p>
        </p:txBody>
      </p:sp>
      <p:sp>
        <p:nvSpPr>
          <p:cNvPr id="91" name="文本框 90">
            <a:extLst>
              <a:ext uri="{FF2B5EF4-FFF2-40B4-BE49-F238E27FC236}">
                <a16:creationId xmlns:a16="http://schemas.microsoft.com/office/drawing/2014/main" id="{67CEA493-E2BB-414E-B7F8-8C7980AB2825}"/>
              </a:ext>
            </a:extLst>
          </p:cNvPr>
          <p:cNvSpPr txBox="1"/>
          <p:nvPr/>
        </p:nvSpPr>
        <p:spPr bwMode="auto">
          <a:xfrm>
            <a:off x="3820585" y="5284035"/>
            <a:ext cx="1403351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/>
              <a:t>Text here</a:t>
            </a:r>
          </a:p>
        </p:txBody>
      </p:sp>
      <p:sp>
        <p:nvSpPr>
          <p:cNvPr id="88" name="矩形 87">
            <a:extLst>
              <a:ext uri="{FF2B5EF4-FFF2-40B4-BE49-F238E27FC236}">
                <a16:creationId xmlns:a16="http://schemas.microsoft.com/office/drawing/2014/main" id="{977F9FB3-F250-4EDC-A277-ECE52B46D143}"/>
              </a:ext>
            </a:extLst>
          </p:cNvPr>
          <p:cNvSpPr/>
          <p:nvPr/>
        </p:nvSpPr>
        <p:spPr bwMode="auto">
          <a:xfrm>
            <a:off x="5394328" y="5725840"/>
            <a:ext cx="1403351" cy="509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92500"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 </a:t>
            </a:r>
          </a:p>
        </p:txBody>
      </p:sp>
      <p:sp>
        <p:nvSpPr>
          <p:cNvPr id="89" name="文本框 88">
            <a:extLst>
              <a:ext uri="{FF2B5EF4-FFF2-40B4-BE49-F238E27FC236}">
                <a16:creationId xmlns:a16="http://schemas.microsoft.com/office/drawing/2014/main" id="{8B1AFB1F-D228-4A49-AA89-19F0C45441F9}"/>
              </a:ext>
            </a:extLst>
          </p:cNvPr>
          <p:cNvSpPr txBox="1"/>
          <p:nvPr/>
        </p:nvSpPr>
        <p:spPr bwMode="auto">
          <a:xfrm>
            <a:off x="5394328" y="5284035"/>
            <a:ext cx="1403351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/>
              <a:t>Text here</a:t>
            </a:r>
          </a:p>
        </p:txBody>
      </p:sp>
      <p:sp>
        <p:nvSpPr>
          <p:cNvPr id="86" name="矩形 85">
            <a:extLst>
              <a:ext uri="{FF2B5EF4-FFF2-40B4-BE49-F238E27FC236}">
                <a16:creationId xmlns:a16="http://schemas.microsoft.com/office/drawing/2014/main" id="{D4F9D1AB-E383-4628-B14D-1081461C5FF7}"/>
              </a:ext>
            </a:extLst>
          </p:cNvPr>
          <p:cNvSpPr/>
          <p:nvPr/>
        </p:nvSpPr>
        <p:spPr bwMode="auto">
          <a:xfrm>
            <a:off x="6968071" y="5725840"/>
            <a:ext cx="1403351" cy="509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92500"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 </a:t>
            </a:r>
          </a:p>
        </p:txBody>
      </p:sp>
      <p:sp>
        <p:nvSpPr>
          <p:cNvPr id="87" name="文本框 86">
            <a:extLst>
              <a:ext uri="{FF2B5EF4-FFF2-40B4-BE49-F238E27FC236}">
                <a16:creationId xmlns:a16="http://schemas.microsoft.com/office/drawing/2014/main" id="{1F6F5033-5CA8-4F46-A226-E69A3CBFA603}"/>
              </a:ext>
            </a:extLst>
          </p:cNvPr>
          <p:cNvSpPr txBox="1"/>
          <p:nvPr/>
        </p:nvSpPr>
        <p:spPr bwMode="auto">
          <a:xfrm>
            <a:off x="6968071" y="5284035"/>
            <a:ext cx="1403351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/>
              <a:t>Text here</a:t>
            </a:r>
          </a:p>
        </p:txBody>
      </p:sp>
      <p:sp>
        <p:nvSpPr>
          <p:cNvPr id="84" name="矩形 83">
            <a:extLst>
              <a:ext uri="{FF2B5EF4-FFF2-40B4-BE49-F238E27FC236}">
                <a16:creationId xmlns:a16="http://schemas.microsoft.com/office/drawing/2014/main" id="{715272D1-3252-462D-861F-99DE5A837C4D}"/>
              </a:ext>
            </a:extLst>
          </p:cNvPr>
          <p:cNvSpPr/>
          <p:nvPr/>
        </p:nvSpPr>
        <p:spPr bwMode="auto">
          <a:xfrm>
            <a:off x="8541814" y="5725840"/>
            <a:ext cx="1403351" cy="509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92500"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 </a:t>
            </a:r>
          </a:p>
        </p:txBody>
      </p:sp>
      <p:sp>
        <p:nvSpPr>
          <p:cNvPr id="85" name="文本框 84">
            <a:extLst>
              <a:ext uri="{FF2B5EF4-FFF2-40B4-BE49-F238E27FC236}">
                <a16:creationId xmlns:a16="http://schemas.microsoft.com/office/drawing/2014/main" id="{7F5EACEF-A24F-4F83-A2D9-D4EEB6F776C6}"/>
              </a:ext>
            </a:extLst>
          </p:cNvPr>
          <p:cNvSpPr txBox="1"/>
          <p:nvPr/>
        </p:nvSpPr>
        <p:spPr bwMode="auto">
          <a:xfrm>
            <a:off x="8541814" y="5284035"/>
            <a:ext cx="1403351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/>
              <a:t>Text here</a:t>
            </a:r>
          </a:p>
        </p:txBody>
      </p:sp>
      <p:sp>
        <p:nvSpPr>
          <p:cNvPr id="82" name="矩形 81">
            <a:extLst>
              <a:ext uri="{FF2B5EF4-FFF2-40B4-BE49-F238E27FC236}">
                <a16:creationId xmlns:a16="http://schemas.microsoft.com/office/drawing/2014/main" id="{0428F8E6-FCDA-4942-BB93-3DA6A742126B}"/>
              </a:ext>
            </a:extLst>
          </p:cNvPr>
          <p:cNvSpPr/>
          <p:nvPr/>
        </p:nvSpPr>
        <p:spPr bwMode="auto">
          <a:xfrm>
            <a:off x="10115555" y="5725840"/>
            <a:ext cx="1403351" cy="509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fontScale="92500"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/>
              <a:t>…… </a:t>
            </a:r>
          </a:p>
        </p:txBody>
      </p:sp>
      <p:sp>
        <p:nvSpPr>
          <p:cNvPr id="83" name="文本框 82">
            <a:extLst>
              <a:ext uri="{FF2B5EF4-FFF2-40B4-BE49-F238E27FC236}">
                <a16:creationId xmlns:a16="http://schemas.microsoft.com/office/drawing/2014/main" id="{D00E8FC2-0471-4E13-8F35-AC32DD8C7A0E}"/>
              </a:ext>
            </a:extLst>
          </p:cNvPr>
          <p:cNvSpPr txBox="1"/>
          <p:nvPr/>
        </p:nvSpPr>
        <p:spPr bwMode="auto">
          <a:xfrm>
            <a:off x="10115555" y="5284035"/>
            <a:ext cx="1403351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/>
              <a:t>Text here</a:t>
            </a:r>
          </a:p>
        </p:txBody>
      </p:sp>
      <p:sp>
        <p:nvSpPr>
          <p:cNvPr id="76" name="椭圆 75">
            <a:extLst>
              <a:ext uri="{FF2B5EF4-FFF2-40B4-BE49-F238E27FC236}">
                <a16:creationId xmlns:a16="http://schemas.microsoft.com/office/drawing/2014/main" id="{B1B5A713-D2D6-42FA-A1E4-DA58BAF986EB}"/>
              </a:ext>
            </a:extLst>
          </p:cNvPr>
          <p:cNvSpPr/>
          <p:nvPr/>
        </p:nvSpPr>
        <p:spPr>
          <a:xfrm>
            <a:off x="2688164" y="4684710"/>
            <a:ext cx="520708" cy="520702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altLang="zh-CN" sz="1200" b="1" i="1" dirty="0"/>
              <a:t>2</a:t>
            </a:r>
            <a:endParaRPr lang="zh-CN" altLang="en-US" sz="1200" b="1" i="1" dirty="0"/>
          </a:p>
        </p:txBody>
      </p:sp>
      <p:sp>
        <p:nvSpPr>
          <p:cNvPr id="77" name="椭圆 76">
            <a:extLst>
              <a:ext uri="{FF2B5EF4-FFF2-40B4-BE49-F238E27FC236}">
                <a16:creationId xmlns:a16="http://schemas.microsoft.com/office/drawing/2014/main" id="{D6E80415-546C-4344-B772-5091A45B0851}"/>
              </a:ext>
            </a:extLst>
          </p:cNvPr>
          <p:cNvSpPr/>
          <p:nvPr/>
        </p:nvSpPr>
        <p:spPr>
          <a:xfrm>
            <a:off x="4261906" y="4684710"/>
            <a:ext cx="520708" cy="520702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altLang="zh-CN" sz="1200" b="1" i="1" dirty="0"/>
              <a:t>3</a:t>
            </a:r>
            <a:endParaRPr lang="zh-CN" altLang="en-US" sz="1200" b="1" i="1" dirty="0"/>
          </a:p>
        </p:txBody>
      </p:sp>
      <p:sp>
        <p:nvSpPr>
          <p:cNvPr id="78" name="椭圆 77">
            <a:extLst>
              <a:ext uri="{FF2B5EF4-FFF2-40B4-BE49-F238E27FC236}">
                <a16:creationId xmlns:a16="http://schemas.microsoft.com/office/drawing/2014/main" id="{5C23486A-3C09-46D0-9044-B3D0243E5562}"/>
              </a:ext>
            </a:extLst>
          </p:cNvPr>
          <p:cNvSpPr/>
          <p:nvPr/>
        </p:nvSpPr>
        <p:spPr>
          <a:xfrm>
            <a:off x="5835647" y="4684710"/>
            <a:ext cx="520708" cy="520702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altLang="zh-CN" sz="1200" b="1" i="1" dirty="0"/>
              <a:t>4</a:t>
            </a:r>
            <a:endParaRPr lang="zh-CN" altLang="en-US" sz="1200" b="1" i="1" dirty="0"/>
          </a:p>
        </p:txBody>
      </p:sp>
      <p:sp>
        <p:nvSpPr>
          <p:cNvPr id="79" name="椭圆 78">
            <a:extLst>
              <a:ext uri="{FF2B5EF4-FFF2-40B4-BE49-F238E27FC236}">
                <a16:creationId xmlns:a16="http://schemas.microsoft.com/office/drawing/2014/main" id="{0B2C3C06-A0A3-48A8-A71E-740C7A5BCC84}"/>
              </a:ext>
            </a:extLst>
          </p:cNvPr>
          <p:cNvSpPr/>
          <p:nvPr/>
        </p:nvSpPr>
        <p:spPr>
          <a:xfrm>
            <a:off x="7409389" y="4684710"/>
            <a:ext cx="520708" cy="520702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altLang="zh-CN" sz="1200" b="1" i="1" dirty="0"/>
              <a:t>5</a:t>
            </a:r>
            <a:endParaRPr lang="zh-CN" altLang="en-US" sz="1200" b="1" i="1" dirty="0"/>
          </a:p>
        </p:txBody>
      </p:sp>
      <p:sp>
        <p:nvSpPr>
          <p:cNvPr id="80" name="椭圆 79">
            <a:extLst>
              <a:ext uri="{FF2B5EF4-FFF2-40B4-BE49-F238E27FC236}">
                <a16:creationId xmlns:a16="http://schemas.microsoft.com/office/drawing/2014/main" id="{373B09F3-A160-4077-80A1-151A79B0DBEC}"/>
              </a:ext>
            </a:extLst>
          </p:cNvPr>
          <p:cNvSpPr/>
          <p:nvPr/>
        </p:nvSpPr>
        <p:spPr>
          <a:xfrm>
            <a:off x="8983131" y="4684710"/>
            <a:ext cx="520708" cy="520702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altLang="zh-CN" sz="1200" b="1" i="1" dirty="0"/>
              <a:t>6</a:t>
            </a:r>
            <a:endParaRPr lang="zh-CN" altLang="en-US" sz="1200" b="1" i="1" dirty="0"/>
          </a:p>
        </p:txBody>
      </p:sp>
      <p:sp>
        <p:nvSpPr>
          <p:cNvPr id="81" name="椭圆 80">
            <a:extLst>
              <a:ext uri="{FF2B5EF4-FFF2-40B4-BE49-F238E27FC236}">
                <a16:creationId xmlns:a16="http://schemas.microsoft.com/office/drawing/2014/main" id="{40F2E614-8487-41D0-BC31-E819D46B5D04}"/>
              </a:ext>
            </a:extLst>
          </p:cNvPr>
          <p:cNvSpPr/>
          <p:nvPr/>
        </p:nvSpPr>
        <p:spPr>
          <a:xfrm>
            <a:off x="10556873" y="4684710"/>
            <a:ext cx="520708" cy="520702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r>
              <a:rPr lang="en-US" altLang="zh-CN" sz="1200" b="1" i="1" dirty="0"/>
              <a:t>7</a:t>
            </a:r>
            <a:endParaRPr lang="zh-CN" altLang="en-US" sz="1200" b="1" i="1" dirty="0"/>
          </a:p>
        </p:txBody>
      </p:sp>
    </p:spTree>
    <p:extLst>
      <p:ext uri="{BB962C8B-B14F-4D97-AF65-F5344CB8AC3E}">
        <p14:creationId xmlns:p14="http://schemas.microsoft.com/office/powerpoint/2010/main" val="37237283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61431C76-44F4-4752-B9E3-BFFB87514D0E}"/>
              </a:ext>
            </a:extLst>
          </p:cNvPr>
          <p:cNvCxnSpPr/>
          <p:nvPr/>
        </p:nvCxnSpPr>
        <p:spPr>
          <a:xfrm>
            <a:off x="669925" y="2081272"/>
            <a:ext cx="10850563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椭圆 28">
            <a:extLst>
              <a:ext uri="{FF2B5EF4-FFF2-40B4-BE49-F238E27FC236}">
                <a16:creationId xmlns:a16="http://schemas.microsoft.com/office/drawing/2014/main" id="{671B0943-079F-4FAC-9BC4-45B480070B76}"/>
              </a:ext>
            </a:extLst>
          </p:cNvPr>
          <p:cNvSpPr/>
          <p:nvPr/>
        </p:nvSpPr>
        <p:spPr bwMode="auto">
          <a:xfrm>
            <a:off x="4766515" y="1085399"/>
            <a:ext cx="1989885" cy="1989885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none" lIns="91440" tIns="45720" rIns="91440" bIns="45720" anchor="ctr" anchorCtr="1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b="1" dirty="0"/>
              <a:t>CONTENTS</a:t>
            </a:r>
          </a:p>
        </p:txBody>
      </p: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id="{BD31E3C7-ED7D-4FF6-985C-F48AD2BE4493}"/>
              </a:ext>
            </a:extLst>
          </p:cNvPr>
          <p:cNvSpPr/>
          <p:nvPr/>
        </p:nvSpPr>
        <p:spPr bwMode="auto">
          <a:xfrm rot="1775122" flipH="1">
            <a:off x="5596071" y="1028700"/>
            <a:ext cx="187530" cy="206875"/>
          </a:xfrm>
          <a:custGeom>
            <a:avLst/>
            <a:gdLst>
              <a:gd name="connsiteX0" fmla="*/ 73048 w 251088"/>
              <a:gd name="connsiteY0" fmla="*/ 36731 h 276989"/>
              <a:gd name="connsiteX1" fmla="*/ 0 w 251088"/>
              <a:gd name="connsiteY1" fmla="*/ 0 h 276989"/>
              <a:gd name="connsiteX2" fmla="*/ 0 w 251088"/>
              <a:gd name="connsiteY2" fmla="*/ 150529 h 276989"/>
              <a:gd name="connsiteX3" fmla="*/ 9937 w 251088"/>
              <a:gd name="connsiteY3" fmla="*/ 199750 h 276989"/>
              <a:gd name="connsiteX4" fmla="*/ 126464 w 251088"/>
              <a:gd name="connsiteY4" fmla="*/ 276988 h 276989"/>
              <a:gd name="connsiteX5" fmla="*/ 242990 w 251088"/>
              <a:gd name="connsiteY5" fmla="*/ 199749 h 276989"/>
              <a:gd name="connsiteX6" fmla="*/ 251088 w 251088"/>
              <a:gd name="connsiteY6" fmla="*/ 159638 h 276989"/>
              <a:gd name="connsiteX7" fmla="*/ 188098 w 251088"/>
              <a:gd name="connsiteY7" fmla="*/ 109958 h 276989"/>
              <a:gd name="connsiteX8" fmla="*/ 73048 w 251088"/>
              <a:gd name="connsiteY8" fmla="*/ 36731 h 276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1088" h="276989">
                <a:moveTo>
                  <a:pt x="73048" y="36731"/>
                </a:moveTo>
                <a:lnTo>
                  <a:pt x="0" y="0"/>
                </a:lnTo>
                <a:lnTo>
                  <a:pt x="0" y="150529"/>
                </a:lnTo>
                <a:lnTo>
                  <a:pt x="9937" y="199750"/>
                </a:lnTo>
                <a:cubicBezTo>
                  <a:pt x="29136" y="245139"/>
                  <a:pt x="74081" y="276988"/>
                  <a:pt x="126464" y="276988"/>
                </a:cubicBezTo>
                <a:cubicBezTo>
                  <a:pt x="178847" y="276989"/>
                  <a:pt x="223791" y="245139"/>
                  <a:pt x="242990" y="199749"/>
                </a:cubicBezTo>
                <a:lnTo>
                  <a:pt x="251088" y="159638"/>
                </a:lnTo>
                <a:lnTo>
                  <a:pt x="188098" y="109958"/>
                </a:lnTo>
                <a:cubicBezTo>
                  <a:pt x="151400" y="83893"/>
                  <a:pt x="113036" y="59433"/>
                  <a:pt x="73048" y="36731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7500" lnSpcReduction="20000"/>
          </a:bodyPr>
          <a:lstStyle/>
          <a:p>
            <a:pPr algn="ctr"/>
            <a:endParaRPr/>
          </a:p>
        </p:txBody>
      </p:sp>
      <p:sp>
        <p:nvSpPr>
          <p:cNvPr id="31" name="任意多边形: 形状 30">
            <a:extLst>
              <a:ext uri="{FF2B5EF4-FFF2-40B4-BE49-F238E27FC236}">
                <a16:creationId xmlns:a16="http://schemas.microsoft.com/office/drawing/2014/main" id="{7A2683AF-C511-4F77-B682-1C615F4438F3}"/>
              </a:ext>
            </a:extLst>
          </p:cNvPr>
          <p:cNvSpPr/>
          <p:nvPr/>
        </p:nvSpPr>
        <p:spPr bwMode="auto">
          <a:xfrm rot="1775122" flipH="1">
            <a:off x="5729878" y="1043910"/>
            <a:ext cx="188905" cy="465115"/>
          </a:xfrm>
          <a:custGeom>
            <a:avLst/>
            <a:gdLst>
              <a:gd name="connsiteX0" fmla="*/ 252927 w 252928"/>
              <a:gd name="connsiteY0" fmla="*/ 93736 h 622752"/>
              <a:gd name="connsiteX1" fmla="*/ 204135 w 252928"/>
              <a:gd name="connsiteY1" fmla="*/ 69201 h 622752"/>
              <a:gd name="connsiteX2" fmla="*/ 79143 w 252928"/>
              <a:gd name="connsiteY2" fmla="*/ 21452 h 622752"/>
              <a:gd name="connsiteX3" fmla="*/ 0 w 252928"/>
              <a:gd name="connsiteY3" fmla="*/ 0 h 622752"/>
              <a:gd name="connsiteX4" fmla="*/ 1 w 252928"/>
              <a:gd name="connsiteY4" fmla="*/ 370274 h 622752"/>
              <a:gd name="connsiteX5" fmla="*/ 0 w 252928"/>
              <a:gd name="connsiteY5" fmla="*/ 370277 h 622752"/>
              <a:gd name="connsiteX6" fmla="*/ 0 w 252928"/>
              <a:gd name="connsiteY6" fmla="*/ 496288 h 622752"/>
              <a:gd name="connsiteX7" fmla="*/ 126464 w 252928"/>
              <a:gd name="connsiteY7" fmla="*/ 622752 h 622752"/>
              <a:gd name="connsiteX8" fmla="*/ 252928 w 252928"/>
              <a:gd name="connsiteY8" fmla="*/ 496288 h 622752"/>
              <a:gd name="connsiteX9" fmla="*/ 252928 w 252928"/>
              <a:gd name="connsiteY9" fmla="*/ 244265 h 622752"/>
              <a:gd name="connsiteX10" fmla="*/ 252927 w 252928"/>
              <a:gd name="connsiteY10" fmla="*/ 244260 h 622752"/>
              <a:gd name="connsiteX11" fmla="*/ 252927 w 252928"/>
              <a:gd name="connsiteY11" fmla="*/ 93736 h 622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2928" h="622752">
                <a:moveTo>
                  <a:pt x="252927" y="93736"/>
                </a:moveTo>
                <a:lnTo>
                  <a:pt x="204135" y="69201"/>
                </a:lnTo>
                <a:cubicBezTo>
                  <a:pt x="162945" y="51046"/>
                  <a:pt x="121230" y="35143"/>
                  <a:pt x="79143" y="21452"/>
                </a:cubicBezTo>
                <a:lnTo>
                  <a:pt x="0" y="0"/>
                </a:lnTo>
                <a:lnTo>
                  <a:pt x="1" y="370274"/>
                </a:lnTo>
                <a:lnTo>
                  <a:pt x="0" y="370277"/>
                </a:lnTo>
                <a:lnTo>
                  <a:pt x="0" y="496288"/>
                </a:lnTo>
                <a:cubicBezTo>
                  <a:pt x="0" y="566132"/>
                  <a:pt x="56620" y="622752"/>
                  <a:pt x="126464" y="622752"/>
                </a:cubicBezTo>
                <a:cubicBezTo>
                  <a:pt x="196308" y="622752"/>
                  <a:pt x="252928" y="566132"/>
                  <a:pt x="252928" y="496288"/>
                </a:cubicBezTo>
                <a:lnTo>
                  <a:pt x="252928" y="244265"/>
                </a:lnTo>
                <a:lnTo>
                  <a:pt x="252927" y="244260"/>
                </a:lnTo>
                <a:lnTo>
                  <a:pt x="252927" y="93736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32" name="任意多边形: 形状 31">
            <a:extLst>
              <a:ext uri="{FF2B5EF4-FFF2-40B4-BE49-F238E27FC236}">
                <a16:creationId xmlns:a16="http://schemas.microsoft.com/office/drawing/2014/main" id="{117628C6-7C95-4722-814D-09F9FE039AD2}"/>
              </a:ext>
            </a:extLst>
          </p:cNvPr>
          <p:cNvSpPr/>
          <p:nvPr/>
        </p:nvSpPr>
        <p:spPr bwMode="auto">
          <a:xfrm rot="1775122" flipH="1">
            <a:off x="5924698" y="1115624"/>
            <a:ext cx="188905" cy="400619"/>
          </a:xfrm>
          <a:custGeom>
            <a:avLst/>
            <a:gdLst>
              <a:gd name="connsiteX0" fmla="*/ 252928 w 252928"/>
              <a:gd name="connsiteY0" fmla="*/ 39658 h 536396"/>
              <a:gd name="connsiteX1" fmla="*/ 204843 w 252928"/>
              <a:gd name="connsiteY1" fmla="*/ 26625 h 536396"/>
              <a:gd name="connsiteX2" fmla="*/ 76292 w 252928"/>
              <a:gd name="connsiteY2" fmla="*/ 5153 h 536396"/>
              <a:gd name="connsiteX3" fmla="*/ 0 w 252928"/>
              <a:gd name="connsiteY3" fmla="*/ 0 h 536396"/>
              <a:gd name="connsiteX4" fmla="*/ 0 w 252928"/>
              <a:gd name="connsiteY4" fmla="*/ 139902 h 536396"/>
              <a:gd name="connsiteX5" fmla="*/ 0 w 252928"/>
              <a:gd name="connsiteY5" fmla="*/ 139903 h 536396"/>
              <a:gd name="connsiteX6" fmla="*/ 0 w 252928"/>
              <a:gd name="connsiteY6" fmla="*/ 409932 h 536396"/>
              <a:gd name="connsiteX7" fmla="*/ 126464 w 252928"/>
              <a:gd name="connsiteY7" fmla="*/ 536396 h 536396"/>
              <a:gd name="connsiteX8" fmla="*/ 242990 w 252928"/>
              <a:gd name="connsiteY8" fmla="*/ 459157 h 536396"/>
              <a:gd name="connsiteX9" fmla="*/ 252928 w 252928"/>
              <a:gd name="connsiteY9" fmla="*/ 409935 h 536396"/>
              <a:gd name="connsiteX10" fmla="*/ 252928 w 252928"/>
              <a:gd name="connsiteY10" fmla="*/ 39658 h 536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252928" h="536396">
                <a:moveTo>
                  <a:pt x="252928" y="39658"/>
                </a:moveTo>
                <a:lnTo>
                  <a:pt x="204843" y="26625"/>
                </a:lnTo>
                <a:cubicBezTo>
                  <a:pt x="162163" y="17313"/>
                  <a:pt x="119262" y="10169"/>
                  <a:pt x="76292" y="5153"/>
                </a:cubicBezTo>
                <a:lnTo>
                  <a:pt x="0" y="0"/>
                </a:lnTo>
                <a:lnTo>
                  <a:pt x="0" y="139902"/>
                </a:lnTo>
                <a:lnTo>
                  <a:pt x="0" y="139903"/>
                </a:lnTo>
                <a:lnTo>
                  <a:pt x="0" y="409932"/>
                </a:lnTo>
                <a:cubicBezTo>
                  <a:pt x="0" y="479776"/>
                  <a:pt x="56620" y="536396"/>
                  <a:pt x="126464" y="536396"/>
                </a:cubicBezTo>
                <a:cubicBezTo>
                  <a:pt x="178847" y="536396"/>
                  <a:pt x="223792" y="504547"/>
                  <a:pt x="242990" y="459157"/>
                </a:cubicBezTo>
                <a:lnTo>
                  <a:pt x="252928" y="409935"/>
                </a:lnTo>
                <a:lnTo>
                  <a:pt x="252928" y="3965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EFC407DB-E3C3-4534-BCC6-E4F3F3ECDD0C}"/>
              </a:ext>
            </a:extLst>
          </p:cNvPr>
          <p:cNvSpPr/>
          <p:nvPr/>
        </p:nvSpPr>
        <p:spPr bwMode="auto">
          <a:xfrm rot="1775122" flipH="1">
            <a:off x="6139459" y="1219390"/>
            <a:ext cx="188905" cy="201772"/>
          </a:xfrm>
          <a:custGeom>
            <a:avLst/>
            <a:gdLst>
              <a:gd name="connsiteX0" fmla="*/ 252929 w 252929"/>
              <a:gd name="connsiteY0" fmla="*/ 3790 h 270156"/>
              <a:gd name="connsiteX1" fmla="*/ 200259 w 252929"/>
              <a:gd name="connsiteY1" fmla="*/ 232 h 270156"/>
              <a:gd name="connsiteX2" fmla="*/ 71799 w 252929"/>
              <a:gd name="connsiteY2" fmla="*/ 4031 h 270156"/>
              <a:gd name="connsiteX3" fmla="*/ 0 w 252929"/>
              <a:gd name="connsiteY3" fmla="*/ 13106 h 270156"/>
              <a:gd name="connsiteX4" fmla="*/ 0 w 252929"/>
              <a:gd name="connsiteY4" fmla="*/ 143692 h 270156"/>
              <a:gd name="connsiteX5" fmla="*/ 126465 w 252929"/>
              <a:gd name="connsiteY5" fmla="*/ 270156 h 270156"/>
              <a:gd name="connsiteX6" fmla="*/ 242991 w 252929"/>
              <a:gd name="connsiteY6" fmla="*/ 192917 h 270156"/>
              <a:gd name="connsiteX7" fmla="*/ 252929 w 252929"/>
              <a:gd name="connsiteY7" fmla="*/ 143693 h 270156"/>
              <a:gd name="connsiteX8" fmla="*/ 252929 w 252929"/>
              <a:gd name="connsiteY8" fmla="*/ 3790 h 2701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929" h="270156">
                <a:moveTo>
                  <a:pt x="252929" y="3790"/>
                </a:moveTo>
                <a:lnTo>
                  <a:pt x="200259" y="232"/>
                </a:lnTo>
                <a:cubicBezTo>
                  <a:pt x="157305" y="-572"/>
                  <a:pt x="114434" y="708"/>
                  <a:pt x="71799" y="4031"/>
                </a:cubicBezTo>
                <a:lnTo>
                  <a:pt x="0" y="13106"/>
                </a:lnTo>
                <a:lnTo>
                  <a:pt x="0" y="143692"/>
                </a:lnTo>
                <a:cubicBezTo>
                  <a:pt x="1" y="213536"/>
                  <a:pt x="56621" y="270156"/>
                  <a:pt x="126465" y="270156"/>
                </a:cubicBezTo>
                <a:cubicBezTo>
                  <a:pt x="178848" y="270156"/>
                  <a:pt x="223792" y="238307"/>
                  <a:pt x="242991" y="192917"/>
                </a:cubicBezTo>
                <a:lnTo>
                  <a:pt x="252929" y="143693"/>
                </a:lnTo>
                <a:lnTo>
                  <a:pt x="252929" y="3790"/>
                </a:lnTo>
                <a:close/>
              </a:path>
            </a:pathLst>
          </a:custGeom>
          <a:solidFill>
            <a:schemeClr val="accent1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47500" lnSpcReduction="20000"/>
          </a:bodyPr>
          <a:lstStyle/>
          <a:p>
            <a:pPr algn="ctr"/>
            <a:endParaRPr/>
          </a:p>
        </p:txBody>
      </p:sp>
      <p:sp>
        <p:nvSpPr>
          <p:cNvPr id="34" name="任意多边形: 形状 33">
            <a:extLst>
              <a:ext uri="{FF2B5EF4-FFF2-40B4-BE49-F238E27FC236}">
                <a16:creationId xmlns:a16="http://schemas.microsoft.com/office/drawing/2014/main" id="{8BF1CE5A-F1FF-46F0-B1CF-2B9209689386}"/>
              </a:ext>
            </a:extLst>
          </p:cNvPr>
          <p:cNvSpPr/>
          <p:nvPr/>
        </p:nvSpPr>
        <p:spPr bwMode="auto">
          <a:xfrm rot="1775122" flipH="1">
            <a:off x="5395635" y="2602190"/>
            <a:ext cx="188905" cy="434464"/>
          </a:xfrm>
          <a:custGeom>
            <a:avLst/>
            <a:gdLst>
              <a:gd name="connsiteX0" fmla="*/ 175690 w 252929"/>
              <a:gd name="connsiteY0" fmla="*/ 9938 h 581712"/>
              <a:gd name="connsiteX1" fmla="*/ 126465 w 252929"/>
              <a:gd name="connsiteY1" fmla="*/ 0 h 581712"/>
              <a:gd name="connsiteX2" fmla="*/ 1 w 252929"/>
              <a:gd name="connsiteY2" fmla="*/ 126464 h 581712"/>
              <a:gd name="connsiteX3" fmla="*/ 1 w 252929"/>
              <a:gd name="connsiteY3" fmla="*/ 187439 h 581712"/>
              <a:gd name="connsiteX4" fmla="*/ 1 w 252929"/>
              <a:gd name="connsiteY4" fmla="*/ 548702 h 581712"/>
              <a:gd name="connsiteX5" fmla="*/ 15417 w 252929"/>
              <a:gd name="connsiteY5" fmla="*/ 552880 h 581712"/>
              <a:gd name="connsiteX6" fmla="*/ 143968 w 252929"/>
              <a:gd name="connsiteY6" fmla="*/ 574352 h 581712"/>
              <a:gd name="connsiteX7" fmla="*/ 252928 w 252929"/>
              <a:gd name="connsiteY7" fmla="*/ 581712 h 581712"/>
              <a:gd name="connsiteX8" fmla="*/ 252929 w 252929"/>
              <a:gd name="connsiteY8" fmla="*/ 126464 h 581712"/>
              <a:gd name="connsiteX9" fmla="*/ 175690 w 252929"/>
              <a:gd name="connsiteY9" fmla="*/ 9938 h 581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52929" h="581712">
                <a:moveTo>
                  <a:pt x="175690" y="9938"/>
                </a:moveTo>
                <a:cubicBezTo>
                  <a:pt x="160561" y="3539"/>
                  <a:pt x="143926" y="0"/>
                  <a:pt x="126465" y="0"/>
                </a:cubicBezTo>
                <a:cubicBezTo>
                  <a:pt x="56621" y="0"/>
                  <a:pt x="0" y="56620"/>
                  <a:pt x="1" y="126464"/>
                </a:cubicBezTo>
                <a:lnTo>
                  <a:pt x="1" y="187439"/>
                </a:lnTo>
                <a:lnTo>
                  <a:pt x="1" y="548702"/>
                </a:lnTo>
                <a:lnTo>
                  <a:pt x="15417" y="552880"/>
                </a:lnTo>
                <a:cubicBezTo>
                  <a:pt x="58097" y="562192"/>
                  <a:pt x="100998" y="569336"/>
                  <a:pt x="143968" y="574352"/>
                </a:cubicBezTo>
                <a:lnTo>
                  <a:pt x="252928" y="581712"/>
                </a:lnTo>
                <a:lnTo>
                  <a:pt x="252929" y="126464"/>
                </a:lnTo>
                <a:cubicBezTo>
                  <a:pt x="252929" y="74081"/>
                  <a:pt x="221080" y="29137"/>
                  <a:pt x="175690" y="9938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35" name="任意多边形: 形状 34">
            <a:extLst>
              <a:ext uri="{FF2B5EF4-FFF2-40B4-BE49-F238E27FC236}">
                <a16:creationId xmlns:a16="http://schemas.microsoft.com/office/drawing/2014/main" id="{4F1608C3-1FC5-44CE-9980-CE03ADFB2792}"/>
              </a:ext>
            </a:extLst>
          </p:cNvPr>
          <p:cNvSpPr/>
          <p:nvPr/>
        </p:nvSpPr>
        <p:spPr bwMode="auto">
          <a:xfrm rot="1775122" flipH="1">
            <a:off x="5589230" y="2609082"/>
            <a:ext cx="188905" cy="503926"/>
          </a:xfrm>
          <a:custGeom>
            <a:avLst/>
            <a:gdLst>
              <a:gd name="connsiteX0" fmla="*/ 175689 w 252928"/>
              <a:gd name="connsiteY0" fmla="*/ 9938 h 674716"/>
              <a:gd name="connsiteX1" fmla="*/ 126464 w 252928"/>
              <a:gd name="connsiteY1" fmla="*/ 0 h 674716"/>
              <a:gd name="connsiteX2" fmla="*/ 0 w 252928"/>
              <a:gd name="connsiteY2" fmla="*/ 126464 h 674716"/>
              <a:gd name="connsiteX3" fmla="*/ 0 w 252928"/>
              <a:gd name="connsiteY3" fmla="*/ 378487 h 674716"/>
              <a:gd name="connsiteX4" fmla="*/ 1 w 252928"/>
              <a:gd name="connsiteY4" fmla="*/ 378491 h 674716"/>
              <a:gd name="connsiteX5" fmla="*/ 1 w 252928"/>
              <a:gd name="connsiteY5" fmla="*/ 588552 h 674716"/>
              <a:gd name="connsiteX6" fmla="*/ 16124 w 252928"/>
              <a:gd name="connsiteY6" fmla="*/ 596660 h 674716"/>
              <a:gd name="connsiteX7" fmla="*/ 141116 w 252928"/>
              <a:gd name="connsiteY7" fmla="*/ 644409 h 674716"/>
              <a:gd name="connsiteX8" fmla="*/ 252928 w 252928"/>
              <a:gd name="connsiteY8" fmla="*/ 674716 h 674716"/>
              <a:gd name="connsiteX9" fmla="*/ 252928 w 252928"/>
              <a:gd name="connsiteY9" fmla="*/ 313453 h 674716"/>
              <a:gd name="connsiteX10" fmla="*/ 252928 w 252928"/>
              <a:gd name="connsiteY10" fmla="*/ 126464 h 674716"/>
              <a:gd name="connsiteX11" fmla="*/ 175689 w 252928"/>
              <a:gd name="connsiteY11" fmla="*/ 9938 h 674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52928" h="674716">
                <a:moveTo>
                  <a:pt x="175689" y="9938"/>
                </a:moveTo>
                <a:cubicBezTo>
                  <a:pt x="160560" y="3539"/>
                  <a:pt x="143925" y="0"/>
                  <a:pt x="126464" y="0"/>
                </a:cubicBezTo>
                <a:cubicBezTo>
                  <a:pt x="56620" y="0"/>
                  <a:pt x="0" y="56620"/>
                  <a:pt x="0" y="126464"/>
                </a:cubicBezTo>
                <a:lnTo>
                  <a:pt x="0" y="378487"/>
                </a:lnTo>
                <a:lnTo>
                  <a:pt x="1" y="378491"/>
                </a:lnTo>
                <a:lnTo>
                  <a:pt x="1" y="588552"/>
                </a:lnTo>
                <a:lnTo>
                  <a:pt x="16124" y="596660"/>
                </a:lnTo>
                <a:cubicBezTo>
                  <a:pt x="57314" y="614816"/>
                  <a:pt x="99029" y="630718"/>
                  <a:pt x="141116" y="644409"/>
                </a:cubicBezTo>
                <a:lnTo>
                  <a:pt x="252928" y="674716"/>
                </a:lnTo>
                <a:lnTo>
                  <a:pt x="252928" y="313453"/>
                </a:lnTo>
                <a:lnTo>
                  <a:pt x="252928" y="126464"/>
                </a:lnTo>
                <a:cubicBezTo>
                  <a:pt x="252928" y="74081"/>
                  <a:pt x="221079" y="29137"/>
                  <a:pt x="175689" y="9938"/>
                </a:cubicBezTo>
                <a:close/>
              </a:path>
            </a:pathLst>
          </a:custGeom>
          <a:solidFill>
            <a:schemeClr val="accent1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43FA61EC-B652-4178-A46A-65B584DCD396}"/>
              </a:ext>
            </a:extLst>
          </p:cNvPr>
          <p:cNvSpPr/>
          <p:nvPr/>
        </p:nvSpPr>
        <p:spPr bwMode="auto">
          <a:xfrm rot="1775122" flipH="1">
            <a:off x="5181281" y="2697378"/>
            <a:ext cx="188905" cy="233968"/>
          </a:xfrm>
          <a:custGeom>
            <a:avLst/>
            <a:gdLst>
              <a:gd name="connsiteX0" fmla="*/ 175689 w 252928"/>
              <a:gd name="connsiteY0" fmla="*/ 9939 h 313265"/>
              <a:gd name="connsiteX1" fmla="*/ 126464 w 252928"/>
              <a:gd name="connsiteY1" fmla="*/ 1 h 313265"/>
              <a:gd name="connsiteX2" fmla="*/ 0 w 252928"/>
              <a:gd name="connsiteY2" fmla="*/ 126464 h 313265"/>
              <a:gd name="connsiteX3" fmla="*/ 0 w 252928"/>
              <a:gd name="connsiteY3" fmla="*/ 311682 h 313265"/>
              <a:gd name="connsiteX4" fmla="*/ 20001 w 252928"/>
              <a:gd name="connsiteY4" fmla="*/ 313033 h 313265"/>
              <a:gd name="connsiteX5" fmla="*/ 148461 w 252928"/>
              <a:gd name="connsiteY5" fmla="*/ 309234 h 313265"/>
              <a:gd name="connsiteX6" fmla="*/ 252928 w 252928"/>
              <a:gd name="connsiteY6" fmla="*/ 296031 h 313265"/>
              <a:gd name="connsiteX7" fmla="*/ 252928 w 252928"/>
              <a:gd name="connsiteY7" fmla="*/ 126464 h 313265"/>
              <a:gd name="connsiteX8" fmla="*/ 175689 w 252928"/>
              <a:gd name="connsiteY8" fmla="*/ 9939 h 313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2928" h="313265">
                <a:moveTo>
                  <a:pt x="175689" y="9939"/>
                </a:moveTo>
                <a:cubicBezTo>
                  <a:pt x="160560" y="3539"/>
                  <a:pt x="143925" y="1"/>
                  <a:pt x="126464" y="1"/>
                </a:cubicBezTo>
                <a:cubicBezTo>
                  <a:pt x="56620" y="0"/>
                  <a:pt x="0" y="56620"/>
                  <a:pt x="0" y="126464"/>
                </a:cubicBezTo>
                <a:lnTo>
                  <a:pt x="0" y="311682"/>
                </a:lnTo>
                <a:lnTo>
                  <a:pt x="20001" y="313033"/>
                </a:lnTo>
                <a:cubicBezTo>
                  <a:pt x="62956" y="313837"/>
                  <a:pt x="105826" y="312557"/>
                  <a:pt x="148461" y="309234"/>
                </a:cubicBezTo>
                <a:lnTo>
                  <a:pt x="252928" y="296031"/>
                </a:lnTo>
                <a:lnTo>
                  <a:pt x="252928" y="126464"/>
                </a:lnTo>
                <a:cubicBezTo>
                  <a:pt x="252928" y="74081"/>
                  <a:pt x="221079" y="29137"/>
                  <a:pt x="175689" y="9939"/>
                </a:cubicBezTo>
                <a:close/>
              </a:path>
            </a:pathLst>
          </a:custGeom>
          <a:solidFill>
            <a:schemeClr val="accent1">
              <a:lumMod val="10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algn="ctr"/>
            <a:endParaRPr/>
          </a:p>
        </p:txBody>
      </p:sp>
      <p:sp>
        <p:nvSpPr>
          <p:cNvPr id="37" name="任意多边形: 形状 36">
            <a:extLst>
              <a:ext uri="{FF2B5EF4-FFF2-40B4-BE49-F238E27FC236}">
                <a16:creationId xmlns:a16="http://schemas.microsoft.com/office/drawing/2014/main" id="{FF2F5CE2-196F-454E-AEAF-44668ABDF319}"/>
              </a:ext>
            </a:extLst>
          </p:cNvPr>
          <p:cNvSpPr/>
          <p:nvPr/>
        </p:nvSpPr>
        <p:spPr bwMode="auto">
          <a:xfrm rot="1775122" flipH="1">
            <a:off x="5722925" y="2882504"/>
            <a:ext cx="188904" cy="251341"/>
          </a:xfrm>
          <a:custGeom>
            <a:avLst/>
            <a:gdLst>
              <a:gd name="connsiteX0" fmla="*/ 175689 w 252927"/>
              <a:gd name="connsiteY0" fmla="*/ 9939 h 336525"/>
              <a:gd name="connsiteX1" fmla="*/ 126464 w 252927"/>
              <a:gd name="connsiteY1" fmla="*/ 1 h 336525"/>
              <a:gd name="connsiteX2" fmla="*/ 0 w 252927"/>
              <a:gd name="connsiteY2" fmla="*/ 126464 h 336525"/>
              <a:gd name="connsiteX3" fmla="*/ 0 w 252927"/>
              <a:gd name="connsiteY3" fmla="*/ 184775 h 336525"/>
              <a:gd name="connsiteX4" fmla="*/ 32160 w 252927"/>
              <a:gd name="connsiteY4" fmla="*/ 210140 h 336525"/>
              <a:gd name="connsiteX5" fmla="*/ 147210 w 252927"/>
              <a:gd name="connsiteY5" fmla="*/ 283367 h 336525"/>
              <a:gd name="connsiteX6" fmla="*/ 252927 w 252927"/>
              <a:gd name="connsiteY6" fmla="*/ 336525 h 336525"/>
              <a:gd name="connsiteX7" fmla="*/ 252927 w 252927"/>
              <a:gd name="connsiteY7" fmla="*/ 126460 h 336525"/>
              <a:gd name="connsiteX8" fmla="*/ 242989 w 252927"/>
              <a:gd name="connsiteY8" fmla="*/ 77239 h 336525"/>
              <a:gd name="connsiteX9" fmla="*/ 175689 w 252927"/>
              <a:gd name="connsiteY9" fmla="*/ 9939 h 336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52927" h="336525">
                <a:moveTo>
                  <a:pt x="175689" y="9939"/>
                </a:moveTo>
                <a:cubicBezTo>
                  <a:pt x="160559" y="3539"/>
                  <a:pt x="143925" y="1"/>
                  <a:pt x="126464" y="1"/>
                </a:cubicBezTo>
                <a:cubicBezTo>
                  <a:pt x="56620" y="0"/>
                  <a:pt x="-1" y="56620"/>
                  <a:pt x="0" y="126464"/>
                </a:cubicBezTo>
                <a:lnTo>
                  <a:pt x="0" y="184775"/>
                </a:lnTo>
                <a:lnTo>
                  <a:pt x="32160" y="210140"/>
                </a:lnTo>
                <a:cubicBezTo>
                  <a:pt x="68858" y="236205"/>
                  <a:pt x="107222" y="260665"/>
                  <a:pt x="147210" y="283367"/>
                </a:cubicBezTo>
                <a:lnTo>
                  <a:pt x="252927" y="336525"/>
                </a:lnTo>
                <a:lnTo>
                  <a:pt x="252927" y="126460"/>
                </a:lnTo>
                <a:lnTo>
                  <a:pt x="242989" y="77239"/>
                </a:lnTo>
                <a:cubicBezTo>
                  <a:pt x="230191" y="46979"/>
                  <a:pt x="205949" y="22737"/>
                  <a:pt x="175689" y="9939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70000" lnSpcReduction="20000"/>
          </a:bodyPr>
          <a:lstStyle/>
          <a:p>
            <a:pPr algn="ctr"/>
            <a:endParaRPr/>
          </a:p>
        </p:txBody>
      </p:sp>
      <p:sp>
        <p:nvSpPr>
          <p:cNvPr id="27" name="等腰三角形 26">
            <a:extLst>
              <a:ext uri="{FF2B5EF4-FFF2-40B4-BE49-F238E27FC236}">
                <a16:creationId xmlns:a16="http://schemas.microsoft.com/office/drawing/2014/main" id="{72D92BD8-2C72-4F98-A123-E6424F17695F}"/>
              </a:ext>
            </a:extLst>
          </p:cNvPr>
          <p:cNvSpPr/>
          <p:nvPr/>
        </p:nvSpPr>
        <p:spPr bwMode="auto">
          <a:xfrm rot="10800000">
            <a:off x="1665232" y="4203166"/>
            <a:ext cx="530336" cy="343159"/>
          </a:xfrm>
          <a:prstGeom prst="triangle">
            <a:avLst/>
          </a:prstGeom>
          <a:solidFill>
            <a:schemeClr val="bg1">
              <a:lumMod val="65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32500" lnSpcReduction="20000"/>
          </a:bodyPr>
          <a:lstStyle/>
          <a:p>
            <a:pPr algn="ctr"/>
            <a:endParaRPr/>
          </a:p>
        </p:txBody>
      </p:sp>
      <p:sp>
        <p:nvSpPr>
          <p:cNvPr id="28" name="椭圆 27">
            <a:extLst>
              <a:ext uri="{FF2B5EF4-FFF2-40B4-BE49-F238E27FC236}">
                <a16:creationId xmlns:a16="http://schemas.microsoft.com/office/drawing/2014/main" id="{FF1F9DB4-C486-406F-BBFF-1D1586DD1AF0}"/>
              </a:ext>
            </a:extLst>
          </p:cNvPr>
          <p:cNvSpPr/>
          <p:nvPr/>
        </p:nvSpPr>
        <p:spPr bwMode="auto">
          <a:xfrm>
            <a:off x="1517050" y="3548045"/>
            <a:ext cx="826701" cy="82670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1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Impact" panose="020B0806030902050204" pitchFamily="34" charset="0"/>
              </a:rPr>
              <a:t>01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B9D506D4-0747-4583-A8C6-83F861E7803F}"/>
              </a:ext>
            </a:extLst>
          </p:cNvPr>
          <p:cNvSpPr txBox="1"/>
          <p:nvPr/>
        </p:nvSpPr>
        <p:spPr bwMode="auto">
          <a:xfrm>
            <a:off x="673101" y="5201447"/>
            <a:ext cx="2514600" cy="5614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0">
            <a:norm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altLang="zh-CN" sz="1200" dirty="0"/>
              <a:t>Copy paste fonts. Choose the only option to retain text.</a:t>
            </a:r>
            <a:r>
              <a:rPr lang="zh-CN" altLang="en-US" sz="1200" dirty="0"/>
              <a:t> 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1505C1D3-6C22-4674-82C0-B24CFF133735}"/>
              </a:ext>
            </a:extLst>
          </p:cNvPr>
          <p:cNvSpPr/>
          <p:nvPr/>
        </p:nvSpPr>
        <p:spPr>
          <a:xfrm>
            <a:off x="673101" y="4832115"/>
            <a:ext cx="2514600" cy="369332"/>
          </a:xfrm>
          <a:prstGeom prst="rect">
            <a:avLst/>
          </a:prstGeom>
          <a:noFill/>
        </p:spPr>
        <p:txBody>
          <a:bodyPr wrap="square" lIns="91440" tIns="45720" rIns="91440" bIns="45720">
            <a:normAutofit fontScale="92500" lnSpcReduction="20000"/>
          </a:bodyPr>
          <a:lstStyle/>
          <a:p>
            <a:pPr algn="ctr"/>
            <a:r>
              <a:rPr lang="en-US" altLang="zh-CN" sz="2400" b="1" dirty="0"/>
              <a:t>Text here</a:t>
            </a:r>
            <a:endParaRPr lang="zh-CN" altLang="en-US" sz="2400" b="1" dirty="0"/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1E055DD9-964F-4FF0-9830-437ECFE8E20C}"/>
              </a:ext>
            </a:extLst>
          </p:cNvPr>
          <p:cNvSpPr txBox="1"/>
          <p:nvPr/>
        </p:nvSpPr>
        <p:spPr bwMode="auto">
          <a:xfrm>
            <a:off x="3450167" y="5201447"/>
            <a:ext cx="2514600" cy="5614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0">
            <a:norm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altLang="zh-CN" sz="1200" dirty="0"/>
              <a:t>Copy paste fonts. Choose the only option to retain text.</a:t>
            </a:r>
            <a:r>
              <a:rPr lang="zh-CN" altLang="en-US" sz="1200" dirty="0"/>
              <a:t> </a:t>
            </a: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5973B9B6-2C0E-4D37-AD9D-40CF0E2DA987}"/>
              </a:ext>
            </a:extLst>
          </p:cNvPr>
          <p:cNvSpPr/>
          <p:nvPr/>
        </p:nvSpPr>
        <p:spPr>
          <a:xfrm>
            <a:off x="3450167" y="4832115"/>
            <a:ext cx="2514600" cy="369332"/>
          </a:xfrm>
          <a:prstGeom prst="rect">
            <a:avLst/>
          </a:prstGeom>
          <a:noFill/>
        </p:spPr>
        <p:txBody>
          <a:bodyPr wrap="square" lIns="91440" tIns="45720" rIns="91440" bIns="45720">
            <a:normAutofit fontScale="92500" lnSpcReduction="20000"/>
          </a:bodyPr>
          <a:lstStyle/>
          <a:p>
            <a:pPr algn="ctr"/>
            <a:r>
              <a:rPr lang="en-US" altLang="zh-CN" sz="2400" b="1" dirty="0"/>
              <a:t>Text here</a:t>
            </a:r>
            <a:endParaRPr lang="zh-CN" altLang="en-US" sz="2400" b="1" dirty="0"/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F9AAFB33-5933-4616-9D70-F83DDAB72815}"/>
              </a:ext>
            </a:extLst>
          </p:cNvPr>
          <p:cNvSpPr txBox="1"/>
          <p:nvPr/>
        </p:nvSpPr>
        <p:spPr bwMode="auto">
          <a:xfrm>
            <a:off x="6227233" y="5201447"/>
            <a:ext cx="2514600" cy="5614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0">
            <a:norm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altLang="zh-CN" sz="1200" dirty="0"/>
              <a:t>Copy paste fonts. Choose the only option to retain text.</a:t>
            </a:r>
            <a:r>
              <a:rPr lang="zh-CN" altLang="en-US" sz="1200" dirty="0"/>
              <a:t> 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C479AE83-A1BF-474D-B194-5535F4AB934F}"/>
              </a:ext>
            </a:extLst>
          </p:cNvPr>
          <p:cNvSpPr/>
          <p:nvPr/>
        </p:nvSpPr>
        <p:spPr>
          <a:xfrm>
            <a:off x="6227233" y="4832115"/>
            <a:ext cx="2514600" cy="369332"/>
          </a:xfrm>
          <a:prstGeom prst="rect">
            <a:avLst/>
          </a:prstGeom>
          <a:noFill/>
        </p:spPr>
        <p:txBody>
          <a:bodyPr wrap="square" lIns="91440" tIns="45720" rIns="91440" bIns="45720">
            <a:normAutofit fontScale="92500" lnSpcReduction="20000"/>
          </a:bodyPr>
          <a:lstStyle/>
          <a:p>
            <a:pPr algn="ctr"/>
            <a:r>
              <a:rPr lang="en-US" altLang="zh-CN" sz="2400" b="1" dirty="0"/>
              <a:t>Text here</a:t>
            </a:r>
            <a:endParaRPr lang="zh-CN" altLang="en-US" sz="2400" b="1" dirty="0"/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12BCB8B6-41A5-4562-B56C-20CB75CF7B43}"/>
              </a:ext>
            </a:extLst>
          </p:cNvPr>
          <p:cNvSpPr txBox="1"/>
          <p:nvPr/>
        </p:nvSpPr>
        <p:spPr bwMode="auto">
          <a:xfrm>
            <a:off x="9004300" y="5201447"/>
            <a:ext cx="2514600" cy="5614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0">
            <a:norm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algn="ctr">
              <a:lnSpc>
                <a:spcPct val="120000"/>
              </a:lnSpc>
              <a:defRPr/>
            </a:pPr>
            <a:r>
              <a:rPr lang="en-US" altLang="zh-CN" sz="1200" dirty="0"/>
              <a:t>Copy paste fonts. Choose the only option to retain text.</a:t>
            </a:r>
            <a:r>
              <a:rPr lang="zh-CN" altLang="en-US" sz="1200" dirty="0"/>
              <a:t> 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3E1DEF03-88D0-485A-86B5-CBCC564C1D21}"/>
              </a:ext>
            </a:extLst>
          </p:cNvPr>
          <p:cNvSpPr/>
          <p:nvPr/>
        </p:nvSpPr>
        <p:spPr>
          <a:xfrm>
            <a:off x="9004300" y="4832115"/>
            <a:ext cx="2514600" cy="369332"/>
          </a:xfrm>
          <a:prstGeom prst="rect">
            <a:avLst/>
          </a:prstGeom>
          <a:noFill/>
        </p:spPr>
        <p:txBody>
          <a:bodyPr wrap="square" lIns="91440" tIns="45720" rIns="91440" bIns="45720">
            <a:normAutofit fontScale="92500" lnSpcReduction="20000"/>
          </a:bodyPr>
          <a:lstStyle/>
          <a:p>
            <a:pPr algn="ctr"/>
            <a:r>
              <a:rPr lang="en-US" altLang="zh-CN" sz="2400" b="1" dirty="0"/>
              <a:t>Text here</a:t>
            </a:r>
            <a:endParaRPr lang="zh-CN" altLang="en-US" sz="2400" b="1" dirty="0"/>
          </a:p>
        </p:txBody>
      </p:sp>
      <p:sp>
        <p:nvSpPr>
          <p:cNvPr id="17" name="等腰三角形 16">
            <a:extLst>
              <a:ext uri="{FF2B5EF4-FFF2-40B4-BE49-F238E27FC236}">
                <a16:creationId xmlns:a16="http://schemas.microsoft.com/office/drawing/2014/main" id="{8BAB32B6-9010-4B2B-A2FA-0A473CDBCD5A}"/>
              </a:ext>
            </a:extLst>
          </p:cNvPr>
          <p:cNvSpPr/>
          <p:nvPr/>
        </p:nvSpPr>
        <p:spPr bwMode="auto">
          <a:xfrm rot="10800000">
            <a:off x="4442298" y="4203166"/>
            <a:ext cx="530336" cy="343159"/>
          </a:xfrm>
          <a:prstGeom prst="triangle">
            <a:avLst/>
          </a:prstGeom>
          <a:solidFill>
            <a:schemeClr val="accent1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32500" lnSpcReduction="20000"/>
          </a:bodyPr>
          <a:lstStyle/>
          <a:p>
            <a:pPr algn="ctr"/>
            <a:endParaRPr/>
          </a:p>
        </p:txBody>
      </p:sp>
      <p:sp>
        <p:nvSpPr>
          <p:cNvPr id="18" name="椭圆 17">
            <a:extLst>
              <a:ext uri="{FF2B5EF4-FFF2-40B4-BE49-F238E27FC236}">
                <a16:creationId xmlns:a16="http://schemas.microsoft.com/office/drawing/2014/main" id="{E3CA6165-4E75-41DC-BE14-1886EEB7CCAD}"/>
              </a:ext>
            </a:extLst>
          </p:cNvPr>
          <p:cNvSpPr/>
          <p:nvPr/>
        </p:nvSpPr>
        <p:spPr bwMode="auto">
          <a:xfrm>
            <a:off x="4294116" y="3548045"/>
            <a:ext cx="826701" cy="82670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1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2400" dirty="0">
                <a:solidFill>
                  <a:schemeClr val="accent1"/>
                </a:solidFill>
                <a:latin typeface="Impact" panose="020B0806030902050204" pitchFamily="34" charset="0"/>
              </a:rPr>
              <a:t>02</a:t>
            </a:r>
          </a:p>
        </p:txBody>
      </p:sp>
      <p:sp>
        <p:nvSpPr>
          <p:cNvPr id="15" name="等腰三角形 14">
            <a:extLst>
              <a:ext uri="{FF2B5EF4-FFF2-40B4-BE49-F238E27FC236}">
                <a16:creationId xmlns:a16="http://schemas.microsoft.com/office/drawing/2014/main" id="{0C2D317F-3F87-428B-B773-9C34C66CFBE0}"/>
              </a:ext>
            </a:extLst>
          </p:cNvPr>
          <p:cNvSpPr/>
          <p:nvPr/>
        </p:nvSpPr>
        <p:spPr bwMode="auto">
          <a:xfrm rot="10800000">
            <a:off x="7219364" y="4203166"/>
            <a:ext cx="530336" cy="343159"/>
          </a:xfrm>
          <a:prstGeom prst="triangle">
            <a:avLst/>
          </a:prstGeom>
          <a:solidFill>
            <a:schemeClr val="bg1">
              <a:lumMod val="65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32500" lnSpcReduction="20000"/>
          </a:bodyPr>
          <a:lstStyle/>
          <a:p>
            <a:pPr algn="ctr"/>
            <a:endParaRPr/>
          </a:p>
        </p:txBody>
      </p:sp>
      <p:sp>
        <p:nvSpPr>
          <p:cNvPr id="16" name="椭圆 15">
            <a:extLst>
              <a:ext uri="{FF2B5EF4-FFF2-40B4-BE49-F238E27FC236}">
                <a16:creationId xmlns:a16="http://schemas.microsoft.com/office/drawing/2014/main" id="{7B932C5B-5D6E-4B60-81B3-7904769A30AF}"/>
              </a:ext>
            </a:extLst>
          </p:cNvPr>
          <p:cNvSpPr/>
          <p:nvPr/>
        </p:nvSpPr>
        <p:spPr bwMode="auto">
          <a:xfrm>
            <a:off x="7071182" y="3548045"/>
            <a:ext cx="826701" cy="82670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1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Impact" panose="020B0806030902050204" pitchFamily="34" charset="0"/>
              </a:rPr>
              <a:t>03</a:t>
            </a:r>
          </a:p>
        </p:txBody>
      </p:sp>
      <p:sp>
        <p:nvSpPr>
          <p:cNvPr id="13" name="等腰三角形 12">
            <a:extLst>
              <a:ext uri="{FF2B5EF4-FFF2-40B4-BE49-F238E27FC236}">
                <a16:creationId xmlns:a16="http://schemas.microsoft.com/office/drawing/2014/main" id="{EF0755C0-F9D5-4619-BA71-92DD9BF273DB}"/>
              </a:ext>
            </a:extLst>
          </p:cNvPr>
          <p:cNvSpPr/>
          <p:nvPr/>
        </p:nvSpPr>
        <p:spPr bwMode="auto">
          <a:xfrm rot="10800000">
            <a:off x="9996430" y="4203166"/>
            <a:ext cx="530336" cy="343159"/>
          </a:xfrm>
          <a:prstGeom prst="triangle">
            <a:avLst/>
          </a:prstGeom>
          <a:solidFill>
            <a:schemeClr val="accent1"/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32500" lnSpcReduction="20000"/>
          </a:bodyPr>
          <a:lstStyle/>
          <a:p>
            <a:pPr algn="ctr"/>
            <a:endParaRPr/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68606CF1-7AED-4E7B-A36D-CE161CD689D6}"/>
              </a:ext>
            </a:extLst>
          </p:cNvPr>
          <p:cNvSpPr/>
          <p:nvPr/>
        </p:nvSpPr>
        <p:spPr bwMode="auto">
          <a:xfrm>
            <a:off x="9848248" y="3548045"/>
            <a:ext cx="826701" cy="826701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  <a:round/>
            <a:headEnd/>
            <a:tailEnd/>
          </a:ln>
        </p:spPr>
        <p:txBody>
          <a:bodyPr rot="0" spcFirstLastPara="0" vert="horz" wrap="square" lIns="91440" tIns="45720" rIns="91440" bIns="45720" anchor="ctr" anchorCtr="1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2400" dirty="0">
                <a:solidFill>
                  <a:schemeClr val="accent1"/>
                </a:solidFill>
                <a:latin typeface="Impact" panose="020B0806030902050204" pitchFamily="34" charset="0"/>
              </a:rPr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5568566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383A4DB-5DFC-4B06-953B-1EC93BDFDF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2864F62-CD6C-48D1-8842-25D318B8E3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C499162-D9FB-42A2-8613-49D1F7CC2A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0</a:t>
            </a:fld>
            <a:endParaRPr lang="zh-CN" altLang="en-US"/>
          </a:p>
        </p:txBody>
      </p:sp>
      <p:sp>
        <p:nvSpPr>
          <p:cNvPr id="42" name="任意多边形: 形状 41"/>
          <p:cNvSpPr/>
          <p:nvPr/>
        </p:nvSpPr>
        <p:spPr>
          <a:xfrm>
            <a:off x="3688240" y="2339987"/>
            <a:ext cx="925951" cy="2089375"/>
          </a:xfrm>
          <a:custGeom>
            <a:avLst/>
            <a:gdLst/>
            <a:ahLst/>
            <a:cxnLst/>
            <a:rect l="l" t="t" r="r" b="b"/>
            <a:pathLst>
              <a:path w="409" h="922" extrusionOk="0">
                <a:moveTo>
                  <a:pt x="400" y="114"/>
                </a:moveTo>
                <a:cubicBezTo>
                  <a:pt x="394" y="103"/>
                  <a:pt x="393" y="85"/>
                  <a:pt x="393" y="85"/>
                </a:cubicBezTo>
                <a:cubicBezTo>
                  <a:pt x="374" y="52"/>
                  <a:pt x="311" y="82"/>
                  <a:pt x="311" y="82"/>
                </a:cubicBezTo>
                <a:cubicBezTo>
                  <a:pt x="296" y="80"/>
                  <a:pt x="277" y="90"/>
                  <a:pt x="272" y="90"/>
                </a:cubicBezTo>
                <a:cubicBezTo>
                  <a:pt x="266" y="89"/>
                  <a:pt x="260" y="91"/>
                  <a:pt x="260" y="91"/>
                </a:cubicBezTo>
                <a:cubicBezTo>
                  <a:pt x="261" y="82"/>
                  <a:pt x="254" y="83"/>
                  <a:pt x="254" y="83"/>
                </a:cubicBezTo>
                <a:cubicBezTo>
                  <a:pt x="264" y="0"/>
                  <a:pt x="199" y="6"/>
                  <a:pt x="199" y="6"/>
                </a:cubicBezTo>
                <a:cubicBezTo>
                  <a:pt x="125" y="5"/>
                  <a:pt x="143" y="89"/>
                  <a:pt x="143" y="89"/>
                </a:cubicBezTo>
                <a:cubicBezTo>
                  <a:pt x="125" y="69"/>
                  <a:pt x="142" y="112"/>
                  <a:pt x="142" y="112"/>
                </a:cubicBezTo>
                <a:cubicBezTo>
                  <a:pt x="119" y="114"/>
                  <a:pt x="81" y="151"/>
                  <a:pt x="81" y="151"/>
                </a:cubicBezTo>
                <a:cubicBezTo>
                  <a:pt x="50" y="167"/>
                  <a:pt x="56" y="221"/>
                  <a:pt x="44" y="230"/>
                </a:cubicBezTo>
                <a:cubicBezTo>
                  <a:pt x="32" y="239"/>
                  <a:pt x="13" y="303"/>
                  <a:pt x="13" y="310"/>
                </a:cubicBezTo>
                <a:cubicBezTo>
                  <a:pt x="12" y="316"/>
                  <a:pt x="14" y="326"/>
                  <a:pt x="7" y="341"/>
                </a:cubicBezTo>
                <a:cubicBezTo>
                  <a:pt x="1" y="356"/>
                  <a:pt x="0" y="355"/>
                  <a:pt x="8" y="373"/>
                </a:cubicBezTo>
                <a:cubicBezTo>
                  <a:pt x="17" y="391"/>
                  <a:pt x="25" y="388"/>
                  <a:pt x="25" y="388"/>
                </a:cubicBezTo>
                <a:cubicBezTo>
                  <a:pt x="29" y="386"/>
                  <a:pt x="36" y="388"/>
                  <a:pt x="36" y="388"/>
                </a:cubicBezTo>
                <a:cubicBezTo>
                  <a:pt x="54" y="391"/>
                  <a:pt x="89" y="382"/>
                  <a:pt x="89" y="382"/>
                </a:cubicBezTo>
                <a:cubicBezTo>
                  <a:pt x="89" y="387"/>
                  <a:pt x="89" y="387"/>
                  <a:pt x="89" y="387"/>
                </a:cubicBezTo>
                <a:cubicBezTo>
                  <a:pt x="84" y="389"/>
                  <a:pt x="85" y="405"/>
                  <a:pt x="85" y="405"/>
                </a:cubicBezTo>
                <a:cubicBezTo>
                  <a:pt x="80" y="415"/>
                  <a:pt x="87" y="457"/>
                  <a:pt x="83" y="487"/>
                </a:cubicBezTo>
                <a:cubicBezTo>
                  <a:pt x="78" y="517"/>
                  <a:pt x="101" y="545"/>
                  <a:pt x="101" y="545"/>
                </a:cubicBezTo>
                <a:cubicBezTo>
                  <a:pt x="104" y="551"/>
                  <a:pt x="102" y="582"/>
                  <a:pt x="102" y="582"/>
                </a:cubicBezTo>
                <a:cubicBezTo>
                  <a:pt x="89" y="604"/>
                  <a:pt x="95" y="637"/>
                  <a:pt x="98" y="647"/>
                </a:cubicBezTo>
                <a:cubicBezTo>
                  <a:pt x="102" y="658"/>
                  <a:pt x="112" y="693"/>
                  <a:pt x="115" y="710"/>
                </a:cubicBezTo>
                <a:cubicBezTo>
                  <a:pt x="118" y="726"/>
                  <a:pt x="108" y="750"/>
                  <a:pt x="104" y="759"/>
                </a:cubicBezTo>
                <a:cubicBezTo>
                  <a:pt x="99" y="769"/>
                  <a:pt x="91" y="796"/>
                  <a:pt x="91" y="796"/>
                </a:cubicBezTo>
                <a:cubicBezTo>
                  <a:pt x="82" y="818"/>
                  <a:pt x="144" y="810"/>
                  <a:pt x="144" y="810"/>
                </a:cubicBezTo>
                <a:cubicBezTo>
                  <a:pt x="155" y="802"/>
                  <a:pt x="151" y="792"/>
                  <a:pt x="151" y="777"/>
                </a:cubicBezTo>
                <a:cubicBezTo>
                  <a:pt x="152" y="762"/>
                  <a:pt x="159" y="758"/>
                  <a:pt x="158" y="749"/>
                </a:cubicBezTo>
                <a:cubicBezTo>
                  <a:pt x="157" y="739"/>
                  <a:pt x="149" y="715"/>
                  <a:pt x="146" y="703"/>
                </a:cubicBezTo>
                <a:cubicBezTo>
                  <a:pt x="143" y="690"/>
                  <a:pt x="142" y="679"/>
                  <a:pt x="148" y="663"/>
                </a:cubicBezTo>
                <a:cubicBezTo>
                  <a:pt x="154" y="647"/>
                  <a:pt x="163" y="614"/>
                  <a:pt x="160" y="603"/>
                </a:cubicBezTo>
                <a:cubicBezTo>
                  <a:pt x="157" y="592"/>
                  <a:pt x="158" y="581"/>
                  <a:pt x="158" y="581"/>
                </a:cubicBezTo>
                <a:cubicBezTo>
                  <a:pt x="162" y="578"/>
                  <a:pt x="173" y="554"/>
                  <a:pt x="173" y="554"/>
                </a:cubicBezTo>
                <a:cubicBezTo>
                  <a:pt x="179" y="550"/>
                  <a:pt x="188" y="508"/>
                  <a:pt x="189" y="506"/>
                </a:cubicBezTo>
                <a:cubicBezTo>
                  <a:pt x="191" y="504"/>
                  <a:pt x="193" y="474"/>
                  <a:pt x="199" y="468"/>
                </a:cubicBezTo>
                <a:cubicBezTo>
                  <a:pt x="204" y="463"/>
                  <a:pt x="208" y="477"/>
                  <a:pt x="208" y="480"/>
                </a:cubicBezTo>
                <a:cubicBezTo>
                  <a:pt x="207" y="483"/>
                  <a:pt x="209" y="492"/>
                  <a:pt x="209" y="492"/>
                </a:cubicBezTo>
                <a:cubicBezTo>
                  <a:pt x="207" y="501"/>
                  <a:pt x="218" y="553"/>
                  <a:pt x="218" y="553"/>
                </a:cubicBezTo>
                <a:cubicBezTo>
                  <a:pt x="211" y="563"/>
                  <a:pt x="219" y="594"/>
                  <a:pt x="219" y="594"/>
                </a:cubicBezTo>
                <a:cubicBezTo>
                  <a:pt x="223" y="603"/>
                  <a:pt x="223" y="617"/>
                  <a:pt x="223" y="617"/>
                </a:cubicBezTo>
                <a:cubicBezTo>
                  <a:pt x="210" y="640"/>
                  <a:pt x="216" y="735"/>
                  <a:pt x="215" y="748"/>
                </a:cubicBezTo>
                <a:cubicBezTo>
                  <a:pt x="214" y="760"/>
                  <a:pt x="212" y="799"/>
                  <a:pt x="205" y="808"/>
                </a:cubicBezTo>
                <a:cubicBezTo>
                  <a:pt x="198" y="817"/>
                  <a:pt x="197" y="825"/>
                  <a:pt x="195" y="835"/>
                </a:cubicBezTo>
                <a:cubicBezTo>
                  <a:pt x="194" y="845"/>
                  <a:pt x="188" y="865"/>
                  <a:pt x="188" y="865"/>
                </a:cubicBezTo>
                <a:cubicBezTo>
                  <a:pt x="177" y="874"/>
                  <a:pt x="173" y="901"/>
                  <a:pt x="173" y="901"/>
                </a:cubicBezTo>
                <a:cubicBezTo>
                  <a:pt x="172" y="922"/>
                  <a:pt x="244" y="908"/>
                  <a:pt x="244" y="908"/>
                </a:cubicBezTo>
                <a:cubicBezTo>
                  <a:pt x="255" y="899"/>
                  <a:pt x="249" y="883"/>
                  <a:pt x="248" y="872"/>
                </a:cubicBezTo>
                <a:cubicBezTo>
                  <a:pt x="247" y="861"/>
                  <a:pt x="245" y="823"/>
                  <a:pt x="245" y="823"/>
                </a:cubicBezTo>
                <a:cubicBezTo>
                  <a:pt x="238" y="805"/>
                  <a:pt x="254" y="767"/>
                  <a:pt x="254" y="767"/>
                </a:cubicBezTo>
                <a:cubicBezTo>
                  <a:pt x="298" y="635"/>
                  <a:pt x="279" y="607"/>
                  <a:pt x="279" y="607"/>
                </a:cubicBezTo>
                <a:cubicBezTo>
                  <a:pt x="279" y="607"/>
                  <a:pt x="280" y="593"/>
                  <a:pt x="280" y="581"/>
                </a:cubicBezTo>
                <a:cubicBezTo>
                  <a:pt x="280" y="569"/>
                  <a:pt x="270" y="573"/>
                  <a:pt x="291" y="534"/>
                </a:cubicBezTo>
                <a:cubicBezTo>
                  <a:pt x="312" y="495"/>
                  <a:pt x="317" y="439"/>
                  <a:pt x="318" y="438"/>
                </a:cubicBezTo>
                <a:cubicBezTo>
                  <a:pt x="320" y="436"/>
                  <a:pt x="320" y="434"/>
                  <a:pt x="317" y="430"/>
                </a:cubicBezTo>
                <a:cubicBezTo>
                  <a:pt x="314" y="425"/>
                  <a:pt x="317" y="430"/>
                  <a:pt x="321" y="425"/>
                </a:cubicBezTo>
                <a:cubicBezTo>
                  <a:pt x="325" y="421"/>
                  <a:pt x="321" y="414"/>
                  <a:pt x="322" y="410"/>
                </a:cubicBezTo>
                <a:cubicBezTo>
                  <a:pt x="323" y="406"/>
                  <a:pt x="324" y="397"/>
                  <a:pt x="324" y="394"/>
                </a:cubicBezTo>
                <a:cubicBezTo>
                  <a:pt x="324" y="390"/>
                  <a:pt x="324" y="381"/>
                  <a:pt x="324" y="377"/>
                </a:cubicBezTo>
                <a:cubicBezTo>
                  <a:pt x="324" y="373"/>
                  <a:pt x="319" y="373"/>
                  <a:pt x="322" y="363"/>
                </a:cubicBezTo>
                <a:cubicBezTo>
                  <a:pt x="325" y="354"/>
                  <a:pt x="319" y="343"/>
                  <a:pt x="319" y="343"/>
                </a:cubicBezTo>
                <a:cubicBezTo>
                  <a:pt x="322" y="324"/>
                  <a:pt x="303" y="302"/>
                  <a:pt x="304" y="298"/>
                </a:cubicBezTo>
                <a:cubicBezTo>
                  <a:pt x="305" y="293"/>
                  <a:pt x="302" y="271"/>
                  <a:pt x="301" y="268"/>
                </a:cubicBezTo>
                <a:cubicBezTo>
                  <a:pt x="300" y="265"/>
                  <a:pt x="308" y="239"/>
                  <a:pt x="308" y="239"/>
                </a:cubicBezTo>
                <a:cubicBezTo>
                  <a:pt x="314" y="234"/>
                  <a:pt x="329" y="189"/>
                  <a:pt x="331" y="187"/>
                </a:cubicBezTo>
                <a:cubicBezTo>
                  <a:pt x="333" y="186"/>
                  <a:pt x="354" y="165"/>
                  <a:pt x="354" y="165"/>
                </a:cubicBezTo>
                <a:cubicBezTo>
                  <a:pt x="354" y="171"/>
                  <a:pt x="369" y="224"/>
                  <a:pt x="370" y="231"/>
                </a:cubicBezTo>
                <a:cubicBezTo>
                  <a:pt x="371" y="237"/>
                  <a:pt x="371" y="244"/>
                  <a:pt x="365" y="248"/>
                </a:cubicBezTo>
                <a:cubicBezTo>
                  <a:pt x="359" y="252"/>
                  <a:pt x="355" y="263"/>
                  <a:pt x="352" y="267"/>
                </a:cubicBezTo>
                <a:cubicBezTo>
                  <a:pt x="350" y="271"/>
                  <a:pt x="347" y="277"/>
                  <a:pt x="342" y="279"/>
                </a:cubicBezTo>
                <a:cubicBezTo>
                  <a:pt x="337" y="281"/>
                  <a:pt x="332" y="286"/>
                  <a:pt x="332" y="286"/>
                </a:cubicBezTo>
                <a:cubicBezTo>
                  <a:pt x="327" y="304"/>
                  <a:pt x="349" y="286"/>
                  <a:pt x="349" y="286"/>
                </a:cubicBezTo>
                <a:cubicBezTo>
                  <a:pt x="352" y="281"/>
                  <a:pt x="361" y="281"/>
                  <a:pt x="361" y="281"/>
                </a:cubicBezTo>
                <a:cubicBezTo>
                  <a:pt x="376" y="280"/>
                  <a:pt x="372" y="293"/>
                  <a:pt x="372" y="293"/>
                </a:cubicBezTo>
                <a:cubicBezTo>
                  <a:pt x="358" y="288"/>
                  <a:pt x="364" y="296"/>
                  <a:pt x="364" y="296"/>
                </a:cubicBezTo>
                <a:cubicBezTo>
                  <a:pt x="369" y="295"/>
                  <a:pt x="373" y="304"/>
                  <a:pt x="373" y="304"/>
                </a:cubicBezTo>
                <a:cubicBezTo>
                  <a:pt x="369" y="307"/>
                  <a:pt x="358" y="303"/>
                  <a:pt x="358" y="303"/>
                </a:cubicBezTo>
                <a:cubicBezTo>
                  <a:pt x="347" y="303"/>
                  <a:pt x="364" y="312"/>
                  <a:pt x="364" y="312"/>
                </a:cubicBezTo>
                <a:cubicBezTo>
                  <a:pt x="356" y="312"/>
                  <a:pt x="356" y="312"/>
                  <a:pt x="356" y="312"/>
                </a:cubicBezTo>
                <a:cubicBezTo>
                  <a:pt x="339" y="312"/>
                  <a:pt x="361" y="321"/>
                  <a:pt x="361" y="321"/>
                </a:cubicBezTo>
                <a:cubicBezTo>
                  <a:pt x="344" y="330"/>
                  <a:pt x="365" y="327"/>
                  <a:pt x="368" y="326"/>
                </a:cubicBezTo>
                <a:cubicBezTo>
                  <a:pt x="371" y="324"/>
                  <a:pt x="382" y="313"/>
                  <a:pt x="382" y="313"/>
                </a:cubicBezTo>
                <a:cubicBezTo>
                  <a:pt x="393" y="302"/>
                  <a:pt x="393" y="302"/>
                  <a:pt x="393" y="302"/>
                </a:cubicBezTo>
                <a:cubicBezTo>
                  <a:pt x="400" y="293"/>
                  <a:pt x="398" y="262"/>
                  <a:pt x="399" y="250"/>
                </a:cubicBezTo>
                <a:cubicBezTo>
                  <a:pt x="400" y="238"/>
                  <a:pt x="398" y="213"/>
                  <a:pt x="398" y="213"/>
                </a:cubicBezTo>
                <a:cubicBezTo>
                  <a:pt x="409" y="156"/>
                  <a:pt x="400" y="114"/>
                  <a:pt x="400" y="114"/>
                </a:cubicBezTo>
                <a:close/>
                <a:moveTo>
                  <a:pt x="107" y="320"/>
                </a:moveTo>
                <a:cubicBezTo>
                  <a:pt x="107" y="320"/>
                  <a:pt x="92" y="322"/>
                  <a:pt x="89" y="325"/>
                </a:cubicBezTo>
                <a:cubicBezTo>
                  <a:pt x="85" y="328"/>
                  <a:pt x="74" y="328"/>
                  <a:pt x="71" y="327"/>
                </a:cubicBezTo>
                <a:cubicBezTo>
                  <a:pt x="71" y="327"/>
                  <a:pt x="102" y="298"/>
                  <a:pt x="103" y="260"/>
                </a:cubicBezTo>
                <a:cubicBezTo>
                  <a:pt x="103" y="260"/>
                  <a:pt x="106" y="245"/>
                  <a:pt x="117" y="253"/>
                </a:cubicBezTo>
                <a:cubicBezTo>
                  <a:pt x="117" y="253"/>
                  <a:pt x="118" y="267"/>
                  <a:pt x="122" y="274"/>
                </a:cubicBezTo>
                <a:cubicBezTo>
                  <a:pt x="122" y="274"/>
                  <a:pt x="116" y="309"/>
                  <a:pt x="107" y="320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91440" tIns="45720" rIns="91440" bIns="4572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</a:endParaRPr>
          </a:p>
        </p:txBody>
      </p:sp>
      <p:sp>
        <p:nvSpPr>
          <p:cNvPr id="43" name="任意多边形: 形状 42"/>
          <p:cNvSpPr/>
          <p:nvPr/>
        </p:nvSpPr>
        <p:spPr>
          <a:xfrm>
            <a:off x="4614191" y="2353393"/>
            <a:ext cx="2886056" cy="664540"/>
          </a:xfrm>
          <a:custGeom>
            <a:avLst/>
            <a:gdLst/>
            <a:ahLst/>
            <a:cxnLst/>
            <a:rect l="l" t="t" r="r" b="b"/>
            <a:pathLst>
              <a:path w="1274" h="293" extrusionOk="0">
                <a:moveTo>
                  <a:pt x="22" y="227"/>
                </a:moveTo>
                <a:cubicBezTo>
                  <a:pt x="22" y="227"/>
                  <a:pt x="64" y="158"/>
                  <a:pt x="136" y="188"/>
                </a:cubicBezTo>
                <a:cubicBezTo>
                  <a:pt x="208" y="218"/>
                  <a:pt x="247" y="212"/>
                  <a:pt x="249" y="191"/>
                </a:cubicBezTo>
                <a:cubicBezTo>
                  <a:pt x="251" y="170"/>
                  <a:pt x="221" y="114"/>
                  <a:pt x="275" y="115"/>
                </a:cubicBezTo>
                <a:cubicBezTo>
                  <a:pt x="299" y="115"/>
                  <a:pt x="415" y="152"/>
                  <a:pt x="484" y="107"/>
                </a:cubicBezTo>
                <a:cubicBezTo>
                  <a:pt x="552" y="61"/>
                  <a:pt x="659" y="42"/>
                  <a:pt x="733" y="48"/>
                </a:cubicBezTo>
                <a:cubicBezTo>
                  <a:pt x="749" y="50"/>
                  <a:pt x="659" y="42"/>
                  <a:pt x="914" y="15"/>
                </a:cubicBezTo>
                <a:cubicBezTo>
                  <a:pt x="1062" y="0"/>
                  <a:pt x="1103" y="76"/>
                  <a:pt x="1113" y="86"/>
                </a:cubicBezTo>
                <a:cubicBezTo>
                  <a:pt x="1131" y="104"/>
                  <a:pt x="1129" y="129"/>
                  <a:pt x="1136" y="143"/>
                </a:cubicBezTo>
                <a:cubicBezTo>
                  <a:pt x="1143" y="157"/>
                  <a:pt x="1159" y="205"/>
                  <a:pt x="1215" y="205"/>
                </a:cubicBezTo>
                <a:cubicBezTo>
                  <a:pt x="1272" y="205"/>
                  <a:pt x="1271" y="275"/>
                  <a:pt x="1272" y="284"/>
                </a:cubicBezTo>
                <a:cubicBezTo>
                  <a:pt x="1274" y="293"/>
                  <a:pt x="1253" y="245"/>
                  <a:pt x="1191" y="254"/>
                </a:cubicBezTo>
                <a:cubicBezTo>
                  <a:pt x="1061" y="273"/>
                  <a:pt x="1086" y="91"/>
                  <a:pt x="968" y="80"/>
                </a:cubicBezTo>
                <a:cubicBezTo>
                  <a:pt x="944" y="78"/>
                  <a:pt x="882" y="71"/>
                  <a:pt x="780" y="74"/>
                </a:cubicBezTo>
                <a:cubicBezTo>
                  <a:pt x="651" y="77"/>
                  <a:pt x="615" y="81"/>
                  <a:pt x="558" y="119"/>
                </a:cubicBezTo>
                <a:cubicBezTo>
                  <a:pt x="558" y="119"/>
                  <a:pt x="715" y="143"/>
                  <a:pt x="544" y="158"/>
                </a:cubicBezTo>
                <a:cubicBezTo>
                  <a:pt x="544" y="158"/>
                  <a:pt x="482" y="172"/>
                  <a:pt x="417" y="175"/>
                </a:cubicBezTo>
                <a:cubicBezTo>
                  <a:pt x="363" y="178"/>
                  <a:pt x="307" y="169"/>
                  <a:pt x="291" y="175"/>
                </a:cubicBezTo>
                <a:cubicBezTo>
                  <a:pt x="269" y="184"/>
                  <a:pt x="289" y="235"/>
                  <a:pt x="272" y="240"/>
                </a:cubicBezTo>
                <a:cubicBezTo>
                  <a:pt x="205" y="260"/>
                  <a:pt x="65" y="167"/>
                  <a:pt x="10" y="244"/>
                </a:cubicBezTo>
                <a:cubicBezTo>
                  <a:pt x="0" y="259"/>
                  <a:pt x="22" y="227"/>
                  <a:pt x="22" y="2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40" tIns="45720" rIns="91440" bIns="4572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</a:endParaRPr>
          </a:p>
        </p:txBody>
      </p:sp>
      <p:sp>
        <p:nvSpPr>
          <p:cNvPr id="44" name="任意多边形: 形状 43"/>
          <p:cNvSpPr/>
          <p:nvPr/>
        </p:nvSpPr>
        <p:spPr>
          <a:xfrm>
            <a:off x="6624089" y="3112730"/>
            <a:ext cx="565912" cy="1314716"/>
          </a:xfrm>
          <a:custGeom>
            <a:avLst/>
            <a:gdLst/>
            <a:ahLst/>
            <a:cxnLst/>
            <a:rect l="l" t="t" r="r" b="b"/>
            <a:pathLst>
              <a:path w="250" h="580" extrusionOk="0">
                <a:moveTo>
                  <a:pt x="243" y="211"/>
                </a:moveTo>
                <a:cubicBezTo>
                  <a:pt x="237" y="203"/>
                  <a:pt x="232" y="190"/>
                  <a:pt x="228" y="177"/>
                </a:cubicBezTo>
                <a:cubicBezTo>
                  <a:pt x="224" y="164"/>
                  <a:pt x="205" y="135"/>
                  <a:pt x="199" y="128"/>
                </a:cubicBezTo>
                <a:cubicBezTo>
                  <a:pt x="194" y="121"/>
                  <a:pt x="191" y="122"/>
                  <a:pt x="186" y="108"/>
                </a:cubicBezTo>
                <a:cubicBezTo>
                  <a:pt x="181" y="96"/>
                  <a:pt x="164" y="87"/>
                  <a:pt x="158" y="87"/>
                </a:cubicBezTo>
                <a:cubicBezTo>
                  <a:pt x="152" y="88"/>
                  <a:pt x="123" y="80"/>
                  <a:pt x="123" y="80"/>
                </a:cubicBezTo>
                <a:cubicBezTo>
                  <a:pt x="111" y="75"/>
                  <a:pt x="114" y="71"/>
                  <a:pt x="114" y="71"/>
                </a:cubicBezTo>
                <a:cubicBezTo>
                  <a:pt x="120" y="66"/>
                  <a:pt x="123" y="51"/>
                  <a:pt x="123" y="51"/>
                </a:cubicBezTo>
                <a:cubicBezTo>
                  <a:pt x="133" y="38"/>
                  <a:pt x="125" y="33"/>
                  <a:pt x="125" y="33"/>
                </a:cubicBezTo>
                <a:cubicBezTo>
                  <a:pt x="127" y="1"/>
                  <a:pt x="98" y="0"/>
                  <a:pt x="98" y="0"/>
                </a:cubicBezTo>
                <a:cubicBezTo>
                  <a:pt x="66" y="0"/>
                  <a:pt x="73" y="34"/>
                  <a:pt x="73" y="34"/>
                </a:cubicBezTo>
                <a:cubicBezTo>
                  <a:pt x="61" y="35"/>
                  <a:pt x="74" y="51"/>
                  <a:pt x="74" y="51"/>
                </a:cubicBezTo>
                <a:cubicBezTo>
                  <a:pt x="74" y="54"/>
                  <a:pt x="76" y="59"/>
                  <a:pt x="82" y="69"/>
                </a:cubicBezTo>
                <a:cubicBezTo>
                  <a:pt x="85" y="73"/>
                  <a:pt x="80" y="75"/>
                  <a:pt x="80" y="75"/>
                </a:cubicBezTo>
                <a:cubicBezTo>
                  <a:pt x="80" y="75"/>
                  <a:pt x="79" y="76"/>
                  <a:pt x="72" y="80"/>
                </a:cubicBezTo>
                <a:cubicBezTo>
                  <a:pt x="64" y="84"/>
                  <a:pt x="46" y="86"/>
                  <a:pt x="46" y="86"/>
                </a:cubicBezTo>
                <a:cubicBezTo>
                  <a:pt x="46" y="86"/>
                  <a:pt x="46" y="86"/>
                  <a:pt x="48" y="77"/>
                </a:cubicBezTo>
                <a:cubicBezTo>
                  <a:pt x="51" y="68"/>
                  <a:pt x="60" y="53"/>
                  <a:pt x="61" y="47"/>
                </a:cubicBezTo>
                <a:cubicBezTo>
                  <a:pt x="62" y="41"/>
                  <a:pt x="60" y="40"/>
                  <a:pt x="57" y="39"/>
                </a:cubicBezTo>
                <a:cubicBezTo>
                  <a:pt x="55" y="37"/>
                  <a:pt x="51" y="36"/>
                  <a:pt x="47" y="40"/>
                </a:cubicBezTo>
                <a:cubicBezTo>
                  <a:pt x="43" y="43"/>
                  <a:pt x="38" y="46"/>
                  <a:pt x="37" y="50"/>
                </a:cubicBezTo>
                <a:cubicBezTo>
                  <a:pt x="36" y="54"/>
                  <a:pt x="34" y="60"/>
                  <a:pt x="31" y="78"/>
                </a:cubicBezTo>
                <a:cubicBezTo>
                  <a:pt x="28" y="96"/>
                  <a:pt x="19" y="107"/>
                  <a:pt x="9" y="124"/>
                </a:cubicBezTo>
                <a:cubicBezTo>
                  <a:pt x="0" y="141"/>
                  <a:pt x="2" y="154"/>
                  <a:pt x="2" y="154"/>
                </a:cubicBezTo>
                <a:cubicBezTo>
                  <a:pt x="2" y="177"/>
                  <a:pt x="23" y="170"/>
                  <a:pt x="23" y="170"/>
                </a:cubicBezTo>
                <a:cubicBezTo>
                  <a:pt x="32" y="164"/>
                  <a:pt x="42" y="146"/>
                  <a:pt x="42" y="146"/>
                </a:cubicBezTo>
                <a:cubicBezTo>
                  <a:pt x="42" y="146"/>
                  <a:pt x="42" y="162"/>
                  <a:pt x="51" y="188"/>
                </a:cubicBezTo>
                <a:cubicBezTo>
                  <a:pt x="60" y="213"/>
                  <a:pt x="60" y="236"/>
                  <a:pt x="57" y="246"/>
                </a:cubicBezTo>
                <a:cubicBezTo>
                  <a:pt x="55" y="255"/>
                  <a:pt x="54" y="268"/>
                  <a:pt x="52" y="298"/>
                </a:cubicBezTo>
                <a:cubicBezTo>
                  <a:pt x="51" y="328"/>
                  <a:pt x="52" y="362"/>
                  <a:pt x="58" y="377"/>
                </a:cubicBezTo>
                <a:cubicBezTo>
                  <a:pt x="64" y="391"/>
                  <a:pt x="66" y="391"/>
                  <a:pt x="64" y="409"/>
                </a:cubicBezTo>
                <a:cubicBezTo>
                  <a:pt x="62" y="428"/>
                  <a:pt x="61" y="442"/>
                  <a:pt x="66" y="458"/>
                </a:cubicBezTo>
                <a:cubicBezTo>
                  <a:pt x="72" y="474"/>
                  <a:pt x="73" y="494"/>
                  <a:pt x="74" y="504"/>
                </a:cubicBezTo>
                <a:cubicBezTo>
                  <a:pt x="75" y="515"/>
                  <a:pt x="74" y="519"/>
                  <a:pt x="71" y="531"/>
                </a:cubicBezTo>
                <a:cubicBezTo>
                  <a:pt x="69" y="542"/>
                  <a:pt x="67" y="542"/>
                  <a:pt x="68" y="561"/>
                </a:cubicBezTo>
                <a:cubicBezTo>
                  <a:pt x="69" y="580"/>
                  <a:pt x="80" y="574"/>
                  <a:pt x="86" y="572"/>
                </a:cubicBezTo>
                <a:cubicBezTo>
                  <a:pt x="92" y="570"/>
                  <a:pt x="96" y="548"/>
                  <a:pt x="96" y="535"/>
                </a:cubicBezTo>
                <a:cubicBezTo>
                  <a:pt x="96" y="522"/>
                  <a:pt x="104" y="520"/>
                  <a:pt x="106" y="507"/>
                </a:cubicBezTo>
                <a:cubicBezTo>
                  <a:pt x="109" y="494"/>
                  <a:pt x="98" y="495"/>
                  <a:pt x="93" y="485"/>
                </a:cubicBezTo>
                <a:cubicBezTo>
                  <a:pt x="88" y="474"/>
                  <a:pt x="96" y="451"/>
                  <a:pt x="99" y="441"/>
                </a:cubicBezTo>
                <a:cubicBezTo>
                  <a:pt x="101" y="430"/>
                  <a:pt x="97" y="418"/>
                  <a:pt x="96" y="409"/>
                </a:cubicBezTo>
                <a:cubicBezTo>
                  <a:pt x="95" y="400"/>
                  <a:pt x="99" y="388"/>
                  <a:pt x="100" y="378"/>
                </a:cubicBezTo>
                <a:cubicBezTo>
                  <a:pt x="100" y="368"/>
                  <a:pt x="106" y="380"/>
                  <a:pt x="107" y="387"/>
                </a:cubicBezTo>
                <a:cubicBezTo>
                  <a:pt x="109" y="393"/>
                  <a:pt x="112" y="400"/>
                  <a:pt x="114" y="405"/>
                </a:cubicBezTo>
                <a:cubicBezTo>
                  <a:pt x="116" y="409"/>
                  <a:pt x="118" y="416"/>
                  <a:pt x="117" y="423"/>
                </a:cubicBezTo>
                <a:cubicBezTo>
                  <a:pt x="117" y="430"/>
                  <a:pt x="118" y="432"/>
                  <a:pt x="119" y="442"/>
                </a:cubicBezTo>
                <a:cubicBezTo>
                  <a:pt x="119" y="452"/>
                  <a:pt x="124" y="455"/>
                  <a:pt x="125" y="464"/>
                </a:cubicBezTo>
                <a:cubicBezTo>
                  <a:pt x="126" y="474"/>
                  <a:pt x="127" y="478"/>
                  <a:pt x="130" y="491"/>
                </a:cubicBezTo>
                <a:cubicBezTo>
                  <a:pt x="133" y="503"/>
                  <a:pt x="150" y="494"/>
                  <a:pt x="150" y="494"/>
                </a:cubicBezTo>
                <a:cubicBezTo>
                  <a:pt x="158" y="483"/>
                  <a:pt x="152" y="468"/>
                  <a:pt x="150" y="456"/>
                </a:cubicBezTo>
                <a:cubicBezTo>
                  <a:pt x="148" y="443"/>
                  <a:pt x="141" y="431"/>
                  <a:pt x="138" y="422"/>
                </a:cubicBezTo>
                <a:cubicBezTo>
                  <a:pt x="135" y="414"/>
                  <a:pt x="136" y="415"/>
                  <a:pt x="138" y="399"/>
                </a:cubicBezTo>
                <a:cubicBezTo>
                  <a:pt x="140" y="382"/>
                  <a:pt x="134" y="364"/>
                  <a:pt x="131" y="360"/>
                </a:cubicBezTo>
                <a:cubicBezTo>
                  <a:pt x="128" y="355"/>
                  <a:pt x="142" y="336"/>
                  <a:pt x="148" y="325"/>
                </a:cubicBezTo>
                <a:cubicBezTo>
                  <a:pt x="153" y="315"/>
                  <a:pt x="155" y="311"/>
                  <a:pt x="157" y="287"/>
                </a:cubicBezTo>
                <a:cubicBezTo>
                  <a:pt x="159" y="262"/>
                  <a:pt x="148" y="249"/>
                  <a:pt x="147" y="244"/>
                </a:cubicBezTo>
                <a:cubicBezTo>
                  <a:pt x="147" y="239"/>
                  <a:pt x="150" y="223"/>
                  <a:pt x="148" y="212"/>
                </a:cubicBezTo>
                <a:cubicBezTo>
                  <a:pt x="147" y="202"/>
                  <a:pt x="149" y="169"/>
                  <a:pt x="148" y="157"/>
                </a:cubicBezTo>
                <a:cubicBezTo>
                  <a:pt x="147" y="145"/>
                  <a:pt x="156" y="130"/>
                  <a:pt x="156" y="130"/>
                </a:cubicBezTo>
                <a:cubicBezTo>
                  <a:pt x="157" y="132"/>
                  <a:pt x="173" y="140"/>
                  <a:pt x="177" y="144"/>
                </a:cubicBezTo>
                <a:cubicBezTo>
                  <a:pt x="181" y="148"/>
                  <a:pt x="184" y="150"/>
                  <a:pt x="188" y="158"/>
                </a:cubicBezTo>
                <a:cubicBezTo>
                  <a:pt x="192" y="166"/>
                  <a:pt x="198" y="178"/>
                  <a:pt x="203" y="184"/>
                </a:cubicBezTo>
                <a:cubicBezTo>
                  <a:pt x="207" y="189"/>
                  <a:pt x="216" y="197"/>
                  <a:pt x="222" y="203"/>
                </a:cubicBezTo>
                <a:cubicBezTo>
                  <a:pt x="228" y="209"/>
                  <a:pt x="232" y="218"/>
                  <a:pt x="232" y="222"/>
                </a:cubicBezTo>
                <a:cubicBezTo>
                  <a:pt x="232" y="230"/>
                  <a:pt x="222" y="224"/>
                  <a:pt x="225" y="228"/>
                </a:cubicBezTo>
                <a:cubicBezTo>
                  <a:pt x="227" y="231"/>
                  <a:pt x="236" y="228"/>
                  <a:pt x="230" y="234"/>
                </a:cubicBezTo>
                <a:cubicBezTo>
                  <a:pt x="229" y="236"/>
                  <a:pt x="230" y="239"/>
                  <a:pt x="232" y="238"/>
                </a:cubicBezTo>
                <a:cubicBezTo>
                  <a:pt x="234" y="238"/>
                  <a:pt x="232" y="237"/>
                  <a:pt x="232" y="238"/>
                </a:cubicBezTo>
                <a:cubicBezTo>
                  <a:pt x="232" y="240"/>
                  <a:pt x="234" y="241"/>
                  <a:pt x="236" y="240"/>
                </a:cubicBezTo>
                <a:cubicBezTo>
                  <a:pt x="239" y="239"/>
                  <a:pt x="233" y="238"/>
                  <a:pt x="235" y="241"/>
                </a:cubicBezTo>
                <a:cubicBezTo>
                  <a:pt x="238" y="244"/>
                  <a:pt x="240" y="240"/>
                  <a:pt x="239" y="241"/>
                </a:cubicBezTo>
                <a:cubicBezTo>
                  <a:pt x="237" y="242"/>
                  <a:pt x="238" y="242"/>
                  <a:pt x="238" y="243"/>
                </a:cubicBezTo>
                <a:cubicBezTo>
                  <a:pt x="239" y="246"/>
                  <a:pt x="245" y="243"/>
                  <a:pt x="245" y="243"/>
                </a:cubicBezTo>
                <a:cubicBezTo>
                  <a:pt x="245" y="243"/>
                  <a:pt x="248" y="241"/>
                  <a:pt x="249" y="232"/>
                </a:cubicBezTo>
                <a:cubicBezTo>
                  <a:pt x="250" y="218"/>
                  <a:pt x="249" y="219"/>
                  <a:pt x="243" y="211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40" tIns="45720" rIns="91440" bIns="4572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</a:endParaRPr>
          </a:p>
        </p:txBody>
      </p:sp>
      <p:sp>
        <p:nvSpPr>
          <p:cNvPr id="45" name="任意多边形: 形状 44"/>
          <p:cNvSpPr/>
          <p:nvPr/>
        </p:nvSpPr>
        <p:spPr>
          <a:xfrm>
            <a:off x="5053693" y="2967129"/>
            <a:ext cx="505600" cy="1498619"/>
          </a:xfrm>
          <a:custGeom>
            <a:avLst/>
            <a:gdLst>
              <a:gd name="connsiteX0" fmla="*/ 344209 w 505600"/>
              <a:gd name="connsiteY0" fmla="*/ 153 h 1498619"/>
              <a:gd name="connsiteX1" fmla="*/ 353803 w 505600"/>
              <a:gd name="connsiteY1" fmla="*/ 3021 h 1498619"/>
              <a:gd name="connsiteX2" fmla="*/ 378725 w 505600"/>
              <a:gd name="connsiteY2" fmla="*/ 16617 h 1498619"/>
              <a:gd name="connsiteX3" fmla="*/ 387787 w 505600"/>
              <a:gd name="connsiteY3" fmla="*/ 21150 h 1498619"/>
              <a:gd name="connsiteX4" fmla="*/ 390053 w 505600"/>
              <a:gd name="connsiteY4" fmla="*/ 30214 h 1498619"/>
              <a:gd name="connsiteX5" fmla="*/ 401381 w 505600"/>
              <a:gd name="connsiteY5" fmla="*/ 41544 h 1498619"/>
              <a:gd name="connsiteX6" fmla="*/ 401381 w 505600"/>
              <a:gd name="connsiteY6" fmla="*/ 50608 h 1498619"/>
              <a:gd name="connsiteX7" fmla="*/ 405912 w 505600"/>
              <a:gd name="connsiteY7" fmla="*/ 66471 h 1498619"/>
              <a:gd name="connsiteX8" fmla="*/ 410444 w 505600"/>
              <a:gd name="connsiteY8" fmla="*/ 75535 h 1498619"/>
              <a:gd name="connsiteX9" fmla="*/ 412709 w 505600"/>
              <a:gd name="connsiteY9" fmla="*/ 93663 h 1498619"/>
              <a:gd name="connsiteX10" fmla="*/ 403647 w 505600"/>
              <a:gd name="connsiteY10" fmla="*/ 104994 h 1498619"/>
              <a:gd name="connsiteX11" fmla="*/ 401381 w 505600"/>
              <a:gd name="connsiteY11" fmla="*/ 107260 h 1498619"/>
              <a:gd name="connsiteX12" fmla="*/ 401381 w 505600"/>
              <a:gd name="connsiteY12" fmla="*/ 127654 h 1498619"/>
              <a:gd name="connsiteX13" fmla="*/ 394584 w 505600"/>
              <a:gd name="connsiteY13" fmla="*/ 143517 h 1498619"/>
              <a:gd name="connsiteX14" fmla="*/ 394584 w 505600"/>
              <a:gd name="connsiteY14" fmla="*/ 166177 h 1498619"/>
              <a:gd name="connsiteX15" fmla="*/ 362865 w 505600"/>
              <a:gd name="connsiteY15" fmla="*/ 220563 h 1498619"/>
              <a:gd name="connsiteX16" fmla="*/ 385522 w 505600"/>
              <a:gd name="connsiteY16" fmla="*/ 231893 h 1498619"/>
              <a:gd name="connsiteX17" fmla="*/ 428569 w 505600"/>
              <a:gd name="connsiteY17" fmla="*/ 268150 h 1498619"/>
              <a:gd name="connsiteX18" fmla="*/ 489741 w 505600"/>
              <a:gd name="connsiteY18" fmla="*/ 356526 h 1498619"/>
              <a:gd name="connsiteX19" fmla="*/ 496538 w 505600"/>
              <a:gd name="connsiteY19" fmla="*/ 401847 h 1498619"/>
              <a:gd name="connsiteX20" fmla="*/ 505600 w 505600"/>
              <a:gd name="connsiteY20" fmla="*/ 431306 h 1498619"/>
              <a:gd name="connsiteX21" fmla="*/ 437631 w 505600"/>
              <a:gd name="connsiteY21" fmla="*/ 621655 h 1498619"/>
              <a:gd name="connsiteX22" fmla="*/ 428569 w 505600"/>
              <a:gd name="connsiteY22" fmla="*/ 676040 h 1498619"/>
              <a:gd name="connsiteX23" fmla="*/ 405912 w 505600"/>
              <a:gd name="connsiteY23" fmla="*/ 705499 h 1498619"/>
              <a:gd name="connsiteX24" fmla="*/ 380990 w 505600"/>
              <a:gd name="connsiteY24" fmla="*/ 705499 h 1498619"/>
              <a:gd name="connsiteX25" fmla="*/ 365131 w 505600"/>
              <a:gd name="connsiteY25" fmla="*/ 750820 h 1498619"/>
              <a:gd name="connsiteX26" fmla="*/ 360600 w 505600"/>
              <a:gd name="connsiteY26" fmla="*/ 798407 h 1498619"/>
              <a:gd name="connsiteX27" fmla="*/ 347006 w 505600"/>
              <a:gd name="connsiteY27" fmla="*/ 814269 h 1498619"/>
              <a:gd name="connsiteX28" fmla="*/ 315287 w 505600"/>
              <a:gd name="connsiteY28" fmla="*/ 916242 h 1498619"/>
              <a:gd name="connsiteX29" fmla="*/ 303959 w 505600"/>
              <a:gd name="connsiteY29" fmla="*/ 959297 h 1498619"/>
              <a:gd name="connsiteX30" fmla="*/ 294896 w 505600"/>
              <a:gd name="connsiteY30" fmla="*/ 986490 h 1498619"/>
              <a:gd name="connsiteX31" fmla="*/ 290365 w 505600"/>
              <a:gd name="connsiteY31" fmla="*/ 995554 h 1498619"/>
              <a:gd name="connsiteX32" fmla="*/ 281302 w 505600"/>
              <a:gd name="connsiteY32" fmla="*/ 995554 h 1498619"/>
              <a:gd name="connsiteX33" fmla="*/ 263177 w 505600"/>
              <a:gd name="connsiteY33" fmla="*/ 1068068 h 1498619"/>
              <a:gd name="connsiteX34" fmla="*/ 265443 w 505600"/>
              <a:gd name="connsiteY34" fmla="*/ 1185903 h 1498619"/>
              <a:gd name="connsiteX35" fmla="*/ 226927 w 505600"/>
              <a:gd name="connsiteY35" fmla="*/ 1274280 h 1498619"/>
              <a:gd name="connsiteX36" fmla="*/ 195208 w 505600"/>
              <a:gd name="connsiteY36" fmla="*/ 1349059 h 1498619"/>
              <a:gd name="connsiteX37" fmla="*/ 179349 w 505600"/>
              <a:gd name="connsiteY37" fmla="*/ 1410243 h 1498619"/>
              <a:gd name="connsiteX38" fmla="*/ 170286 w 505600"/>
              <a:gd name="connsiteY38" fmla="*/ 1428371 h 1498619"/>
              <a:gd name="connsiteX39" fmla="*/ 156693 w 505600"/>
              <a:gd name="connsiteY39" fmla="*/ 1498619 h 1498619"/>
              <a:gd name="connsiteX40" fmla="*/ 81926 w 505600"/>
              <a:gd name="connsiteY40" fmla="*/ 1478225 h 1498619"/>
              <a:gd name="connsiteX41" fmla="*/ 77395 w 505600"/>
              <a:gd name="connsiteY41" fmla="*/ 1444234 h 1498619"/>
              <a:gd name="connsiteX42" fmla="*/ 84192 w 505600"/>
              <a:gd name="connsiteY42" fmla="*/ 1423839 h 1498619"/>
              <a:gd name="connsiteX43" fmla="*/ 77395 w 505600"/>
              <a:gd name="connsiteY43" fmla="*/ 1392114 h 1498619"/>
              <a:gd name="connsiteX44" fmla="*/ 86457 w 505600"/>
              <a:gd name="connsiteY44" fmla="*/ 1344527 h 1498619"/>
              <a:gd name="connsiteX45" fmla="*/ 100051 w 505600"/>
              <a:gd name="connsiteY45" fmla="*/ 1321867 h 1498619"/>
              <a:gd name="connsiteX46" fmla="*/ 106848 w 505600"/>
              <a:gd name="connsiteY46" fmla="*/ 1294674 h 1498619"/>
              <a:gd name="connsiteX47" fmla="*/ 109114 w 505600"/>
              <a:gd name="connsiteY47" fmla="*/ 1272013 h 1498619"/>
              <a:gd name="connsiteX48" fmla="*/ 72864 w 505600"/>
              <a:gd name="connsiteY48" fmla="*/ 1108857 h 1498619"/>
              <a:gd name="connsiteX49" fmla="*/ 75129 w 505600"/>
              <a:gd name="connsiteY49" fmla="*/ 1038610 h 1498619"/>
              <a:gd name="connsiteX50" fmla="*/ 77395 w 505600"/>
              <a:gd name="connsiteY50" fmla="*/ 981958 h 1498619"/>
              <a:gd name="connsiteX51" fmla="*/ 52473 w 505600"/>
              <a:gd name="connsiteY51" fmla="*/ 961563 h 1498619"/>
              <a:gd name="connsiteX52" fmla="*/ 61536 w 505600"/>
              <a:gd name="connsiteY52" fmla="*/ 893581 h 1498619"/>
              <a:gd name="connsiteX53" fmla="*/ 63801 w 505600"/>
              <a:gd name="connsiteY53" fmla="*/ 796141 h 1498619"/>
              <a:gd name="connsiteX54" fmla="*/ 57004 w 505600"/>
              <a:gd name="connsiteY54" fmla="*/ 750820 h 1498619"/>
              <a:gd name="connsiteX55" fmla="*/ 66067 w 505600"/>
              <a:gd name="connsiteY55" fmla="*/ 707765 h 1498619"/>
              <a:gd name="connsiteX56" fmla="*/ 86457 w 505600"/>
              <a:gd name="connsiteY56" fmla="*/ 653379 h 1498619"/>
              <a:gd name="connsiteX57" fmla="*/ 97786 w 505600"/>
              <a:gd name="connsiteY57" fmla="*/ 621655 h 1498619"/>
              <a:gd name="connsiteX58" fmla="*/ 102317 w 505600"/>
              <a:gd name="connsiteY58" fmla="*/ 594462 h 1498619"/>
              <a:gd name="connsiteX59" fmla="*/ 113645 w 505600"/>
              <a:gd name="connsiteY59" fmla="*/ 589930 h 1498619"/>
              <a:gd name="connsiteX60" fmla="*/ 120442 w 505600"/>
              <a:gd name="connsiteY60" fmla="*/ 558205 h 1498619"/>
              <a:gd name="connsiteX61" fmla="*/ 122708 w 505600"/>
              <a:gd name="connsiteY61" fmla="*/ 515150 h 1498619"/>
              <a:gd name="connsiteX62" fmla="*/ 129505 w 505600"/>
              <a:gd name="connsiteY62" fmla="*/ 497022 h 1498619"/>
              <a:gd name="connsiteX63" fmla="*/ 115911 w 505600"/>
              <a:gd name="connsiteY63" fmla="*/ 490223 h 1498619"/>
              <a:gd name="connsiteX64" fmla="*/ 113645 w 505600"/>
              <a:gd name="connsiteY64" fmla="*/ 497022 h 1498619"/>
              <a:gd name="connsiteX65" fmla="*/ 95520 w 505600"/>
              <a:gd name="connsiteY65" fmla="*/ 499288 h 1498619"/>
              <a:gd name="connsiteX66" fmla="*/ 86457 w 505600"/>
              <a:gd name="connsiteY66" fmla="*/ 508352 h 1498619"/>
              <a:gd name="connsiteX67" fmla="*/ 63801 w 505600"/>
              <a:gd name="connsiteY67" fmla="*/ 512884 h 1498619"/>
              <a:gd name="connsiteX68" fmla="*/ 29817 w 505600"/>
              <a:gd name="connsiteY68" fmla="*/ 510618 h 1498619"/>
              <a:gd name="connsiteX69" fmla="*/ 7160 w 505600"/>
              <a:gd name="connsiteY69" fmla="*/ 492489 h 1498619"/>
              <a:gd name="connsiteX70" fmla="*/ 363 w 505600"/>
              <a:gd name="connsiteY70" fmla="*/ 460765 h 1498619"/>
              <a:gd name="connsiteX71" fmla="*/ 11692 w 505600"/>
              <a:gd name="connsiteY71" fmla="*/ 417710 h 1498619"/>
              <a:gd name="connsiteX72" fmla="*/ 27551 w 505600"/>
              <a:gd name="connsiteY72" fmla="*/ 395049 h 1498619"/>
              <a:gd name="connsiteX73" fmla="*/ 68332 w 505600"/>
              <a:gd name="connsiteY73" fmla="*/ 327067 h 1498619"/>
              <a:gd name="connsiteX74" fmla="*/ 129505 w 505600"/>
              <a:gd name="connsiteY74" fmla="*/ 231893 h 1498619"/>
              <a:gd name="connsiteX75" fmla="*/ 179349 w 505600"/>
              <a:gd name="connsiteY75" fmla="*/ 225095 h 1498619"/>
              <a:gd name="connsiteX76" fmla="*/ 211068 w 505600"/>
              <a:gd name="connsiteY76" fmla="*/ 211498 h 1498619"/>
              <a:gd name="connsiteX77" fmla="*/ 260912 w 505600"/>
              <a:gd name="connsiteY77" fmla="*/ 193370 h 1498619"/>
              <a:gd name="connsiteX78" fmla="*/ 267709 w 505600"/>
              <a:gd name="connsiteY78" fmla="*/ 154847 h 1498619"/>
              <a:gd name="connsiteX79" fmla="*/ 249584 w 505600"/>
              <a:gd name="connsiteY79" fmla="*/ 104994 h 1498619"/>
              <a:gd name="connsiteX80" fmla="*/ 267709 w 505600"/>
              <a:gd name="connsiteY80" fmla="*/ 32480 h 1498619"/>
              <a:gd name="connsiteX81" fmla="*/ 303959 w 505600"/>
              <a:gd name="connsiteY81" fmla="*/ 12085 h 1498619"/>
              <a:gd name="connsiteX82" fmla="*/ 310756 w 505600"/>
              <a:gd name="connsiteY82" fmla="*/ 3021 h 1498619"/>
              <a:gd name="connsiteX83" fmla="*/ 344209 w 505600"/>
              <a:gd name="connsiteY83" fmla="*/ 153 h 1498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</a:cxnLst>
            <a:rect l="l" t="t" r="r" b="b"/>
            <a:pathLst>
              <a:path w="505600" h="1498619">
                <a:moveTo>
                  <a:pt x="344209" y="153"/>
                </a:moveTo>
                <a:cubicBezTo>
                  <a:pt x="348563" y="472"/>
                  <a:pt x="352103" y="1322"/>
                  <a:pt x="353803" y="3021"/>
                </a:cubicBezTo>
                <a:cubicBezTo>
                  <a:pt x="362865" y="9819"/>
                  <a:pt x="378725" y="16617"/>
                  <a:pt x="378725" y="16617"/>
                </a:cubicBezTo>
                <a:cubicBezTo>
                  <a:pt x="378725" y="16617"/>
                  <a:pt x="383256" y="25682"/>
                  <a:pt x="387787" y="21150"/>
                </a:cubicBezTo>
                <a:cubicBezTo>
                  <a:pt x="390053" y="18883"/>
                  <a:pt x="390053" y="27948"/>
                  <a:pt x="390053" y="30214"/>
                </a:cubicBezTo>
                <a:cubicBezTo>
                  <a:pt x="390053" y="34746"/>
                  <a:pt x="396850" y="41544"/>
                  <a:pt x="401381" y="41544"/>
                </a:cubicBezTo>
                <a:cubicBezTo>
                  <a:pt x="403647" y="41544"/>
                  <a:pt x="396850" y="43810"/>
                  <a:pt x="401381" y="50608"/>
                </a:cubicBezTo>
                <a:cubicBezTo>
                  <a:pt x="405912" y="57406"/>
                  <a:pt x="401381" y="64205"/>
                  <a:pt x="405912" y="66471"/>
                </a:cubicBezTo>
                <a:cubicBezTo>
                  <a:pt x="410444" y="71003"/>
                  <a:pt x="414975" y="68737"/>
                  <a:pt x="410444" y="75535"/>
                </a:cubicBezTo>
                <a:cubicBezTo>
                  <a:pt x="408178" y="80067"/>
                  <a:pt x="412709" y="91397"/>
                  <a:pt x="412709" y="93663"/>
                </a:cubicBezTo>
                <a:cubicBezTo>
                  <a:pt x="410444" y="95929"/>
                  <a:pt x="412709" y="107260"/>
                  <a:pt x="403647" y="104994"/>
                </a:cubicBezTo>
                <a:cubicBezTo>
                  <a:pt x="396850" y="100462"/>
                  <a:pt x="401381" y="104994"/>
                  <a:pt x="401381" y="107260"/>
                </a:cubicBezTo>
                <a:cubicBezTo>
                  <a:pt x="401381" y="111792"/>
                  <a:pt x="401381" y="127654"/>
                  <a:pt x="401381" y="127654"/>
                </a:cubicBezTo>
                <a:cubicBezTo>
                  <a:pt x="394584" y="143517"/>
                  <a:pt x="394584" y="143517"/>
                  <a:pt x="394584" y="143517"/>
                </a:cubicBezTo>
                <a:cubicBezTo>
                  <a:pt x="394584" y="143517"/>
                  <a:pt x="396850" y="161645"/>
                  <a:pt x="394584" y="166177"/>
                </a:cubicBezTo>
                <a:cubicBezTo>
                  <a:pt x="394584" y="170709"/>
                  <a:pt x="362865" y="213764"/>
                  <a:pt x="362865" y="220563"/>
                </a:cubicBezTo>
                <a:cubicBezTo>
                  <a:pt x="362865" y="227361"/>
                  <a:pt x="378725" y="229627"/>
                  <a:pt x="385522" y="231893"/>
                </a:cubicBezTo>
                <a:cubicBezTo>
                  <a:pt x="390053" y="236425"/>
                  <a:pt x="412709" y="259086"/>
                  <a:pt x="428569" y="268150"/>
                </a:cubicBezTo>
                <a:cubicBezTo>
                  <a:pt x="444428" y="274948"/>
                  <a:pt x="503335" y="304407"/>
                  <a:pt x="489741" y="356526"/>
                </a:cubicBezTo>
                <a:cubicBezTo>
                  <a:pt x="489741" y="356526"/>
                  <a:pt x="489741" y="395049"/>
                  <a:pt x="496538" y="401847"/>
                </a:cubicBezTo>
                <a:cubicBezTo>
                  <a:pt x="503335" y="408645"/>
                  <a:pt x="505600" y="431306"/>
                  <a:pt x="505600" y="431306"/>
                </a:cubicBezTo>
                <a:cubicBezTo>
                  <a:pt x="505600" y="431306"/>
                  <a:pt x="476147" y="571801"/>
                  <a:pt x="437631" y="621655"/>
                </a:cubicBezTo>
                <a:cubicBezTo>
                  <a:pt x="437631" y="621655"/>
                  <a:pt x="424037" y="676040"/>
                  <a:pt x="428569" y="676040"/>
                </a:cubicBezTo>
                <a:cubicBezTo>
                  <a:pt x="430834" y="678306"/>
                  <a:pt x="410444" y="705499"/>
                  <a:pt x="405912" y="705499"/>
                </a:cubicBezTo>
                <a:cubicBezTo>
                  <a:pt x="401381" y="705499"/>
                  <a:pt x="380990" y="705499"/>
                  <a:pt x="380990" y="705499"/>
                </a:cubicBezTo>
                <a:cubicBezTo>
                  <a:pt x="380990" y="705499"/>
                  <a:pt x="374193" y="746288"/>
                  <a:pt x="365131" y="750820"/>
                </a:cubicBezTo>
                <a:cubicBezTo>
                  <a:pt x="358334" y="753086"/>
                  <a:pt x="360600" y="798407"/>
                  <a:pt x="360600" y="798407"/>
                </a:cubicBezTo>
                <a:cubicBezTo>
                  <a:pt x="347006" y="814269"/>
                  <a:pt x="347006" y="814269"/>
                  <a:pt x="347006" y="814269"/>
                </a:cubicBezTo>
                <a:cubicBezTo>
                  <a:pt x="347006" y="814269"/>
                  <a:pt x="313021" y="909444"/>
                  <a:pt x="315287" y="916242"/>
                </a:cubicBezTo>
                <a:cubicBezTo>
                  <a:pt x="317553" y="923040"/>
                  <a:pt x="303959" y="959297"/>
                  <a:pt x="303959" y="959297"/>
                </a:cubicBezTo>
                <a:cubicBezTo>
                  <a:pt x="294896" y="986490"/>
                  <a:pt x="294896" y="986490"/>
                  <a:pt x="294896" y="986490"/>
                </a:cubicBezTo>
                <a:cubicBezTo>
                  <a:pt x="294896" y="986490"/>
                  <a:pt x="294896" y="995554"/>
                  <a:pt x="290365" y="995554"/>
                </a:cubicBezTo>
                <a:cubicBezTo>
                  <a:pt x="288099" y="995554"/>
                  <a:pt x="281302" y="995554"/>
                  <a:pt x="281302" y="995554"/>
                </a:cubicBezTo>
                <a:cubicBezTo>
                  <a:pt x="281302" y="995554"/>
                  <a:pt x="258646" y="1031811"/>
                  <a:pt x="263177" y="1068068"/>
                </a:cubicBezTo>
                <a:cubicBezTo>
                  <a:pt x="265443" y="1102059"/>
                  <a:pt x="267709" y="1170041"/>
                  <a:pt x="265443" y="1185903"/>
                </a:cubicBezTo>
                <a:cubicBezTo>
                  <a:pt x="263177" y="1199500"/>
                  <a:pt x="242787" y="1244821"/>
                  <a:pt x="226927" y="1274280"/>
                </a:cubicBezTo>
                <a:cubicBezTo>
                  <a:pt x="213333" y="1301472"/>
                  <a:pt x="195208" y="1349059"/>
                  <a:pt x="195208" y="1349059"/>
                </a:cubicBezTo>
                <a:cubicBezTo>
                  <a:pt x="195208" y="1349059"/>
                  <a:pt x="177083" y="1398913"/>
                  <a:pt x="179349" y="1410243"/>
                </a:cubicBezTo>
                <a:cubicBezTo>
                  <a:pt x="170286" y="1428371"/>
                  <a:pt x="170286" y="1428371"/>
                  <a:pt x="170286" y="1428371"/>
                </a:cubicBezTo>
                <a:cubicBezTo>
                  <a:pt x="170286" y="1428371"/>
                  <a:pt x="183880" y="1480491"/>
                  <a:pt x="156693" y="1498619"/>
                </a:cubicBezTo>
                <a:cubicBezTo>
                  <a:pt x="81926" y="1478225"/>
                  <a:pt x="81926" y="1478225"/>
                  <a:pt x="81926" y="1478225"/>
                </a:cubicBezTo>
                <a:cubicBezTo>
                  <a:pt x="81926" y="1478225"/>
                  <a:pt x="63801" y="1451032"/>
                  <a:pt x="77395" y="1444234"/>
                </a:cubicBezTo>
                <a:cubicBezTo>
                  <a:pt x="93254" y="1437436"/>
                  <a:pt x="84192" y="1423839"/>
                  <a:pt x="84192" y="1423839"/>
                </a:cubicBezTo>
                <a:cubicBezTo>
                  <a:pt x="77395" y="1392114"/>
                  <a:pt x="77395" y="1392114"/>
                  <a:pt x="77395" y="1392114"/>
                </a:cubicBezTo>
                <a:cubicBezTo>
                  <a:pt x="86457" y="1344527"/>
                  <a:pt x="86457" y="1344527"/>
                  <a:pt x="86457" y="1344527"/>
                </a:cubicBezTo>
                <a:cubicBezTo>
                  <a:pt x="86457" y="1344527"/>
                  <a:pt x="93254" y="1328665"/>
                  <a:pt x="100051" y="1321867"/>
                </a:cubicBezTo>
                <a:cubicBezTo>
                  <a:pt x="106848" y="1315069"/>
                  <a:pt x="106848" y="1294674"/>
                  <a:pt x="106848" y="1294674"/>
                </a:cubicBezTo>
                <a:cubicBezTo>
                  <a:pt x="106848" y="1294674"/>
                  <a:pt x="102317" y="1272013"/>
                  <a:pt x="109114" y="1272013"/>
                </a:cubicBezTo>
                <a:cubicBezTo>
                  <a:pt x="115911" y="1269747"/>
                  <a:pt x="79661" y="1133784"/>
                  <a:pt x="72864" y="1108857"/>
                </a:cubicBezTo>
                <a:cubicBezTo>
                  <a:pt x="63801" y="1086197"/>
                  <a:pt x="75129" y="1038610"/>
                  <a:pt x="75129" y="1038610"/>
                </a:cubicBezTo>
                <a:cubicBezTo>
                  <a:pt x="77395" y="981958"/>
                  <a:pt x="77395" y="981958"/>
                  <a:pt x="77395" y="981958"/>
                </a:cubicBezTo>
                <a:cubicBezTo>
                  <a:pt x="52473" y="961563"/>
                  <a:pt x="52473" y="961563"/>
                  <a:pt x="52473" y="961563"/>
                </a:cubicBezTo>
                <a:cubicBezTo>
                  <a:pt x="52473" y="961563"/>
                  <a:pt x="61536" y="904912"/>
                  <a:pt x="61536" y="893581"/>
                </a:cubicBezTo>
                <a:cubicBezTo>
                  <a:pt x="61536" y="882251"/>
                  <a:pt x="63801" y="809737"/>
                  <a:pt x="63801" y="796141"/>
                </a:cubicBezTo>
                <a:cubicBezTo>
                  <a:pt x="63801" y="780279"/>
                  <a:pt x="52473" y="762150"/>
                  <a:pt x="57004" y="750820"/>
                </a:cubicBezTo>
                <a:cubicBezTo>
                  <a:pt x="63801" y="737224"/>
                  <a:pt x="66067" y="710031"/>
                  <a:pt x="66067" y="707765"/>
                </a:cubicBezTo>
                <a:cubicBezTo>
                  <a:pt x="66067" y="705499"/>
                  <a:pt x="77395" y="664710"/>
                  <a:pt x="86457" y="653379"/>
                </a:cubicBezTo>
                <a:cubicBezTo>
                  <a:pt x="95520" y="642049"/>
                  <a:pt x="86457" y="621655"/>
                  <a:pt x="97786" y="621655"/>
                </a:cubicBezTo>
                <a:cubicBezTo>
                  <a:pt x="111379" y="621655"/>
                  <a:pt x="102317" y="594462"/>
                  <a:pt x="102317" y="594462"/>
                </a:cubicBezTo>
                <a:cubicBezTo>
                  <a:pt x="113645" y="589930"/>
                  <a:pt x="113645" y="589930"/>
                  <a:pt x="113645" y="589930"/>
                </a:cubicBezTo>
                <a:cubicBezTo>
                  <a:pt x="113645" y="589930"/>
                  <a:pt x="120442" y="567269"/>
                  <a:pt x="120442" y="558205"/>
                </a:cubicBezTo>
                <a:cubicBezTo>
                  <a:pt x="120442" y="546875"/>
                  <a:pt x="124973" y="517416"/>
                  <a:pt x="122708" y="515150"/>
                </a:cubicBezTo>
                <a:cubicBezTo>
                  <a:pt x="122708" y="510618"/>
                  <a:pt x="129505" y="497022"/>
                  <a:pt x="129505" y="497022"/>
                </a:cubicBezTo>
                <a:cubicBezTo>
                  <a:pt x="115911" y="490223"/>
                  <a:pt x="115911" y="490223"/>
                  <a:pt x="115911" y="490223"/>
                </a:cubicBezTo>
                <a:cubicBezTo>
                  <a:pt x="115911" y="490223"/>
                  <a:pt x="120442" y="497022"/>
                  <a:pt x="113645" y="497022"/>
                </a:cubicBezTo>
                <a:cubicBezTo>
                  <a:pt x="106848" y="497022"/>
                  <a:pt x="95520" y="499288"/>
                  <a:pt x="95520" y="499288"/>
                </a:cubicBezTo>
                <a:cubicBezTo>
                  <a:pt x="95520" y="499288"/>
                  <a:pt x="93254" y="503820"/>
                  <a:pt x="86457" y="508352"/>
                </a:cubicBezTo>
                <a:cubicBezTo>
                  <a:pt x="81926" y="510618"/>
                  <a:pt x="68332" y="512884"/>
                  <a:pt x="63801" y="512884"/>
                </a:cubicBezTo>
                <a:cubicBezTo>
                  <a:pt x="57004" y="512884"/>
                  <a:pt x="29817" y="510618"/>
                  <a:pt x="29817" y="510618"/>
                </a:cubicBezTo>
                <a:cubicBezTo>
                  <a:pt x="29817" y="510618"/>
                  <a:pt x="9426" y="494755"/>
                  <a:pt x="7160" y="492489"/>
                </a:cubicBezTo>
                <a:cubicBezTo>
                  <a:pt x="7160" y="492489"/>
                  <a:pt x="-1902" y="474361"/>
                  <a:pt x="363" y="460765"/>
                </a:cubicBezTo>
                <a:cubicBezTo>
                  <a:pt x="4895" y="444902"/>
                  <a:pt x="-1902" y="424508"/>
                  <a:pt x="11692" y="417710"/>
                </a:cubicBezTo>
                <a:cubicBezTo>
                  <a:pt x="23020" y="410911"/>
                  <a:pt x="27551" y="395049"/>
                  <a:pt x="27551" y="395049"/>
                </a:cubicBezTo>
                <a:cubicBezTo>
                  <a:pt x="27551" y="395049"/>
                  <a:pt x="54739" y="338398"/>
                  <a:pt x="68332" y="327067"/>
                </a:cubicBezTo>
                <a:cubicBezTo>
                  <a:pt x="81926" y="315737"/>
                  <a:pt x="81926" y="243223"/>
                  <a:pt x="129505" y="231893"/>
                </a:cubicBezTo>
                <a:cubicBezTo>
                  <a:pt x="179349" y="220563"/>
                  <a:pt x="179349" y="225095"/>
                  <a:pt x="179349" y="225095"/>
                </a:cubicBezTo>
                <a:cubicBezTo>
                  <a:pt x="211068" y="211498"/>
                  <a:pt x="211068" y="211498"/>
                  <a:pt x="211068" y="211498"/>
                </a:cubicBezTo>
                <a:cubicBezTo>
                  <a:pt x="211068" y="211498"/>
                  <a:pt x="260912" y="197902"/>
                  <a:pt x="260912" y="193370"/>
                </a:cubicBezTo>
                <a:cubicBezTo>
                  <a:pt x="260912" y="193370"/>
                  <a:pt x="269974" y="161645"/>
                  <a:pt x="267709" y="154847"/>
                </a:cubicBezTo>
                <a:cubicBezTo>
                  <a:pt x="263177" y="145783"/>
                  <a:pt x="245052" y="132186"/>
                  <a:pt x="249584" y="104994"/>
                </a:cubicBezTo>
                <a:cubicBezTo>
                  <a:pt x="254115" y="80067"/>
                  <a:pt x="242787" y="57406"/>
                  <a:pt x="267709" y="32480"/>
                </a:cubicBezTo>
                <a:cubicBezTo>
                  <a:pt x="267709" y="32480"/>
                  <a:pt x="297162" y="9819"/>
                  <a:pt x="303959" y="12085"/>
                </a:cubicBezTo>
                <a:cubicBezTo>
                  <a:pt x="310756" y="14351"/>
                  <a:pt x="310756" y="3021"/>
                  <a:pt x="310756" y="3021"/>
                </a:cubicBezTo>
                <a:cubicBezTo>
                  <a:pt x="310756" y="3021"/>
                  <a:pt x="331146" y="-803"/>
                  <a:pt x="344209" y="153"/>
                </a:cubicBez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40" tIns="45720" rIns="91440" bIns="4572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</a:endParaRPr>
          </a:p>
        </p:txBody>
      </p:sp>
      <p:sp>
        <p:nvSpPr>
          <p:cNvPr id="46" name="任意多边形: 形状 45"/>
          <p:cNvSpPr/>
          <p:nvPr/>
        </p:nvSpPr>
        <p:spPr>
          <a:xfrm>
            <a:off x="7579724" y="2011547"/>
            <a:ext cx="924036" cy="2401536"/>
          </a:xfrm>
          <a:custGeom>
            <a:avLst/>
            <a:gdLst/>
            <a:ahLst/>
            <a:cxnLst/>
            <a:rect l="l" t="t" r="r" b="b"/>
            <a:pathLst>
              <a:path w="408" h="1060" extrusionOk="0">
                <a:moveTo>
                  <a:pt x="401" y="487"/>
                </a:moveTo>
                <a:cubicBezTo>
                  <a:pt x="401" y="487"/>
                  <a:pt x="396" y="384"/>
                  <a:pt x="388" y="366"/>
                </a:cubicBezTo>
                <a:cubicBezTo>
                  <a:pt x="388" y="366"/>
                  <a:pt x="387" y="351"/>
                  <a:pt x="379" y="337"/>
                </a:cubicBezTo>
                <a:cubicBezTo>
                  <a:pt x="379" y="337"/>
                  <a:pt x="347" y="271"/>
                  <a:pt x="332" y="259"/>
                </a:cubicBezTo>
                <a:cubicBezTo>
                  <a:pt x="332" y="259"/>
                  <a:pt x="321" y="224"/>
                  <a:pt x="300" y="210"/>
                </a:cubicBezTo>
                <a:cubicBezTo>
                  <a:pt x="300" y="210"/>
                  <a:pt x="275" y="192"/>
                  <a:pt x="245" y="183"/>
                </a:cubicBezTo>
                <a:cubicBezTo>
                  <a:pt x="245" y="183"/>
                  <a:pt x="221" y="178"/>
                  <a:pt x="215" y="168"/>
                </a:cubicBezTo>
                <a:cubicBezTo>
                  <a:pt x="215" y="168"/>
                  <a:pt x="212" y="151"/>
                  <a:pt x="215" y="147"/>
                </a:cubicBezTo>
                <a:cubicBezTo>
                  <a:pt x="218" y="143"/>
                  <a:pt x="222" y="120"/>
                  <a:pt x="222" y="120"/>
                </a:cubicBezTo>
                <a:cubicBezTo>
                  <a:pt x="222" y="120"/>
                  <a:pt x="230" y="122"/>
                  <a:pt x="228" y="93"/>
                </a:cubicBezTo>
                <a:cubicBezTo>
                  <a:pt x="228" y="93"/>
                  <a:pt x="227" y="88"/>
                  <a:pt x="226" y="86"/>
                </a:cubicBezTo>
                <a:cubicBezTo>
                  <a:pt x="224" y="84"/>
                  <a:pt x="229" y="44"/>
                  <a:pt x="198" y="30"/>
                </a:cubicBezTo>
                <a:cubicBezTo>
                  <a:pt x="192" y="29"/>
                  <a:pt x="192" y="29"/>
                  <a:pt x="192" y="29"/>
                </a:cubicBezTo>
                <a:cubicBezTo>
                  <a:pt x="192" y="29"/>
                  <a:pt x="177" y="10"/>
                  <a:pt x="142" y="17"/>
                </a:cubicBezTo>
                <a:cubicBezTo>
                  <a:pt x="107" y="25"/>
                  <a:pt x="118" y="31"/>
                  <a:pt x="105" y="15"/>
                </a:cubicBezTo>
                <a:cubicBezTo>
                  <a:pt x="92" y="0"/>
                  <a:pt x="71" y="14"/>
                  <a:pt x="68" y="15"/>
                </a:cubicBezTo>
                <a:cubicBezTo>
                  <a:pt x="68" y="15"/>
                  <a:pt x="92" y="7"/>
                  <a:pt x="103" y="19"/>
                </a:cubicBezTo>
                <a:cubicBezTo>
                  <a:pt x="106" y="23"/>
                  <a:pt x="106" y="23"/>
                  <a:pt x="106" y="23"/>
                </a:cubicBezTo>
                <a:cubicBezTo>
                  <a:pt x="106" y="23"/>
                  <a:pt x="59" y="27"/>
                  <a:pt x="49" y="21"/>
                </a:cubicBezTo>
                <a:cubicBezTo>
                  <a:pt x="49" y="21"/>
                  <a:pt x="49" y="25"/>
                  <a:pt x="54" y="26"/>
                </a:cubicBezTo>
                <a:cubicBezTo>
                  <a:pt x="54" y="26"/>
                  <a:pt x="17" y="38"/>
                  <a:pt x="19" y="19"/>
                </a:cubicBezTo>
                <a:cubicBezTo>
                  <a:pt x="19" y="13"/>
                  <a:pt x="19" y="13"/>
                  <a:pt x="19" y="13"/>
                </a:cubicBezTo>
                <a:cubicBezTo>
                  <a:pt x="19" y="13"/>
                  <a:pt x="0" y="52"/>
                  <a:pt x="44" y="55"/>
                </a:cubicBezTo>
                <a:cubicBezTo>
                  <a:pt x="44" y="55"/>
                  <a:pt x="45" y="55"/>
                  <a:pt x="46" y="55"/>
                </a:cubicBezTo>
                <a:cubicBezTo>
                  <a:pt x="46" y="55"/>
                  <a:pt x="38" y="59"/>
                  <a:pt x="33" y="57"/>
                </a:cubicBezTo>
                <a:cubicBezTo>
                  <a:pt x="33" y="57"/>
                  <a:pt x="40" y="64"/>
                  <a:pt x="49" y="66"/>
                </a:cubicBezTo>
                <a:cubicBezTo>
                  <a:pt x="49" y="66"/>
                  <a:pt x="45" y="71"/>
                  <a:pt x="36" y="69"/>
                </a:cubicBezTo>
                <a:cubicBezTo>
                  <a:pt x="36" y="69"/>
                  <a:pt x="56" y="87"/>
                  <a:pt x="85" y="80"/>
                </a:cubicBezTo>
                <a:cubicBezTo>
                  <a:pt x="85" y="80"/>
                  <a:pt x="74" y="97"/>
                  <a:pt x="57" y="93"/>
                </a:cubicBezTo>
                <a:cubicBezTo>
                  <a:pt x="57" y="93"/>
                  <a:pt x="66" y="103"/>
                  <a:pt x="76" y="102"/>
                </a:cubicBezTo>
                <a:cubicBezTo>
                  <a:pt x="76" y="102"/>
                  <a:pt x="76" y="134"/>
                  <a:pt x="91" y="134"/>
                </a:cubicBezTo>
                <a:cubicBezTo>
                  <a:pt x="91" y="134"/>
                  <a:pt x="76" y="113"/>
                  <a:pt x="89" y="98"/>
                </a:cubicBezTo>
                <a:cubicBezTo>
                  <a:pt x="102" y="84"/>
                  <a:pt x="129" y="74"/>
                  <a:pt x="136" y="78"/>
                </a:cubicBezTo>
                <a:cubicBezTo>
                  <a:pt x="142" y="82"/>
                  <a:pt x="136" y="79"/>
                  <a:pt x="136" y="79"/>
                </a:cubicBezTo>
                <a:cubicBezTo>
                  <a:pt x="136" y="79"/>
                  <a:pt x="130" y="111"/>
                  <a:pt x="143" y="125"/>
                </a:cubicBezTo>
                <a:cubicBezTo>
                  <a:pt x="143" y="125"/>
                  <a:pt x="150" y="148"/>
                  <a:pt x="158" y="153"/>
                </a:cubicBezTo>
                <a:cubicBezTo>
                  <a:pt x="158" y="153"/>
                  <a:pt x="164" y="172"/>
                  <a:pt x="151" y="175"/>
                </a:cubicBezTo>
                <a:cubicBezTo>
                  <a:pt x="151" y="175"/>
                  <a:pt x="88" y="190"/>
                  <a:pt x="79" y="203"/>
                </a:cubicBezTo>
                <a:cubicBezTo>
                  <a:pt x="71" y="215"/>
                  <a:pt x="31" y="301"/>
                  <a:pt x="27" y="320"/>
                </a:cubicBezTo>
                <a:cubicBezTo>
                  <a:pt x="22" y="340"/>
                  <a:pt x="6" y="366"/>
                  <a:pt x="26" y="382"/>
                </a:cubicBezTo>
                <a:cubicBezTo>
                  <a:pt x="45" y="398"/>
                  <a:pt x="101" y="398"/>
                  <a:pt x="103" y="398"/>
                </a:cubicBezTo>
                <a:cubicBezTo>
                  <a:pt x="105" y="398"/>
                  <a:pt x="108" y="410"/>
                  <a:pt x="107" y="415"/>
                </a:cubicBezTo>
                <a:cubicBezTo>
                  <a:pt x="105" y="420"/>
                  <a:pt x="74" y="488"/>
                  <a:pt x="81" y="549"/>
                </a:cubicBezTo>
                <a:cubicBezTo>
                  <a:pt x="82" y="672"/>
                  <a:pt x="82" y="672"/>
                  <a:pt x="82" y="672"/>
                </a:cubicBezTo>
                <a:cubicBezTo>
                  <a:pt x="82" y="672"/>
                  <a:pt x="76" y="742"/>
                  <a:pt x="82" y="753"/>
                </a:cubicBezTo>
                <a:cubicBezTo>
                  <a:pt x="88" y="764"/>
                  <a:pt x="108" y="788"/>
                  <a:pt x="118" y="791"/>
                </a:cubicBezTo>
                <a:cubicBezTo>
                  <a:pt x="130" y="791"/>
                  <a:pt x="130" y="791"/>
                  <a:pt x="130" y="791"/>
                </a:cubicBezTo>
                <a:cubicBezTo>
                  <a:pt x="130" y="791"/>
                  <a:pt x="133" y="798"/>
                  <a:pt x="130" y="805"/>
                </a:cubicBezTo>
                <a:cubicBezTo>
                  <a:pt x="127" y="811"/>
                  <a:pt x="128" y="879"/>
                  <a:pt x="131" y="888"/>
                </a:cubicBezTo>
                <a:cubicBezTo>
                  <a:pt x="134" y="897"/>
                  <a:pt x="143" y="905"/>
                  <a:pt x="150" y="906"/>
                </a:cubicBezTo>
                <a:cubicBezTo>
                  <a:pt x="156" y="907"/>
                  <a:pt x="171" y="904"/>
                  <a:pt x="179" y="878"/>
                </a:cubicBezTo>
                <a:cubicBezTo>
                  <a:pt x="188" y="851"/>
                  <a:pt x="173" y="836"/>
                  <a:pt x="173" y="826"/>
                </a:cubicBezTo>
                <a:cubicBezTo>
                  <a:pt x="173" y="816"/>
                  <a:pt x="181" y="793"/>
                  <a:pt x="183" y="793"/>
                </a:cubicBezTo>
                <a:cubicBezTo>
                  <a:pt x="184" y="793"/>
                  <a:pt x="185" y="792"/>
                  <a:pt x="186" y="801"/>
                </a:cubicBezTo>
                <a:cubicBezTo>
                  <a:pt x="187" y="810"/>
                  <a:pt x="184" y="840"/>
                  <a:pt x="188" y="850"/>
                </a:cubicBezTo>
                <a:cubicBezTo>
                  <a:pt x="193" y="860"/>
                  <a:pt x="198" y="893"/>
                  <a:pt x="198" y="893"/>
                </a:cubicBezTo>
                <a:cubicBezTo>
                  <a:pt x="198" y="893"/>
                  <a:pt x="201" y="953"/>
                  <a:pt x="198" y="958"/>
                </a:cubicBezTo>
                <a:cubicBezTo>
                  <a:pt x="196" y="963"/>
                  <a:pt x="191" y="1019"/>
                  <a:pt x="186" y="1021"/>
                </a:cubicBezTo>
                <a:cubicBezTo>
                  <a:pt x="180" y="1024"/>
                  <a:pt x="177" y="1039"/>
                  <a:pt x="179" y="1050"/>
                </a:cubicBezTo>
                <a:cubicBezTo>
                  <a:pt x="182" y="1060"/>
                  <a:pt x="229" y="1059"/>
                  <a:pt x="232" y="1050"/>
                </a:cubicBezTo>
                <a:cubicBezTo>
                  <a:pt x="236" y="1041"/>
                  <a:pt x="233" y="1014"/>
                  <a:pt x="236" y="1009"/>
                </a:cubicBezTo>
                <a:cubicBezTo>
                  <a:pt x="240" y="1005"/>
                  <a:pt x="239" y="985"/>
                  <a:pt x="236" y="982"/>
                </a:cubicBezTo>
                <a:cubicBezTo>
                  <a:pt x="234" y="978"/>
                  <a:pt x="233" y="981"/>
                  <a:pt x="234" y="976"/>
                </a:cubicBezTo>
                <a:cubicBezTo>
                  <a:pt x="235" y="970"/>
                  <a:pt x="238" y="965"/>
                  <a:pt x="233" y="956"/>
                </a:cubicBezTo>
                <a:cubicBezTo>
                  <a:pt x="233" y="956"/>
                  <a:pt x="234" y="910"/>
                  <a:pt x="239" y="887"/>
                </a:cubicBezTo>
                <a:cubicBezTo>
                  <a:pt x="243" y="865"/>
                  <a:pt x="264" y="810"/>
                  <a:pt x="250" y="774"/>
                </a:cubicBezTo>
                <a:cubicBezTo>
                  <a:pt x="250" y="774"/>
                  <a:pt x="242" y="752"/>
                  <a:pt x="247" y="734"/>
                </a:cubicBezTo>
                <a:cubicBezTo>
                  <a:pt x="252" y="717"/>
                  <a:pt x="264" y="633"/>
                  <a:pt x="269" y="626"/>
                </a:cubicBezTo>
                <a:cubicBezTo>
                  <a:pt x="274" y="618"/>
                  <a:pt x="277" y="517"/>
                  <a:pt x="273" y="500"/>
                </a:cubicBezTo>
                <a:cubicBezTo>
                  <a:pt x="268" y="483"/>
                  <a:pt x="262" y="450"/>
                  <a:pt x="254" y="436"/>
                </a:cubicBezTo>
                <a:cubicBezTo>
                  <a:pt x="247" y="422"/>
                  <a:pt x="243" y="379"/>
                  <a:pt x="248" y="368"/>
                </a:cubicBezTo>
                <a:cubicBezTo>
                  <a:pt x="248" y="368"/>
                  <a:pt x="270" y="300"/>
                  <a:pt x="272" y="286"/>
                </a:cubicBezTo>
                <a:cubicBezTo>
                  <a:pt x="273" y="272"/>
                  <a:pt x="276" y="263"/>
                  <a:pt x="285" y="274"/>
                </a:cubicBezTo>
                <a:cubicBezTo>
                  <a:pt x="294" y="284"/>
                  <a:pt x="340" y="342"/>
                  <a:pt x="340" y="342"/>
                </a:cubicBezTo>
                <a:cubicBezTo>
                  <a:pt x="340" y="342"/>
                  <a:pt x="357" y="382"/>
                  <a:pt x="366" y="426"/>
                </a:cubicBezTo>
                <a:cubicBezTo>
                  <a:pt x="374" y="469"/>
                  <a:pt x="375" y="487"/>
                  <a:pt x="372" y="487"/>
                </a:cubicBezTo>
                <a:cubicBezTo>
                  <a:pt x="372" y="487"/>
                  <a:pt x="347" y="505"/>
                  <a:pt x="365" y="533"/>
                </a:cubicBezTo>
                <a:cubicBezTo>
                  <a:pt x="365" y="533"/>
                  <a:pt x="368" y="539"/>
                  <a:pt x="369" y="523"/>
                </a:cubicBezTo>
                <a:cubicBezTo>
                  <a:pt x="370" y="508"/>
                  <a:pt x="380" y="542"/>
                  <a:pt x="373" y="552"/>
                </a:cubicBezTo>
                <a:cubicBezTo>
                  <a:pt x="367" y="563"/>
                  <a:pt x="364" y="570"/>
                  <a:pt x="367" y="575"/>
                </a:cubicBezTo>
                <a:cubicBezTo>
                  <a:pt x="367" y="575"/>
                  <a:pt x="370" y="577"/>
                  <a:pt x="372" y="575"/>
                </a:cubicBezTo>
                <a:cubicBezTo>
                  <a:pt x="373" y="573"/>
                  <a:pt x="368" y="585"/>
                  <a:pt x="372" y="585"/>
                </a:cubicBezTo>
                <a:cubicBezTo>
                  <a:pt x="376" y="585"/>
                  <a:pt x="408" y="555"/>
                  <a:pt x="405" y="535"/>
                </a:cubicBezTo>
                <a:cubicBezTo>
                  <a:pt x="405" y="535"/>
                  <a:pt x="407" y="526"/>
                  <a:pt x="401" y="487"/>
                </a:cubicBezTo>
                <a:close/>
                <a:moveTo>
                  <a:pt x="109" y="369"/>
                </a:moveTo>
                <a:cubicBezTo>
                  <a:pt x="98" y="369"/>
                  <a:pt x="55" y="351"/>
                  <a:pt x="61" y="349"/>
                </a:cubicBezTo>
                <a:cubicBezTo>
                  <a:pt x="67" y="347"/>
                  <a:pt x="96" y="273"/>
                  <a:pt x="96" y="273"/>
                </a:cubicBezTo>
                <a:cubicBezTo>
                  <a:pt x="91" y="284"/>
                  <a:pt x="101" y="309"/>
                  <a:pt x="101" y="309"/>
                </a:cubicBezTo>
                <a:cubicBezTo>
                  <a:pt x="112" y="332"/>
                  <a:pt x="109" y="369"/>
                  <a:pt x="109" y="369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spcFirstLastPara="1" wrap="square" lIns="91440" tIns="45720" rIns="91440" bIns="4572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</a:endParaRPr>
          </a:p>
        </p:txBody>
      </p:sp>
      <p:sp>
        <p:nvSpPr>
          <p:cNvPr id="47" name="任意多边形: 形状 46"/>
          <p:cNvSpPr/>
          <p:nvPr/>
        </p:nvSpPr>
        <p:spPr>
          <a:xfrm>
            <a:off x="4872730" y="1254125"/>
            <a:ext cx="2625603" cy="3365789"/>
          </a:xfrm>
          <a:custGeom>
            <a:avLst/>
            <a:gdLst/>
            <a:ahLst/>
            <a:cxnLst/>
            <a:rect l="l" t="t" r="r" b="b"/>
            <a:pathLst>
              <a:path w="1159" h="1485" extrusionOk="0">
                <a:moveTo>
                  <a:pt x="503" y="222"/>
                </a:moveTo>
                <a:cubicBezTo>
                  <a:pt x="503" y="222"/>
                  <a:pt x="512" y="165"/>
                  <a:pt x="539" y="152"/>
                </a:cubicBezTo>
                <a:cubicBezTo>
                  <a:pt x="539" y="152"/>
                  <a:pt x="583" y="121"/>
                  <a:pt x="621" y="170"/>
                </a:cubicBezTo>
                <a:cubicBezTo>
                  <a:pt x="621" y="170"/>
                  <a:pt x="639" y="189"/>
                  <a:pt x="636" y="220"/>
                </a:cubicBezTo>
                <a:cubicBezTo>
                  <a:pt x="636" y="222"/>
                  <a:pt x="632" y="236"/>
                  <a:pt x="633" y="235"/>
                </a:cubicBezTo>
                <a:cubicBezTo>
                  <a:pt x="649" y="231"/>
                  <a:pt x="639" y="254"/>
                  <a:pt x="635" y="258"/>
                </a:cubicBezTo>
                <a:cubicBezTo>
                  <a:pt x="627" y="267"/>
                  <a:pt x="627" y="267"/>
                  <a:pt x="622" y="265"/>
                </a:cubicBezTo>
                <a:cubicBezTo>
                  <a:pt x="622" y="265"/>
                  <a:pt x="603" y="290"/>
                  <a:pt x="599" y="303"/>
                </a:cubicBezTo>
                <a:cubicBezTo>
                  <a:pt x="594" y="318"/>
                  <a:pt x="602" y="323"/>
                  <a:pt x="602" y="323"/>
                </a:cubicBezTo>
                <a:cubicBezTo>
                  <a:pt x="602" y="323"/>
                  <a:pt x="620" y="322"/>
                  <a:pt x="634" y="331"/>
                </a:cubicBezTo>
                <a:cubicBezTo>
                  <a:pt x="647" y="340"/>
                  <a:pt x="703" y="324"/>
                  <a:pt x="730" y="340"/>
                </a:cubicBezTo>
                <a:cubicBezTo>
                  <a:pt x="757" y="356"/>
                  <a:pt x="873" y="348"/>
                  <a:pt x="884" y="348"/>
                </a:cubicBezTo>
                <a:cubicBezTo>
                  <a:pt x="894" y="348"/>
                  <a:pt x="966" y="297"/>
                  <a:pt x="966" y="297"/>
                </a:cubicBezTo>
                <a:cubicBezTo>
                  <a:pt x="966" y="297"/>
                  <a:pt x="1020" y="265"/>
                  <a:pt x="1030" y="255"/>
                </a:cubicBezTo>
                <a:cubicBezTo>
                  <a:pt x="1037" y="247"/>
                  <a:pt x="1159" y="190"/>
                  <a:pt x="1150" y="212"/>
                </a:cubicBezTo>
                <a:cubicBezTo>
                  <a:pt x="1150" y="212"/>
                  <a:pt x="1107" y="233"/>
                  <a:pt x="1103" y="234"/>
                </a:cubicBezTo>
                <a:cubicBezTo>
                  <a:pt x="1101" y="235"/>
                  <a:pt x="1111" y="237"/>
                  <a:pt x="1110" y="244"/>
                </a:cubicBezTo>
                <a:cubicBezTo>
                  <a:pt x="1110" y="248"/>
                  <a:pt x="1100" y="250"/>
                  <a:pt x="1104" y="252"/>
                </a:cubicBezTo>
                <a:cubicBezTo>
                  <a:pt x="1120" y="262"/>
                  <a:pt x="1104" y="265"/>
                  <a:pt x="1107" y="268"/>
                </a:cubicBezTo>
                <a:cubicBezTo>
                  <a:pt x="1122" y="280"/>
                  <a:pt x="1100" y="287"/>
                  <a:pt x="1100" y="287"/>
                </a:cubicBezTo>
                <a:cubicBezTo>
                  <a:pt x="1100" y="287"/>
                  <a:pt x="1085" y="291"/>
                  <a:pt x="1079" y="291"/>
                </a:cubicBezTo>
                <a:cubicBezTo>
                  <a:pt x="1073" y="291"/>
                  <a:pt x="1061" y="294"/>
                  <a:pt x="1061" y="294"/>
                </a:cubicBezTo>
                <a:cubicBezTo>
                  <a:pt x="1061" y="294"/>
                  <a:pt x="1057" y="296"/>
                  <a:pt x="1050" y="298"/>
                </a:cubicBezTo>
                <a:cubicBezTo>
                  <a:pt x="1043" y="301"/>
                  <a:pt x="1033" y="303"/>
                  <a:pt x="1033" y="303"/>
                </a:cubicBezTo>
                <a:cubicBezTo>
                  <a:pt x="1033" y="303"/>
                  <a:pt x="1032" y="303"/>
                  <a:pt x="1026" y="309"/>
                </a:cubicBezTo>
                <a:cubicBezTo>
                  <a:pt x="1021" y="315"/>
                  <a:pt x="995" y="343"/>
                  <a:pt x="987" y="351"/>
                </a:cubicBezTo>
                <a:cubicBezTo>
                  <a:pt x="977" y="360"/>
                  <a:pt x="935" y="388"/>
                  <a:pt x="935" y="388"/>
                </a:cubicBezTo>
                <a:cubicBezTo>
                  <a:pt x="935" y="388"/>
                  <a:pt x="919" y="397"/>
                  <a:pt x="909" y="404"/>
                </a:cubicBezTo>
                <a:cubicBezTo>
                  <a:pt x="907" y="406"/>
                  <a:pt x="907" y="412"/>
                  <a:pt x="876" y="408"/>
                </a:cubicBezTo>
                <a:cubicBezTo>
                  <a:pt x="869" y="407"/>
                  <a:pt x="836" y="410"/>
                  <a:pt x="836" y="410"/>
                </a:cubicBezTo>
                <a:cubicBezTo>
                  <a:pt x="836" y="410"/>
                  <a:pt x="781" y="434"/>
                  <a:pt x="711" y="404"/>
                </a:cubicBezTo>
                <a:cubicBezTo>
                  <a:pt x="711" y="404"/>
                  <a:pt x="692" y="402"/>
                  <a:pt x="690" y="415"/>
                </a:cubicBezTo>
                <a:cubicBezTo>
                  <a:pt x="689" y="427"/>
                  <a:pt x="683" y="441"/>
                  <a:pt x="680" y="458"/>
                </a:cubicBezTo>
                <a:cubicBezTo>
                  <a:pt x="677" y="474"/>
                  <a:pt x="687" y="504"/>
                  <a:pt x="687" y="504"/>
                </a:cubicBezTo>
                <a:cubicBezTo>
                  <a:pt x="687" y="504"/>
                  <a:pt x="650" y="641"/>
                  <a:pt x="649" y="651"/>
                </a:cubicBezTo>
                <a:cubicBezTo>
                  <a:pt x="647" y="660"/>
                  <a:pt x="681" y="688"/>
                  <a:pt x="682" y="696"/>
                </a:cubicBezTo>
                <a:cubicBezTo>
                  <a:pt x="683" y="704"/>
                  <a:pt x="686" y="766"/>
                  <a:pt x="686" y="766"/>
                </a:cubicBezTo>
                <a:cubicBezTo>
                  <a:pt x="686" y="766"/>
                  <a:pt x="675" y="814"/>
                  <a:pt x="683" y="823"/>
                </a:cubicBezTo>
                <a:cubicBezTo>
                  <a:pt x="683" y="823"/>
                  <a:pt x="689" y="826"/>
                  <a:pt x="678" y="835"/>
                </a:cubicBezTo>
                <a:cubicBezTo>
                  <a:pt x="666" y="845"/>
                  <a:pt x="667" y="849"/>
                  <a:pt x="667" y="849"/>
                </a:cubicBezTo>
                <a:cubicBezTo>
                  <a:pt x="667" y="849"/>
                  <a:pt x="668" y="921"/>
                  <a:pt x="664" y="946"/>
                </a:cubicBezTo>
                <a:cubicBezTo>
                  <a:pt x="659" y="970"/>
                  <a:pt x="651" y="1078"/>
                  <a:pt x="624" y="1084"/>
                </a:cubicBezTo>
                <a:cubicBezTo>
                  <a:pt x="624" y="1084"/>
                  <a:pt x="603" y="1089"/>
                  <a:pt x="589" y="1068"/>
                </a:cubicBezTo>
                <a:cubicBezTo>
                  <a:pt x="589" y="1068"/>
                  <a:pt x="574" y="1056"/>
                  <a:pt x="575" y="1048"/>
                </a:cubicBezTo>
                <a:cubicBezTo>
                  <a:pt x="577" y="1040"/>
                  <a:pt x="577" y="1040"/>
                  <a:pt x="577" y="1040"/>
                </a:cubicBezTo>
                <a:cubicBezTo>
                  <a:pt x="577" y="1040"/>
                  <a:pt x="563" y="1013"/>
                  <a:pt x="567" y="1000"/>
                </a:cubicBezTo>
                <a:cubicBezTo>
                  <a:pt x="565" y="964"/>
                  <a:pt x="565" y="964"/>
                  <a:pt x="565" y="964"/>
                </a:cubicBezTo>
                <a:cubicBezTo>
                  <a:pt x="565" y="964"/>
                  <a:pt x="557" y="959"/>
                  <a:pt x="554" y="954"/>
                </a:cubicBezTo>
                <a:cubicBezTo>
                  <a:pt x="552" y="949"/>
                  <a:pt x="550" y="940"/>
                  <a:pt x="550" y="940"/>
                </a:cubicBezTo>
                <a:cubicBezTo>
                  <a:pt x="550" y="940"/>
                  <a:pt x="535" y="1000"/>
                  <a:pt x="538" y="1012"/>
                </a:cubicBezTo>
                <a:cubicBezTo>
                  <a:pt x="540" y="1024"/>
                  <a:pt x="538" y="1052"/>
                  <a:pt x="538" y="1052"/>
                </a:cubicBezTo>
                <a:cubicBezTo>
                  <a:pt x="538" y="1052"/>
                  <a:pt x="544" y="1072"/>
                  <a:pt x="538" y="1085"/>
                </a:cubicBezTo>
                <a:cubicBezTo>
                  <a:pt x="531" y="1097"/>
                  <a:pt x="530" y="1114"/>
                  <a:pt x="530" y="1114"/>
                </a:cubicBezTo>
                <a:cubicBezTo>
                  <a:pt x="530" y="1114"/>
                  <a:pt x="542" y="1146"/>
                  <a:pt x="538" y="1163"/>
                </a:cubicBezTo>
                <a:cubicBezTo>
                  <a:pt x="534" y="1181"/>
                  <a:pt x="523" y="1253"/>
                  <a:pt x="523" y="1253"/>
                </a:cubicBezTo>
                <a:cubicBezTo>
                  <a:pt x="523" y="1253"/>
                  <a:pt x="520" y="1350"/>
                  <a:pt x="523" y="1357"/>
                </a:cubicBezTo>
                <a:cubicBezTo>
                  <a:pt x="527" y="1364"/>
                  <a:pt x="546" y="1384"/>
                  <a:pt x="544" y="1393"/>
                </a:cubicBezTo>
                <a:cubicBezTo>
                  <a:pt x="542" y="1403"/>
                  <a:pt x="549" y="1408"/>
                  <a:pt x="552" y="1417"/>
                </a:cubicBezTo>
                <a:cubicBezTo>
                  <a:pt x="556" y="1425"/>
                  <a:pt x="550" y="1441"/>
                  <a:pt x="550" y="1441"/>
                </a:cubicBezTo>
                <a:cubicBezTo>
                  <a:pt x="550" y="1441"/>
                  <a:pt x="563" y="1457"/>
                  <a:pt x="557" y="1460"/>
                </a:cubicBezTo>
                <a:cubicBezTo>
                  <a:pt x="551" y="1462"/>
                  <a:pt x="508" y="1476"/>
                  <a:pt x="502" y="1481"/>
                </a:cubicBezTo>
                <a:cubicBezTo>
                  <a:pt x="496" y="1485"/>
                  <a:pt x="479" y="1477"/>
                  <a:pt x="477" y="1470"/>
                </a:cubicBezTo>
                <a:cubicBezTo>
                  <a:pt x="474" y="1463"/>
                  <a:pt x="479" y="1453"/>
                  <a:pt x="477" y="1448"/>
                </a:cubicBezTo>
                <a:cubicBezTo>
                  <a:pt x="474" y="1443"/>
                  <a:pt x="473" y="1434"/>
                  <a:pt x="473" y="1434"/>
                </a:cubicBezTo>
                <a:cubicBezTo>
                  <a:pt x="469" y="1417"/>
                  <a:pt x="469" y="1417"/>
                  <a:pt x="469" y="1417"/>
                </a:cubicBezTo>
                <a:cubicBezTo>
                  <a:pt x="469" y="1399"/>
                  <a:pt x="469" y="1399"/>
                  <a:pt x="469" y="1399"/>
                </a:cubicBezTo>
                <a:cubicBezTo>
                  <a:pt x="469" y="1399"/>
                  <a:pt x="477" y="1392"/>
                  <a:pt x="472" y="1385"/>
                </a:cubicBezTo>
                <a:cubicBezTo>
                  <a:pt x="467" y="1378"/>
                  <a:pt x="473" y="1369"/>
                  <a:pt x="473" y="1369"/>
                </a:cubicBezTo>
                <a:cubicBezTo>
                  <a:pt x="478" y="1362"/>
                  <a:pt x="478" y="1362"/>
                  <a:pt x="478" y="1362"/>
                </a:cubicBezTo>
                <a:cubicBezTo>
                  <a:pt x="478" y="1362"/>
                  <a:pt x="453" y="1182"/>
                  <a:pt x="454" y="1166"/>
                </a:cubicBezTo>
                <a:cubicBezTo>
                  <a:pt x="455" y="1149"/>
                  <a:pt x="457" y="1105"/>
                  <a:pt x="462" y="1105"/>
                </a:cubicBezTo>
                <a:cubicBezTo>
                  <a:pt x="468" y="1105"/>
                  <a:pt x="468" y="1055"/>
                  <a:pt x="467" y="1045"/>
                </a:cubicBezTo>
                <a:cubicBezTo>
                  <a:pt x="466" y="1034"/>
                  <a:pt x="461" y="1029"/>
                  <a:pt x="456" y="1017"/>
                </a:cubicBezTo>
                <a:cubicBezTo>
                  <a:pt x="452" y="1005"/>
                  <a:pt x="422" y="918"/>
                  <a:pt x="429" y="847"/>
                </a:cubicBezTo>
                <a:cubicBezTo>
                  <a:pt x="432" y="818"/>
                  <a:pt x="428" y="867"/>
                  <a:pt x="404" y="839"/>
                </a:cubicBezTo>
                <a:cubicBezTo>
                  <a:pt x="397" y="830"/>
                  <a:pt x="385" y="838"/>
                  <a:pt x="385" y="838"/>
                </a:cubicBezTo>
                <a:cubicBezTo>
                  <a:pt x="385" y="838"/>
                  <a:pt x="345" y="846"/>
                  <a:pt x="377" y="802"/>
                </a:cubicBezTo>
                <a:cubicBezTo>
                  <a:pt x="388" y="788"/>
                  <a:pt x="390" y="756"/>
                  <a:pt x="390" y="752"/>
                </a:cubicBezTo>
                <a:cubicBezTo>
                  <a:pt x="390" y="745"/>
                  <a:pt x="397" y="747"/>
                  <a:pt x="397" y="747"/>
                </a:cubicBezTo>
                <a:cubicBezTo>
                  <a:pt x="397" y="747"/>
                  <a:pt x="425" y="682"/>
                  <a:pt x="431" y="682"/>
                </a:cubicBezTo>
                <a:cubicBezTo>
                  <a:pt x="438" y="682"/>
                  <a:pt x="445" y="670"/>
                  <a:pt x="445" y="670"/>
                </a:cubicBezTo>
                <a:cubicBezTo>
                  <a:pt x="441" y="658"/>
                  <a:pt x="441" y="658"/>
                  <a:pt x="441" y="658"/>
                </a:cubicBezTo>
                <a:cubicBezTo>
                  <a:pt x="441" y="658"/>
                  <a:pt x="429" y="641"/>
                  <a:pt x="421" y="633"/>
                </a:cubicBezTo>
                <a:cubicBezTo>
                  <a:pt x="413" y="625"/>
                  <a:pt x="413" y="548"/>
                  <a:pt x="413" y="548"/>
                </a:cubicBezTo>
                <a:cubicBezTo>
                  <a:pt x="413" y="478"/>
                  <a:pt x="413" y="478"/>
                  <a:pt x="413" y="478"/>
                </a:cubicBezTo>
                <a:cubicBezTo>
                  <a:pt x="413" y="478"/>
                  <a:pt x="419" y="442"/>
                  <a:pt x="419" y="438"/>
                </a:cubicBezTo>
                <a:cubicBezTo>
                  <a:pt x="419" y="433"/>
                  <a:pt x="395" y="388"/>
                  <a:pt x="388" y="383"/>
                </a:cubicBezTo>
                <a:cubicBezTo>
                  <a:pt x="381" y="379"/>
                  <a:pt x="296" y="376"/>
                  <a:pt x="238" y="322"/>
                </a:cubicBezTo>
                <a:cubicBezTo>
                  <a:pt x="238" y="322"/>
                  <a:pt x="230" y="319"/>
                  <a:pt x="213" y="312"/>
                </a:cubicBezTo>
                <a:cubicBezTo>
                  <a:pt x="209" y="311"/>
                  <a:pt x="201" y="296"/>
                  <a:pt x="197" y="293"/>
                </a:cubicBezTo>
                <a:cubicBezTo>
                  <a:pt x="157" y="269"/>
                  <a:pt x="106" y="210"/>
                  <a:pt x="89" y="156"/>
                </a:cubicBezTo>
                <a:cubicBezTo>
                  <a:pt x="89" y="156"/>
                  <a:pt x="79" y="139"/>
                  <a:pt x="75" y="139"/>
                </a:cubicBezTo>
                <a:cubicBezTo>
                  <a:pt x="72" y="139"/>
                  <a:pt x="42" y="125"/>
                  <a:pt x="35" y="121"/>
                </a:cubicBezTo>
                <a:cubicBezTo>
                  <a:pt x="17" y="110"/>
                  <a:pt x="1" y="91"/>
                  <a:pt x="11" y="85"/>
                </a:cubicBezTo>
                <a:cubicBezTo>
                  <a:pt x="14" y="83"/>
                  <a:pt x="8" y="75"/>
                  <a:pt x="11" y="69"/>
                </a:cubicBezTo>
                <a:cubicBezTo>
                  <a:pt x="12" y="66"/>
                  <a:pt x="14" y="66"/>
                  <a:pt x="16" y="63"/>
                </a:cubicBezTo>
                <a:cubicBezTo>
                  <a:pt x="18" y="60"/>
                  <a:pt x="16" y="52"/>
                  <a:pt x="18" y="49"/>
                </a:cubicBezTo>
                <a:cubicBezTo>
                  <a:pt x="20" y="44"/>
                  <a:pt x="28" y="45"/>
                  <a:pt x="28" y="47"/>
                </a:cubicBezTo>
                <a:cubicBezTo>
                  <a:pt x="0" y="13"/>
                  <a:pt x="0" y="13"/>
                  <a:pt x="0" y="13"/>
                </a:cubicBezTo>
                <a:cubicBezTo>
                  <a:pt x="0" y="13"/>
                  <a:pt x="3" y="0"/>
                  <a:pt x="24" y="21"/>
                </a:cubicBezTo>
                <a:cubicBezTo>
                  <a:pt x="33" y="29"/>
                  <a:pt x="55" y="46"/>
                  <a:pt x="72" y="67"/>
                </a:cubicBezTo>
                <a:cubicBezTo>
                  <a:pt x="95" y="95"/>
                  <a:pt x="114" y="128"/>
                  <a:pt x="114" y="128"/>
                </a:cubicBezTo>
                <a:cubicBezTo>
                  <a:pt x="114" y="128"/>
                  <a:pt x="153" y="160"/>
                  <a:pt x="183" y="190"/>
                </a:cubicBezTo>
                <a:cubicBezTo>
                  <a:pt x="219" y="227"/>
                  <a:pt x="246" y="262"/>
                  <a:pt x="250" y="265"/>
                </a:cubicBezTo>
                <a:cubicBezTo>
                  <a:pt x="259" y="273"/>
                  <a:pt x="283" y="271"/>
                  <a:pt x="370" y="308"/>
                </a:cubicBezTo>
                <a:cubicBezTo>
                  <a:pt x="377" y="311"/>
                  <a:pt x="398" y="297"/>
                  <a:pt x="466" y="330"/>
                </a:cubicBezTo>
                <a:cubicBezTo>
                  <a:pt x="466" y="330"/>
                  <a:pt x="484" y="320"/>
                  <a:pt x="502" y="312"/>
                </a:cubicBezTo>
                <a:cubicBezTo>
                  <a:pt x="513" y="308"/>
                  <a:pt x="506" y="290"/>
                  <a:pt x="506" y="290"/>
                </a:cubicBezTo>
                <a:cubicBezTo>
                  <a:pt x="506" y="290"/>
                  <a:pt x="502" y="264"/>
                  <a:pt x="499" y="263"/>
                </a:cubicBezTo>
                <a:cubicBezTo>
                  <a:pt x="497" y="263"/>
                  <a:pt x="492" y="255"/>
                  <a:pt x="492" y="255"/>
                </a:cubicBezTo>
                <a:cubicBezTo>
                  <a:pt x="492" y="255"/>
                  <a:pt x="486" y="229"/>
                  <a:pt x="491" y="226"/>
                </a:cubicBezTo>
                <a:cubicBezTo>
                  <a:pt x="494" y="223"/>
                  <a:pt x="501" y="227"/>
                  <a:pt x="501" y="227"/>
                </a:cubicBezTo>
                <a:lnTo>
                  <a:pt x="503" y="22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40" tIns="45720" rIns="91440" bIns="4572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7251593" y="5364535"/>
            <a:ext cx="2074475" cy="717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41" name="文本框 40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>
            <a:off x="7251593" y="4942820"/>
            <a:ext cx="2074475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b="1" dirty="0"/>
              <a:t>Text here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2865931" y="5364535"/>
            <a:ext cx="2074475" cy="717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>
            <a:off x="2865931" y="4942820"/>
            <a:ext cx="2074475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b="1" dirty="0"/>
              <a:t>Text here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673100" y="5364535"/>
            <a:ext cx="2074475" cy="717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>
            <a:off x="673100" y="4942820"/>
            <a:ext cx="2074475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b="1" dirty="0"/>
              <a:t>Text here</a:t>
            </a: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5058762" y="5364535"/>
            <a:ext cx="2074475" cy="717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>
            <a:off x="5058762" y="4942820"/>
            <a:ext cx="2074475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b="1" dirty="0"/>
              <a:t>Text here</a:t>
            </a: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9444425" y="5364535"/>
            <a:ext cx="2074475" cy="717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>
            <a:off x="9444425" y="4942820"/>
            <a:ext cx="2074475" cy="42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b="1" dirty="0"/>
              <a:t>Text here</a:t>
            </a:r>
          </a:p>
        </p:txBody>
      </p:sp>
      <p:cxnSp>
        <p:nvCxnSpPr>
          <p:cNvPr id="28" name="直接连接符 27"/>
          <p:cNvCxnSpPr/>
          <p:nvPr/>
        </p:nvCxnSpPr>
        <p:spPr>
          <a:xfrm>
            <a:off x="2806753" y="4990772"/>
            <a:ext cx="0" cy="104315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28"/>
          <p:cNvCxnSpPr/>
          <p:nvPr/>
        </p:nvCxnSpPr>
        <p:spPr>
          <a:xfrm>
            <a:off x="4999584" y="4990772"/>
            <a:ext cx="0" cy="104315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接连接符 29"/>
          <p:cNvCxnSpPr/>
          <p:nvPr/>
        </p:nvCxnSpPr>
        <p:spPr>
          <a:xfrm>
            <a:off x="7192415" y="4990772"/>
            <a:ext cx="0" cy="104315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连接符 30"/>
          <p:cNvCxnSpPr/>
          <p:nvPr/>
        </p:nvCxnSpPr>
        <p:spPr>
          <a:xfrm>
            <a:off x="9385246" y="4990772"/>
            <a:ext cx="0" cy="104315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72105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/>
              <a:t>Supporting text here.</a:t>
            </a:r>
          </a:p>
          <a:p>
            <a:pPr lvl="0"/>
            <a:r>
              <a:rPr lang="en-US" altLang="zh-CN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683554" y="2759231"/>
            <a:ext cx="97032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4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755254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0EB4161-E4F7-4D21-B245-041CD743CC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54DEC61-DCBB-4906-8784-3D5F5DAB9A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035EB2E-B05F-4BFA-97FF-4B5921D7D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2</a:t>
            </a:fld>
            <a:endParaRPr lang="zh-CN" altLang="en-US"/>
          </a:p>
        </p:txBody>
      </p:sp>
      <p:sp>
        <p:nvSpPr>
          <p:cNvPr id="43" name="箭头: 右 42">
            <a:extLst>
              <a:ext uri="{FF2B5EF4-FFF2-40B4-BE49-F238E27FC236}">
                <a16:creationId xmlns:a16="http://schemas.microsoft.com/office/drawing/2014/main" id="{CD2B9EC2-6138-484C-93C0-72B5637AA66F}"/>
              </a:ext>
            </a:extLst>
          </p:cNvPr>
          <p:cNvSpPr/>
          <p:nvPr/>
        </p:nvSpPr>
        <p:spPr bwMode="auto">
          <a:xfrm>
            <a:off x="659410" y="2634388"/>
            <a:ext cx="9111014" cy="845300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>
              <a:solidFill>
                <a:schemeClr val="dk1"/>
              </a:solidFill>
            </a:endParaRPr>
          </a:p>
        </p:txBody>
      </p:sp>
      <p:sp>
        <p:nvSpPr>
          <p:cNvPr id="44" name="椭圆 43">
            <a:extLst>
              <a:ext uri="{FF2B5EF4-FFF2-40B4-BE49-F238E27FC236}">
                <a16:creationId xmlns:a16="http://schemas.microsoft.com/office/drawing/2014/main" id="{EFEC217C-B6EF-4761-8A8C-FE4B078DC5D7}"/>
              </a:ext>
            </a:extLst>
          </p:cNvPr>
          <p:cNvSpPr/>
          <p:nvPr/>
        </p:nvSpPr>
        <p:spPr bwMode="auto">
          <a:xfrm>
            <a:off x="1726764" y="2582005"/>
            <a:ext cx="881240" cy="881240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/>
          <a:p>
            <a:pPr algn="ctr"/>
            <a:endParaRPr lang="zh-CN" altLang="en-US" sz="1200" b="1" i="1" dirty="0">
              <a:solidFill>
                <a:schemeClr val="bg1"/>
              </a:solidFill>
            </a:endParaRPr>
          </a:p>
        </p:txBody>
      </p:sp>
      <p:sp>
        <p:nvSpPr>
          <p:cNvPr id="45" name="椭圆 44">
            <a:extLst>
              <a:ext uri="{FF2B5EF4-FFF2-40B4-BE49-F238E27FC236}">
                <a16:creationId xmlns:a16="http://schemas.microsoft.com/office/drawing/2014/main" id="{B4F9953C-77F0-4B9C-AB61-CB3F703061D2}"/>
              </a:ext>
            </a:extLst>
          </p:cNvPr>
          <p:cNvSpPr/>
          <p:nvPr/>
        </p:nvSpPr>
        <p:spPr bwMode="auto">
          <a:xfrm>
            <a:off x="4734412" y="2582005"/>
            <a:ext cx="881240" cy="881240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/>
          <a:p>
            <a:pPr algn="ctr"/>
            <a:endParaRPr lang="zh-CN" altLang="en-US" sz="1200" b="1" i="1" dirty="0">
              <a:solidFill>
                <a:schemeClr val="bg1"/>
              </a:solidFill>
            </a:endParaRPr>
          </a:p>
        </p:txBody>
      </p:sp>
      <p:sp>
        <p:nvSpPr>
          <p:cNvPr id="46" name="椭圆 45">
            <a:extLst>
              <a:ext uri="{FF2B5EF4-FFF2-40B4-BE49-F238E27FC236}">
                <a16:creationId xmlns:a16="http://schemas.microsoft.com/office/drawing/2014/main" id="{747B33DA-8CD2-495E-947C-E2E2EA7A8879}"/>
              </a:ext>
            </a:extLst>
          </p:cNvPr>
          <p:cNvSpPr/>
          <p:nvPr/>
        </p:nvSpPr>
        <p:spPr bwMode="auto">
          <a:xfrm flipH="1">
            <a:off x="9504321" y="2042387"/>
            <a:ext cx="2028268" cy="2028938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/>
          </a:p>
        </p:txBody>
      </p:sp>
      <p:sp>
        <p:nvSpPr>
          <p:cNvPr id="250" name="矩形 249">
            <a:extLst>
              <a:ext uri="{FF2B5EF4-FFF2-40B4-BE49-F238E27FC236}">
                <a16:creationId xmlns:a16="http://schemas.microsoft.com/office/drawing/2014/main" id="{7541A94C-2371-4A51-A44F-30C8C0AD5063}"/>
              </a:ext>
            </a:extLst>
          </p:cNvPr>
          <p:cNvSpPr/>
          <p:nvPr/>
        </p:nvSpPr>
        <p:spPr bwMode="auto">
          <a:xfrm>
            <a:off x="787954" y="4039517"/>
            <a:ext cx="2758860" cy="776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ctr">
              <a:lnSpc>
                <a:spcPct val="13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251" name="文本框 250">
            <a:extLst>
              <a:ext uri="{FF2B5EF4-FFF2-40B4-BE49-F238E27FC236}">
                <a16:creationId xmlns:a16="http://schemas.microsoft.com/office/drawing/2014/main" id="{9A345158-71BA-4F24-99B0-CFE5D89E17A6}"/>
              </a:ext>
            </a:extLst>
          </p:cNvPr>
          <p:cNvSpPr txBox="1"/>
          <p:nvPr/>
        </p:nvSpPr>
        <p:spPr bwMode="auto">
          <a:xfrm>
            <a:off x="787954" y="3670075"/>
            <a:ext cx="2758860" cy="36944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 dirty="0"/>
              <a:t>Text here</a:t>
            </a:r>
          </a:p>
        </p:txBody>
      </p:sp>
      <p:sp>
        <p:nvSpPr>
          <p:cNvPr id="248" name="矩形 247">
            <a:extLst>
              <a:ext uri="{FF2B5EF4-FFF2-40B4-BE49-F238E27FC236}">
                <a16:creationId xmlns:a16="http://schemas.microsoft.com/office/drawing/2014/main" id="{F4EC7641-4431-421F-A59B-561F0EC86307}"/>
              </a:ext>
            </a:extLst>
          </p:cNvPr>
          <p:cNvSpPr/>
          <p:nvPr/>
        </p:nvSpPr>
        <p:spPr bwMode="auto">
          <a:xfrm>
            <a:off x="3795602" y="4039517"/>
            <a:ext cx="2758860" cy="776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ctr">
              <a:lnSpc>
                <a:spcPct val="13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249" name="文本框 248">
            <a:extLst>
              <a:ext uri="{FF2B5EF4-FFF2-40B4-BE49-F238E27FC236}">
                <a16:creationId xmlns:a16="http://schemas.microsoft.com/office/drawing/2014/main" id="{331C8320-4EAB-4269-B0FE-36476663CB53}"/>
              </a:ext>
            </a:extLst>
          </p:cNvPr>
          <p:cNvSpPr txBox="1"/>
          <p:nvPr/>
        </p:nvSpPr>
        <p:spPr bwMode="auto">
          <a:xfrm>
            <a:off x="3795602" y="3670075"/>
            <a:ext cx="2758860" cy="36944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 dirty="0"/>
              <a:t>Text here</a:t>
            </a:r>
          </a:p>
        </p:txBody>
      </p:sp>
      <p:sp>
        <p:nvSpPr>
          <p:cNvPr id="246" name="矩形 245">
            <a:extLst>
              <a:ext uri="{FF2B5EF4-FFF2-40B4-BE49-F238E27FC236}">
                <a16:creationId xmlns:a16="http://schemas.microsoft.com/office/drawing/2014/main" id="{7A558E6F-1C97-407B-93E0-A259AD84257E}"/>
              </a:ext>
            </a:extLst>
          </p:cNvPr>
          <p:cNvSpPr/>
          <p:nvPr/>
        </p:nvSpPr>
        <p:spPr bwMode="auto">
          <a:xfrm>
            <a:off x="6803249" y="4039517"/>
            <a:ext cx="2758860" cy="776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ctr">
              <a:lnSpc>
                <a:spcPct val="13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247" name="文本框 246">
            <a:extLst>
              <a:ext uri="{FF2B5EF4-FFF2-40B4-BE49-F238E27FC236}">
                <a16:creationId xmlns:a16="http://schemas.microsoft.com/office/drawing/2014/main" id="{78DBF752-5A16-400D-B408-523C6E891660}"/>
              </a:ext>
            </a:extLst>
          </p:cNvPr>
          <p:cNvSpPr txBox="1"/>
          <p:nvPr/>
        </p:nvSpPr>
        <p:spPr bwMode="auto">
          <a:xfrm>
            <a:off x="6803249" y="3670075"/>
            <a:ext cx="2758860" cy="36944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 dirty="0"/>
              <a:t>Text here</a:t>
            </a:r>
          </a:p>
        </p:txBody>
      </p:sp>
      <p:sp>
        <p:nvSpPr>
          <p:cNvPr id="50" name="椭圆 49">
            <a:extLst>
              <a:ext uri="{FF2B5EF4-FFF2-40B4-BE49-F238E27FC236}">
                <a16:creationId xmlns:a16="http://schemas.microsoft.com/office/drawing/2014/main" id="{C2ECDBAC-C996-446E-893E-D303B831E1F7}"/>
              </a:ext>
            </a:extLst>
          </p:cNvPr>
          <p:cNvSpPr/>
          <p:nvPr/>
        </p:nvSpPr>
        <p:spPr bwMode="auto">
          <a:xfrm>
            <a:off x="7742059" y="2582005"/>
            <a:ext cx="881240" cy="881240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/>
          <a:p>
            <a:pPr algn="ctr"/>
            <a:endParaRPr lang="zh-CN" altLang="en-US" sz="1200" b="1" i="1" dirty="0">
              <a:solidFill>
                <a:schemeClr val="bg1"/>
              </a:solidFill>
            </a:endParaRP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CE50E58C-9CDB-FE4E-D5B9-509F3EC38D1D}"/>
              </a:ext>
            </a:extLst>
          </p:cNvPr>
          <p:cNvGrpSpPr/>
          <p:nvPr/>
        </p:nvGrpSpPr>
        <p:grpSpPr>
          <a:xfrm>
            <a:off x="9359899" y="1638783"/>
            <a:ext cx="2598338" cy="2400734"/>
            <a:chOff x="9359899" y="1638783"/>
            <a:chExt cx="2598338" cy="2400734"/>
          </a:xfrm>
        </p:grpSpPr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DFD27A52-8AA2-4962-BD2C-35B3C769F6D5}"/>
                </a:ext>
              </a:extLst>
            </p:cNvPr>
            <p:cNvSpPr/>
            <p:nvPr/>
          </p:nvSpPr>
          <p:spPr bwMode="auto">
            <a:xfrm>
              <a:off x="9586533" y="2057792"/>
              <a:ext cx="1716882" cy="1981725"/>
            </a:xfrm>
            <a:custGeom>
              <a:avLst/>
              <a:gdLst>
                <a:gd name="T0" fmla="*/ 0 w 1303"/>
                <a:gd name="T1" fmla="*/ 376 h 1504"/>
                <a:gd name="T2" fmla="*/ 652 w 1303"/>
                <a:gd name="T3" fmla="*/ 0 h 1504"/>
                <a:gd name="T4" fmla="*/ 1303 w 1303"/>
                <a:gd name="T5" fmla="*/ 376 h 1504"/>
                <a:gd name="T6" fmla="*/ 1303 w 1303"/>
                <a:gd name="T7" fmla="*/ 1129 h 1504"/>
                <a:gd name="T8" fmla="*/ 652 w 1303"/>
                <a:gd name="T9" fmla="*/ 1504 h 1504"/>
                <a:gd name="T10" fmla="*/ 0 w 1303"/>
                <a:gd name="T11" fmla="*/ 1129 h 1504"/>
                <a:gd name="T12" fmla="*/ 0 w 1303"/>
                <a:gd name="T13" fmla="*/ 376 h 1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3" h="1504">
                  <a:moveTo>
                    <a:pt x="0" y="376"/>
                  </a:moveTo>
                  <a:lnTo>
                    <a:pt x="652" y="0"/>
                  </a:lnTo>
                  <a:lnTo>
                    <a:pt x="1303" y="376"/>
                  </a:lnTo>
                  <a:lnTo>
                    <a:pt x="1303" y="1129"/>
                  </a:lnTo>
                  <a:lnTo>
                    <a:pt x="652" y="1504"/>
                  </a:lnTo>
                  <a:lnTo>
                    <a:pt x="0" y="1129"/>
                  </a:lnTo>
                  <a:lnTo>
                    <a:pt x="0" y="376"/>
                  </a:lnTo>
                  <a:close/>
                </a:path>
              </a:pathLst>
            </a:custGeom>
            <a:solidFill>
              <a:srgbClr val="F4DA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C6D9A3E6-FA55-4042-B04D-42E4350F2FF0}"/>
                </a:ext>
              </a:extLst>
            </p:cNvPr>
            <p:cNvSpPr/>
            <p:nvPr/>
          </p:nvSpPr>
          <p:spPr bwMode="auto">
            <a:xfrm>
              <a:off x="10445632" y="2057792"/>
              <a:ext cx="857782" cy="1981725"/>
            </a:xfrm>
            <a:custGeom>
              <a:avLst/>
              <a:gdLst>
                <a:gd name="T0" fmla="*/ 0 w 651"/>
                <a:gd name="T1" fmla="*/ 0 h 1504"/>
                <a:gd name="T2" fmla="*/ 651 w 651"/>
                <a:gd name="T3" fmla="*/ 376 h 1504"/>
                <a:gd name="T4" fmla="*/ 651 w 651"/>
                <a:gd name="T5" fmla="*/ 1129 h 1504"/>
                <a:gd name="T6" fmla="*/ 0 w 651"/>
                <a:gd name="T7" fmla="*/ 1504 h 1504"/>
                <a:gd name="T8" fmla="*/ 0 w 651"/>
                <a:gd name="T9" fmla="*/ 0 h 1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1" h="1504">
                  <a:moveTo>
                    <a:pt x="0" y="0"/>
                  </a:moveTo>
                  <a:lnTo>
                    <a:pt x="651" y="376"/>
                  </a:lnTo>
                  <a:lnTo>
                    <a:pt x="651" y="1129"/>
                  </a:lnTo>
                  <a:lnTo>
                    <a:pt x="0" y="15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3BD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74216BAA-0E64-4E4C-B7C9-1D4B3A2B2CD1}"/>
                </a:ext>
              </a:extLst>
            </p:cNvPr>
            <p:cNvSpPr/>
            <p:nvPr/>
          </p:nvSpPr>
          <p:spPr bwMode="auto">
            <a:xfrm>
              <a:off x="9359899" y="1638783"/>
              <a:ext cx="1085733" cy="914440"/>
            </a:xfrm>
            <a:custGeom>
              <a:avLst/>
              <a:gdLst>
                <a:gd name="T0" fmla="*/ 0 w 824"/>
                <a:gd name="T1" fmla="*/ 381 h 694"/>
                <a:gd name="T2" fmla="*/ 653 w 824"/>
                <a:gd name="T3" fmla="*/ 0 h 694"/>
                <a:gd name="T4" fmla="*/ 824 w 824"/>
                <a:gd name="T5" fmla="*/ 318 h 694"/>
                <a:gd name="T6" fmla="*/ 172 w 824"/>
                <a:gd name="T7" fmla="*/ 694 h 694"/>
                <a:gd name="T8" fmla="*/ 0 w 824"/>
                <a:gd name="T9" fmla="*/ 381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4" h="694">
                  <a:moveTo>
                    <a:pt x="0" y="381"/>
                  </a:moveTo>
                  <a:lnTo>
                    <a:pt x="653" y="0"/>
                  </a:lnTo>
                  <a:lnTo>
                    <a:pt x="824" y="318"/>
                  </a:lnTo>
                  <a:lnTo>
                    <a:pt x="172" y="694"/>
                  </a:lnTo>
                  <a:lnTo>
                    <a:pt x="0" y="381"/>
                  </a:lnTo>
                  <a:close/>
                </a:path>
              </a:pathLst>
            </a:custGeom>
            <a:solidFill>
              <a:srgbClr val="F0CA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194E00E4-7E1A-4F51-BA49-7A6E7F7FC3F2}"/>
                </a:ext>
              </a:extLst>
            </p:cNvPr>
            <p:cNvSpPr/>
            <p:nvPr/>
          </p:nvSpPr>
          <p:spPr bwMode="auto">
            <a:xfrm>
              <a:off x="10445632" y="1638783"/>
              <a:ext cx="1083098" cy="914440"/>
            </a:xfrm>
            <a:custGeom>
              <a:avLst/>
              <a:gdLst>
                <a:gd name="T0" fmla="*/ 822 w 822"/>
                <a:gd name="T1" fmla="*/ 381 h 694"/>
                <a:gd name="T2" fmla="*/ 169 w 822"/>
                <a:gd name="T3" fmla="*/ 0 h 694"/>
                <a:gd name="T4" fmla="*/ 0 w 822"/>
                <a:gd name="T5" fmla="*/ 318 h 694"/>
                <a:gd name="T6" fmla="*/ 651 w 822"/>
                <a:gd name="T7" fmla="*/ 694 h 694"/>
                <a:gd name="T8" fmla="*/ 822 w 822"/>
                <a:gd name="T9" fmla="*/ 381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2" h="694">
                  <a:moveTo>
                    <a:pt x="822" y="381"/>
                  </a:moveTo>
                  <a:lnTo>
                    <a:pt x="169" y="0"/>
                  </a:lnTo>
                  <a:lnTo>
                    <a:pt x="0" y="318"/>
                  </a:lnTo>
                  <a:lnTo>
                    <a:pt x="651" y="694"/>
                  </a:lnTo>
                  <a:lnTo>
                    <a:pt x="822" y="381"/>
                  </a:lnTo>
                  <a:close/>
                </a:path>
              </a:pathLst>
            </a:custGeom>
            <a:solidFill>
              <a:srgbClr val="F0CA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E7A49A63-CB37-4A99-8681-20A83B493CF1}"/>
                </a:ext>
              </a:extLst>
            </p:cNvPr>
            <p:cNvSpPr/>
            <p:nvPr/>
          </p:nvSpPr>
          <p:spPr bwMode="auto">
            <a:xfrm>
              <a:off x="9586533" y="2057792"/>
              <a:ext cx="1716882" cy="989545"/>
            </a:xfrm>
            <a:custGeom>
              <a:avLst/>
              <a:gdLst>
                <a:gd name="T0" fmla="*/ 0 w 1303"/>
                <a:gd name="T1" fmla="*/ 376 h 751"/>
                <a:gd name="T2" fmla="*/ 652 w 1303"/>
                <a:gd name="T3" fmla="*/ 0 h 751"/>
                <a:gd name="T4" fmla="*/ 1303 w 1303"/>
                <a:gd name="T5" fmla="*/ 376 h 751"/>
                <a:gd name="T6" fmla="*/ 1303 w 1303"/>
                <a:gd name="T7" fmla="*/ 376 h 751"/>
                <a:gd name="T8" fmla="*/ 652 w 1303"/>
                <a:gd name="T9" fmla="*/ 751 h 751"/>
                <a:gd name="T10" fmla="*/ 0 w 1303"/>
                <a:gd name="T11" fmla="*/ 376 h 751"/>
                <a:gd name="T12" fmla="*/ 0 w 1303"/>
                <a:gd name="T13" fmla="*/ 376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3" h="751">
                  <a:moveTo>
                    <a:pt x="0" y="376"/>
                  </a:moveTo>
                  <a:lnTo>
                    <a:pt x="652" y="0"/>
                  </a:lnTo>
                  <a:lnTo>
                    <a:pt x="1303" y="376"/>
                  </a:lnTo>
                  <a:lnTo>
                    <a:pt x="1303" y="376"/>
                  </a:lnTo>
                  <a:lnTo>
                    <a:pt x="652" y="751"/>
                  </a:lnTo>
                  <a:lnTo>
                    <a:pt x="0" y="376"/>
                  </a:lnTo>
                  <a:lnTo>
                    <a:pt x="0" y="376"/>
                  </a:lnTo>
                  <a:close/>
                </a:path>
              </a:pathLst>
            </a:custGeom>
            <a:solidFill>
              <a:srgbClr val="F3BD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DD16D1EB-0079-45C7-A5D3-E2A3061380B7}"/>
                </a:ext>
              </a:extLst>
            </p:cNvPr>
            <p:cNvSpPr/>
            <p:nvPr/>
          </p:nvSpPr>
          <p:spPr bwMode="auto">
            <a:xfrm>
              <a:off x="10395519" y="2886583"/>
              <a:ext cx="1400649" cy="214774"/>
            </a:xfrm>
            <a:custGeom>
              <a:avLst/>
              <a:gdLst>
                <a:gd name="T0" fmla="*/ 0 w 371"/>
                <a:gd name="T1" fmla="*/ 50 h 57"/>
                <a:gd name="T2" fmla="*/ 6 w 371"/>
                <a:gd name="T3" fmla="*/ 50 h 57"/>
                <a:gd name="T4" fmla="*/ 9 w 371"/>
                <a:gd name="T5" fmla="*/ 47 h 57"/>
                <a:gd name="T6" fmla="*/ 9 w 371"/>
                <a:gd name="T7" fmla="*/ 10 h 57"/>
                <a:gd name="T8" fmla="*/ 6 w 371"/>
                <a:gd name="T9" fmla="*/ 7 h 57"/>
                <a:gd name="T10" fmla="*/ 0 w 371"/>
                <a:gd name="T11" fmla="*/ 7 h 57"/>
                <a:gd name="T12" fmla="*/ 0 w 371"/>
                <a:gd name="T13" fmla="*/ 0 h 57"/>
                <a:gd name="T14" fmla="*/ 361 w 371"/>
                <a:gd name="T15" fmla="*/ 0 h 57"/>
                <a:gd name="T16" fmla="*/ 371 w 371"/>
                <a:gd name="T17" fmla="*/ 10 h 57"/>
                <a:gd name="T18" fmla="*/ 371 w 371"/>
                <a:gd name="T19" fmla="*/ 47 h 57"/>
                <a:gd name="T20" fmla="*/ 361 w 371"/>
                <a:gd name="T21" fmla="*/ 57 h 57"/>
                <a:gd name="T22" fmla="*/ 0 w 371"/>
                <a:gd name="T23" fmla="*/ 57 h 57"/>
                <a:gd name="T24" fmla="*/ 0 w 371"/>
                <a:gd name="T25" fmla="*/ 5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1" h="57">
                  <a:moveTo>
                    <a:pt x="0" y="50"/>
                  </a:moveTo>
                  <a:cubicBezTo>
                    <a:pt x="6" y="50"/>
                    <a:pt x="6" y="50"/>
                    <a:pt x="6" y="50"/>
                  </a:cubicBezTo>
                  <a:cubicBezTo>
                    <a:pt x="8" y="50"/>
                    <a:pt x="9" y="48"/>
                    <a:pt x="9" y="47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9"/>
                    <a:pt x="8" y="7"/>
                    <a:pt x="6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61" y="0"/>
                    <a:pt x="361" y="0"/>
                    <a:pt x="361" y="0"/>
                  </a:cubicBezTo>
                  <a:cubicBezTo>
                    <a:pt x="366" y="0"/>
                    <a:pt x="371" y="5"/>
                    <a:pt x="371" y="10"/>
                  </a:cubicBezTo>
                  <a:cubicBezTo>
                    <a:pt x="371" y="47"/>
                    <a:pt x="371" y="47"/>
                    <a:pt x="371" y="47"/>
                  </a:cubicBezTo>
                  <a:cubicBezTo>
                    <a:pt x="371" y="52"/>
                    <a:pt x="366" y="57"/>
                    <a:pt x="361" y="57"/>
                  </a:cubicBezTo>
                  <a:cubicBezTo>
                    <a:pt x="0" y="57"/>
                    <a:pt x="0" y="57"/>
                    <a:pt x="0" y="57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15B0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/>
            <a:p>
              <a:endParaRPr lang="zh-CN" altLang="en-US"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3C19E375-C4D6-4D05-9F96-992500ECDAA9}"/>
                </a:ext>
              </a:extLst>
            </p:cNvPr>
            <p:cNvSpPr/>
            <p:nvPr/>
          </p:nvSpPr>
          <p:spPr bwMode="auto">
            <a:xfrm>
              <a:off x="10694666" y="2885267"/>
              <a:ext cx="706254" cy="214774"/>
            </a:xfrm>
            <a:custGeom>
              <a:avLst/>
              <a:gdLst>
                <a:gd name="T0" fmla="*/ 0 w 187"/>
                <a:gd name="T1" fmla="*/ 50 h 57"/>
                <a:gd name="T2" fmla="*/ 6 w 187"/>
                <a:gd name="T3" fmla="*/ 50 h 57"/>
                <a:gd name="T4" fmla="*/ 9 w 187"/>
                <a:gd name="T5" fmla="*/ 47 h 57"/>
                <a:gd name="T6" fmla="*/ 9 w 187"/>
                <a:gd name="T7" fmla="*/ 10 h 57"/>
                <a:gd name="T8" fmla="*/ 6 w 187"/>
                <a:gd name="T9" fmla="*/ 7 h 57"/>
                <a:gd name="T10" fmla="*/ 0 w 187"/>
                <a:gd name="T11" fmla="*/ 7 h 57"/>
                <a:gd name="T12" fmla="*/ 0 w 187"/>
                <a:gd name="T13" fmla="*/ 0 h 57"/>
                <a:gd name="T14" fmla="*/ 187 w 187"/>
                <a:gd name="T15" fmla="*/ 0 h 57"/>
                <a:gd name="T16" fmla="*/ 187 w 187"/>
                <a:gd name="T17" fmla="*/ 57 h 57"/>
                <a:gd name="T18" fmla="*/ 0 w 187"/>
                <a:gd name="T19" fmla="*/ 57 h 57"/>
                <a:gd name="T20" fmla="*/ 0 w 187"/>
                <a:gd name="T21" fmla="*/ 5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7" h="57">
                  <a:moveTo>
                    <a:pt x="0" y="50"/>
                  </a:moveTo>
                  <a:cubicBezTo>
                    <a:pt x="6" y="50"/>
                    <a:pt x="6" y="50"/>
                    <a:pt x="6" y="50"/>
                  </a:cubicBezTo>
                  <a:cubicBezTo>
                    <a:pt x="8" y="50"/>
                    <a:pt x="9" y="48"/>
                    <a:pt x="9" y="47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9"/>
                    <a:pt x="8" y="7"/>
                    <a:pt x="6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7" y="0"/>
                    <a:pt x="187" y="0"/>
                    <a:pt x="187" y="0"/>
                  </a:cubicBezTo>
                  <a:cubicBezTo>
                    <a:pt x="187" y="57"/>
                    <a:pt x="187" y="57"/>
                    <a:pt x="187" y="57"/>
                  </a:cubicBezTo>
                  <a:cubicBezTo>
                    <a:pt x="0" y="57"/>
                    <a:pt x="0" y="57"/>
                    <a:pt x="0" y="57"/>
                  </a:cubicBezTo>
                  <a:lnTo>
                    <a:pt x="0" y="50"/>
                  </a:lnTo>
                  <a:close/>
                </a:path>
              </a:pathLst>
            </a:custGeom>
            <a:solidFill>
              <a:srgbClr val="16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55000" lnSpcReduction="20000"/>
            </a:bodyPr>
            <a:lstStyle/>
            <a:p>
              <a:endParaRPr lang="zh-CN" altLang="en-US"/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82E817B3-162F-4103-A01D-617F860B9BD0}"/>
                </a:ext>
              </a:extLst>
            </p:cNvPr>
            <p:cNvSpPr/>
            <p:nvPr/>
          </p:nvSpPr>
          <p:spPr bwMode="auto">
            <a:xfrm>
              <a:off x="10419236" y="2912936"/>
              <a:ext cx="1350579" cy="162069"/>
            </a:xfrm>
            <a:custGeom>
              <a:avLst/>
              <a:gdLst>
                <a:gd name="T0" fmla="*/ 3 w 358"/>
                <a:gd name="T1" fmla="*/ 40 h 43"/>
                <a:gd name="T2" fmla="*/ 3 w 358"/>
                <a:gd name="T3" fmla="*/ 3 h 43"/>
                <a:gd name="T4" fmla="*/ 0 w 358"/>
                <a:gd name="T5" fmla="*/ 0 h 43"/>
                <a:gd name="T6" fmla="*/ 355 w 358"/>
                <a:gd name="T7" fmla="*/ 0 h 43"/>
                <a:gd name="T8" fmla="*/ 358 w 358"/>
                <a:gd name="T9" fmla="*/ 3 h 43"/>
                <a:gd name="T10" fmla="*/ 358 w 358"/>
                <a:gd name="T11" fmla="*/ 40 h 43"/>
                <a:gd name="T12" fmla="*/ 355 w 358"/>
                <a:gd name="T13" fmla="*/ 43 h 43"/>
                <a:gd name="T14" fmla="*/ 0 w 358"/>
                <a:gd name="T15" fmla="*/ 43 h 43"/>
                <a:gd name="T16" fmla="*/ 3 w 358"/>
                <a:gd name="T17" fmla="*/ 4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8" h="43">
                  <a:moveTo>
                    <a:pt x="3" y="40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2" y="0"/>
                    <a:pt x="0" y="0"/>
                  </a:cubicBezTo>
                  <a:cubicBezTo>
                    <a:pt x="355" y="0"/>
                    <a:pt x="355" y="0"/>
                    <a:pt x="355" y="0"/>
                  </a:cubicBezTo>
                  <a:cubicBezTo>
                    <a:pt x="356" y="0"/>
                    <a:pt x="358" y="2"/>
                    <a:pt x="358" y="3"/>
                  </a:cubicBezTo>
                  <a:cubicBezTo>
                    <a:pt x="358" y="40"/>
                    <a:pt x="358" y="40"/>
                    <a:pt x="358" y="40"/>
                  </a:cubicBezTo>
                  <a:cubicBezTo>
                    <a:pt x="358" y="41"/>
                    <a:pt x="356" y="43"/>
                    <a:pt x="355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2" y="43"/>
                    <a:pt x="3" y="41"/>
                    <a:pt x="3" y="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2B764358-B203-4A94-9F5C-2004A6E82F6E}"/>
                </a:ext>
              </a:extLst>
            </p:cNvPr>
            <p:cNvSpPr/>
            <p:nvPr/>
          </p:nvSpPr>
          <p:spPr bwMode="auto">
            <a:xfrm>
              <a:off x="10781586" y="2674444"/>
              <a:ext cx="905217" cy="212139"/>
            </a:xfrm>
            <a:custGeom>
              <a:avLst/>
              <a:gdLst>
                <a:gd name="T0" fmla="*/ 240 w 240"/>
                <a:gd name="T1" fmla="*/ 49 h 56"/>
                <a:gd name="T2" fmla="*/ 235 w 240"/>
                <a:gd name="T3" fmla="*/ 49 h 56"/>
                <a:gd name="T4" fmla="*/ 231 w 240"/>
                <a:gd name="T5" fmla="*/ 46 h 56"/>
                <a:gd name="T6" fmla="*/ 231 w 240"/>
                <a:gd name="T7" fmla="*/ 10 h 56"/>
                <a:gd name="T8" fmla="*/ 235 w 240"/>
                <a:gd name="T9" fmla="*/ 6 h 56"/>
                <a:gd name="T10" fmla="*/ 240 w 240"/>
                <a:gd name="T11" fmla="*/ 6 h 56"/>
                <a:gd name="T12" fmla="*/ 240 w 240"/>
                <a:gd name="T13" fmla="*/ 0 h 56"/>
                <a:gd name="T14" fmla="*/ 22 w 240"/>
                <a:gd name="T15" fmla="*/ 0 h 56"/>
                <a:gd name="T16" fmla="*/ 6 w 240"/>
                <a:gd name="T17" fmla="*/ 9 h 56"/>
                <a:gd name="T18" fmla="*/ 6 w 240"/>
                <a:gd name="T19" fmla="*/ 47 h 56"/>
                <a:gd name="T20" fmla="*/ 22 w 240"/>
                <a:gd name="T21" fmla="*/ 56 h 56"/>
                <a:gd name="T22" fmla="*/ 240 w 240"/>
                <a:gd name="T23" fmla="*/ 56 h 56"/>
                <a:gd name="T24" fmla="*/ 240 w 240"/>
                <a:gd name="T25" fmla="*/ 4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0" h="56">
                  <a:moveTo>
                    <a:pt x="240" y="49"/>
                  </a:moveTo>
                  <a:cubicBezTo>
                    <a:pt x="238" y="49"/>
                    <a:pt x="236" y="49"/>
                    <a:pt x="235" y="49"/>
                  </a:cubicBezTo>
                  <a:cubicBezTo>
                    <a:pt x="233" y="49"/>
                    <a:pt x="231" y="48"/>
                    <a:pt x="231" y="46"/>
                  </a:cubicBezTo>
                  <a:cubicBezTo>
                    <a:pt x="231" y="34"/>
                    <a:pt x="231" y="22"/>
                    <a:pt x="231" y="10"/>
                  </a:cubicBezTo>
                  <a:cubicBezTo>
                    <a:pt x="231" y="8"/>
                    <a:pt x="233" y="6"/>
                    <a:pt x="235" y="6"/>
                  </a:cubicBezTo>
                  <a:cubicBezTo>
                    <a:pt x="236" y="6"/>
                    <a:pt x="238" y="6"/>
                    <a:pt x="240" y="6"/>
                  </a:cubicBezTo>
                  <a:cubicBezTo>
                    <a:pt x="240" y="4"/>
                    <a:pt x="240" y="2"/>
                    <a:pt x="240" y="0"/>
                  </a:cubicBezTo>
                  <a:cubicBezTo>
                    <a:pt x="167" y="0"/>
                    <a:pt x="95" y="0"/>
                    <a:pt x="22" y="0"/>
                  </a:cubicBezTo>
                  <a:cubicBezTo>
                    <a:pt x="17" y="0"/>
                    <a:pt x="9" y="3"/>
                    <a:pt x="6" y="9"/>
                  </a:cubicBezTo>
                  <a:cubicBezTo>
                    <a:pt x="0" y="21"/>
                    <a:pt x="0" y="35"/>
                    <a:pt x="6" y="47"/>
                  </a:cubicBezTo>
                  <a:cubicBezTo>
                    <a:pt x="9" y="52"/>
                    <a:pt x="17" y="56"/>
                    <a:pt x="22" y="56"/>
                  </a:cubicBezTo>
                  <a:cubicBezTo>
                    <a:pt x="95" y="56"/>
                    <a:pt x="167" y="56"/>
                    <a:pt x="240" y="56"/>
                  </a:cubicBezTo>
                  <a:cubicBezTo>
                    <a:pt x="240" y="54"/>
                    <a:pt x="240" y="52"/>
                    <a:pt x="240" y="49"/>
                  </a:cubicBezTo>
                  <a:close/>
                </a:path>
              </a:pathLst>
            </a:custGeom>
            <a:solidFill>
              <a:srgbClr val="7AC4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7500" lnSpcReduction="20000"/>
            </a:bodyPr>
            <a:lstStyle/>
            <a:p>
              <a:endParaRPr lang="zh-CN" altLang="en-US"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78210376-25F9-441D-B87F-E4EBCD46F18C}"/>
                </a:ext>
              </a:extLst>
            </p:cNvPr>
            <p:cNvSpPr/>
            <p:nvPr/>
          </p:nvSpPr>
          <p:spPr bwMode="auto">
            <a:xfrm>
              <a:off x="10807939" y="2696844"/>
              <a:ext cx="860418" cy="166022"/>
            </a:xfrm>
            <a:custGeom>
              <a:avLst/>
              <a:gdLst>
                <a:gd name="T0" fmla="*/ 224 w 228"/>
                <a:gd name="T1" fmla="*/ 40 h 44"/>
                <a:gd name="T2" fmla="*/ 224 w 228"/>
                <a:gd name="T3" fmla="*/ 4 h 44"/>
                <a:gd name="T4" fmla="*/ 228 w 228"/>
                <a:gd name="T5" fmla="*/ 0 h 44"/>
                <a:gd name="T6" fmla="*/ 11 w 228"/>
                <a:gd name="T7" fmla="*/ 0 h 44"/>
                <a:gd name="T8" fmla="*/ 6 w 228"/>
                <a:gd name="T9" fmla="*/ 3 h 44"/>
                <a:gd name="T10" fmla="*/ 6 w 228"/>
                <a:gd name="T11" fmla="*/ 41 h 44"/>
                <a:gd name="T12" fmla="*/ 11 w 228"/>
                <a:gd name="T13" fmla="*/ 44 h 44"/>
                <a:gd name="T14" fmla="*/ 228 w 228"/>
                <a:gd name="T15" fmla="*/ 43 h 44"/>
                <a:gd name="T16" fmla="*/ 224 w 228"/>
                <a:gd name="T17" fmla="*/ 4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44">
                  <a:moveTo>
                    <a:pt x="224" y="40"/>
                  </a:moveTo>
                  <a:cubicBezTo>
                    <a:pt x="224" y="28"/>
                    <a:pt x="224" y="16"/>
                    <a:pt x="224" y="4"/>
                  </a:cubicBezTo>
                  <a:cubicBezTo>
                    <a:pt x="224" y="2"/>
                    <a:pt x="226" y="0"/>
                    <a:pt x="228" y="0"/>
                  </a:cubicBezTo>
                  <a:cubicBezTo>
                    <a:pt x="155" y="0"/>
                    <a:pt x="83" y="0"/>
                    <a:pt x="11" y="0"/>
                  </a:cubicBezTo>
                  <a:cubicBezTo>
                    <a:pt x="9" y="0"/>
                    <a:pt x="7" y="1"/>
                    <a:pt x="6" y="3"/>
                  </a:cubicBezTo>
                  <a:cubicBezTo>
                    <a:pt x="0" y="15"/>
                    <a:pt x="0" y="29"/>
                    <a:pt x="6" y="41"/>
                  </a:cubicBezTo>
                  <a:cubicBezTo>
                    <a:pt x="7" y="43"/>
                    <a:pt x="9" y="44"/>
                    <a:pt x="11" y="44"/>
                  </a:cubicBezTo>
                  <a:cubicBezTo>
                    <a:pt x="83" y="44"/>
                    <a:pt x="155" y="44"/>
                    <a:pt x="228" y="43"/>
                  </a:cubicBezTo>
                  <a:cubicBezTo>
                    <a:pt x="226" y="43"/>
                    <a:pt x="224" y="42"/>
                    <a:pt x="224" y="40"/>
                  </a:cubicBezTo>
                  <a:close/>
                </a:path>
              </a:pathLst>
            </a:custGeom>
            <a:solidFill>
              <a:srgbClr val="DC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zh-CN" altLang="en-US"/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00F6CCD0-D787-49D9-9C2E-50F5EBBB549B}"/>
                </a:ext>
              </a:extLst>
            </p:cNvPr>
            <p:cNvSpPr/>
            <p:nvPr/>
          </p:nvSpPr>
          <p:spPr bwMode="auto">
            <a:xfrm>
              <a:off x="10718384" y="2911620"/>
              <a:ext cx="720748" cy="162069"/>
            </a:xfrm>
            <a:custGeom>
              <a:avLst/>
              <a:gdLst>
                <a:gd name="T0" fmla="*/ 3 w 191"/>
                <a:gd name="T1" fmla="*/ 40 h 43"/>
                <a:gd name="T2" fmla="*/ 3 w 191"/>
                <a:gd name="T3" fmla="*/ 3 h 43"/>
                <a:gd name="T4" fmla="*/ 0 w 191"/>
                <a:gd name="T5" fmla="*/ 0 h 43"/>
                <a:gd name="T6" fmla="*/ 188 w 191"/>
                <a:gd name="T7" fmla="*/ 0 h 43"/>
                <a:gd name="T8" fmla="*/ 191 w 191"/>
                <a:gd name="T9" fmla="*/ 3 h 43"/>
                <a:gd name="T10" fmla="*/ 191 w 191"/>
                <a:gd name="T11" fmla="*/ 40 h 43"/>
                <a:gd name="T12" fmla="*/ 188 w 191"/>
                <a:gd name="T13" fmla="*/ 43 h 43"/>
                <a:gd name="T14" fmla="*/ 0 w 191"/>
                <a:gd name="T15" fmla="*/ 43 h 43"/>
                <a:gd name="T16" fmla="*/ 3 w 191"/>
                <a:gd name="T17" fmla="*/ 4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1" h="43">
                  <a:moveTo>
                    <a:pt x="3" y="40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3" y="2"/>
                    <a:pt x="2" y="0"/>
                    <a:pt x="0" y="0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90" y="0"/>
                    <a:pt x="191" y="2"/>
                    <a:pt x="191" y="3"/>
                  </a:cubicBezTo>
                  <a:cubicBezTo>
                    <a:pt x="191" y="40"/>
                    <a:pt x="191" y="40"/>
                    <a:pt x="191" y="40"/>
                  </a:cubicBezTo>
                  <a:cubicBezTo>
                    <a:pt x="191" y="41"/>
                    <a:pt x="190" y="43"/>
                    <a:pt x="188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2" y="43"/>
                    <a:pt x="3" y="41"/>
                    <a:pt x="3" y="40"/>
                  </a:cubicBezTo>
                  <a:close/>
                </a:path>
              </a:pathLst>
            </a:custGeom>
            <a:solidFill>
              <a:srgbClr val="D1EC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97" name="矩形 96">
              <a:extLst>
                <a:ext uri="{FF2B5EF4-FFF2-40B4-BE49-F238E27FC236}">
                  <a16:creationId xmlns:a16="http://schemas.microsoft.com/office/drawing/2014/main" id="{1021415D-489A-4DBA-A472-948137FC244E}"/>
                </a:ext>
              </a:extLst>
            </p:cNvPr>
            <p:cNvSpPr/>
            <p:nvPr/>
          </p:nvSpPr>
          <p:spPr bwMode="auto">
            <a:xfrm>
              <a:off x="10502247" y="3105311"/>
              <a:ext cx="1455990" cy="324139"/>
            </a:xfrm>
            <a:prstGeom prst="rect">
              <a:avLst/>
            </a:prstGeom>
            <a:solidFill>
              <a:srgbClr val="7AC4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/>
            <a:p>
              <a:endParaRPr lang="zh-CN" altLang="en-US"/>
            </a:p>
          </p:txBody>
        </p:sp>
        <p:sp>
          <p:nvSpPr>
            <p:cNvPr id="98" name="矩形 97">
              <a:extLst>
                <a:ext uri="{FF2B5EF4-FFF2-40B4-BE49-F238E27FC236}">
                  <a16:creationId xmlns:a16="http://schemas.microsoft.com/office/drawing/2014/main" id="{22DC1C5D-AA81-4FFE-A3EE-244143E936BC}"/>
                </a:ext>
              </a:extLst>
            </p:cNvPr>
            <p:cNvSpPr/>
            <p:nvPr/>
          </p:nvSpPr>
          <p:spPr bwMode="auto">
            <a:xfrm>
              <a:off x="10502247" y="3105311"/>
              <a:ext cx="1455990" cy="158116"/>
            </a:xfrm>
            <a:prstGeom prst="rect">
              <a:avLst/>
            </a:prstGeom>
            <a:solidFill>
              <a:srgbClr val="B1D9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99" name="矩形 98">
              <a:extLst>
                <a:ext uri="{FF2B5EF4-FFF2-40B4-BE49-F238E27FC236}">
                  <a16:creationId xmlns:a16="http://schemas.microsoft.com/office/drawing/2014/main" id="{C3986406-A534-4F2C-910E-BE41FD499157}"/>
                </a:ext>
              </a:extLst>
            </p:cNvPr>
            <p:cNvSpPr/>
            <p:nvPr/>
          </p:nvSpPr>
          <p:spPr bwMode="auto">
            <a:xfrm>
              <a:off x="11614333" y="3105311"/>
              <a:ext cx="226634" cy="324139"/>
            </a:xfrm>
            <a:prstGeom prst="rect">
              <a:avLst/>
            </a:prstGeom>
            <a:solidFill>
              <a:srgbClr val="8FC4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/>
            <a:p>
              <a:endParaRPr lang="zh-CN" altLang="en-US"/>
            </a:p>
          </p:txBody>
        </p:sp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BF8AE4BB-9FB5-472C-AB9A-2CF8EE775497}"/>
                </a:ext>
              </a:extLst>
            </p:cNvPr>
            <p:cNvSpPr/>
            <p:nvPr/>
          </p:nvSpPr>
          <p:spPr bwMode="auto">
            <a:xfrm>
              <a:off x="11614333" y="3105311"/>
              <a:ext cx="226634" cy="158116"/>
            </a:xfrm>
            <a:prstGeom prst="rect">
              <a:avLst/>
            </a:prstGeom>
            <a:solidFill>
              <a:srgbClr val="D1EC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7E329655-9264-4B52-B187-6177EA40646E}"/>
                </a:ext>
              </a:extLst>
            </p:cNvPr>
            <p:cNvSpPr/>
            <p:nvPr/>
          </p:nvSpPr>
          <p:spPr bwMode="auto">
            <a:xfrm>
              <a:off x="10506244" y="2144756"/>
              <a:ext cx="864370" cy="755006"/>
            </a:xfrm>
            <a:custGeom>
              <a:avLst/>
              <a:gdLst>
                <a:gd name="T0" fmla="*/ 20 w 656"/>
                <a:gd name="T1" fmla="*/ 424 h 573"/>
                <a:gd name="T2" fmla="*/ 0 w 656"/>
                <a:gd name="T3" fmla="*/ 393 h 573"/>
                <a:gd name="T4" fmla="*/ 95 w 656"/>
                <a:gd name="T5" fmla="*/ 175 h 573"/>
                <a:gd name="T6" fmla="*/ 292 w 656"/>
                <a:gd name="T7" fmla="*/ 0 h 573"/>
                <a:gd name="T8" fmla="*/ 656 w 656"/>
                <a:gd name="T9" fmla="*/ 109 h 573"/>
                <a:gd name="T10" fmla="*/ 613 w 656"/>
                <a:gd name="T11" fmla="*/ 244 h 573"/>
                <a:gd name="T12" fmla="*/ 562 w 656"/>
                <a:gd name="T13" fmla="*/ 424 h 573"/>
                <a:gd name="T14" fmla="*/ 516 w 656"/>
                <a:gd name="T15" fmla="*/ 573 h 573"/>
                <a:gd name="T16" fmla="*/ 20 w 656"/>
                <a:gd name="T17" fmla="*/ 424 h 5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6" h="573">
                  <a:moveTo>
                    <a:pt x="20" y="424"/>
                  </a:moveTo>
                  <a:lnTo>
                    <a:pt x="0" y="393"/>
                  </a:lnTo>
                  <a:lnTo>
                    <a:pt x="95" y="175"/>
                  </a:lnTo>
                  <a:lnTo>
                    <a:pt x="292" y="0"/>
                  </a:lnTo>
                  <a:lnTo>
                    <a:pt x="656" y="109"/>
                  </a:lnTo>
                  <a:lnTo>
                    <a:pt x="613" y="244"/>
                  </a:lnTo>
                  <a:lnTo>
                    <a:pt x="562" y="424"/>
                  </a:lnTo>
                  <a:lnTo>
                    <a:pt x="516" y="573"/>
                  </a:lnTo>
                  <a:lnTo>
                    <a:pt x="20" y="424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F33954F2-4F01-454C-8E0D-D4BA8EF1784B}"/>
                </a:ext>
              </a:extLst>
            </p:cNvPr>
            <p:cNvSpPr/>
            <p:nvPr/>
          </p:nvSpPr>
          <p:spPr bwMode="auto">
            <a:xfrm>
              <a:off x="10506244" y="2662587"/>
              <a:ext cx="679901" cy="237175"/>
            </a:xfrm>
            <a:custGeom>
              <a:avLst/>
              <a:gdLst>
                <a:gd name="T0" fmla="*/ 20 w 516"/>
                <a:gd name="T1" fmla="*/ 31 h 180"/>
                <a:gd name="T2" fmla="*/ 0 w 516"/>
                <a:gd name="T3" fmla="*/ 0 h 180"/>
                <a:gd name="T4" fmla="*/ 479 w 516"/>
                <a:gd name="T5" fmla="*/ 120 h 180"/>
                <a:gd name="T6" fmla="*/ 516 w 516"/>
                <a:gd name="T7" fmla="*/ 180 h 180"/>
                <a:gd name="T8" fmla="*/ 20 w 516"/>
                <a:gd name="T9" fmla="*/ 31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6" h="180">
                  <a:moveTo>
                    <a:pt x="20" y="31"/>
                  </a:moveTo>
                  <a:lnTo>
                    <a:pt x="0" y="0"/>
                  </a:lnTo>
                  <a:lnTo>
                    <a:pt x="479" y="120"/>
                  </a:lnTo>
                  <a:lnTo>
                    <a:pt x="516" y="180"/>
                  </a:lnTo>
                  <a:lnTo>
                    <a:pt x="20" y="31"/>
                  </a:lnTo>
                  <a:close/>
                </a:path>
              </a:pathLst>
            </a:custGeom>
            <a:solidFill>
              <a:srgbClr val="CFEA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62500" lnSpcReduction="20000"/>
            </a:bodyPr>
            <a:lstStyle/>
            <a:p>
              <a:endParaRPr lang="zh-CN" altLang="en-US"/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20291474-49C6-4822-989D-9C9EB5A5EECE}"/>
                </a:ext>
              </a:extLst>
            </p:cNvPr>
            <p:cNvSpPr/>
            <p:nvPr/>
          </p:nvSpPr>
          <p:spPr bwMode="auto">
            <a:xfrm>
              <a:off x="11299461" y="2247531"/>
              <a:ext cx="71152" cy="188422"/>
            </a:xfrm>
            <a:custGeom>
              <a:avLst/>
              <a:gdLst>
                <a:gd name="T0" fmla="*/ 20 w 54"/>
                <a:gd name="T1" fmla="*/ 143 h 143"/>
                <a:gd name="T2" fmla="*/ 54 w 54"/>
                <a:gd name="T3" fmla="*/ 31 h 143"/>
                <a:gd name="T4" fmla="*/ 34 w 54"/>
                <a:gd name="T5" fmla="*/ 0 h 143"/>
                <a:gd name="T6" fmla="*/ 0 w 54"/>
                <a:gd name="T7" fmla="*/ 111 h 143"/>
                <a:gd name="T8" fmla="*/ 20 w 54"/>
                <a:gd name="T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143">
                  <a:moveTo>
                    <a:pt x="20" y="143"/>
                  </a:moveTo>
                  <a:lnTo>
                    <a:pt x="54" y="31"/>
                  </a:lnTo>
                  <a:lnTo>
                    <a:pt x="34" y="0"/>
                  </a:lnTo>
                  <a:lnTo>
                    <a:pt x="0" y="111"/>
                  </a:lnTo>
                  <a:lnTo>
                    <a:pt x="20" y="143"/>
                  </a:lnTo>
                  <a:close/>
                </a:path>
              </a:pathLst>
            </a:custGeom>
            <a:solidFill>
              <a:srgbClr val="00AA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zh-CN" altLang="en-US"/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B1DA1B82-D82E-4488-8802-D32F42E6782A}"/>
                </a:ext>
              </a:extLst>
            </p:cNvPr>
            <p:cNvSpPr/>
            <p:nvPr/>
          </p:nvSpPr>
          <p:spPr bwMode="auto">
            <a:xfrm>
              <a:off x="10506244" y="2051203"/>
              <a:ext cx="838017" cy="807711"/>
            </a:xfrm>
            <a:custGeom>
              <a:avLst/>
              <a:gdLst>
                <a:gd name="T0" fmla="*/ 0 w 636"/>
                <a:gd name="T1" fmla="*/ 464 h 613"/>
                <a:gd name="T2" fmla="*/ 46 w 636"/>
                <a:gd name="T3" fmla="*/ 312 h 613"/>
                <a:gd name="T4" fmla="*/ 141 w 636"/>
                <a:gd name="T5" fmla="*/ 0 h 613"/>
                <a:gd name="T6" fmla="*/ 272 w 636"/>
                <a:gd name="T7" fmla="*/ 40 h 613"/>
                <a:gd name="T8" fmla="*/ 636 w 636"/>
                <a:gd name="T9" fmla="*/ 149 h 613"/>
                <a:gd name="T10" fmla="*/ 596 w 636"/>
                <a:gd name="T11" fmla="*/ 283 h 613"/>
                <a:gd name="T12" fmla="*/ 542 w 636"/>
                <a:gd name="T13" fmla="*/ 461 h 613"/>
                <a:gd name="T14" fmla="*/ 496 w 636"/>
                <a:gd name="T15" fmla="*/ 613 h 613"/>
                <a:gd name="T16" fmla="*/ 0 w 636"/>
                <a:gd name="T17" fmla="*/ 464 h 6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36" h="613">
                  <a:moveTo>
                    <a:pt x="0" y="464"/>
                  </a:moveTo>
                  <a:lnTo>
                    <a:pt x="46" y="312"/>
                  </a:lnTo>
                  <a:lnTo>
                    <a:pt x="141" y="0"/>
                  </a:lnTo>
                  <a:lnTo>
                    <a:pt x="272" y="40"/>
                  </a:lnTo>
                  <a:lnTo>
                    <a:pt x="636" y="149"/>
                  </a:lnTo>
                  <a:lnTo>
                    <a:pt x="596" y="283"/>
                  </a:lnTo>
                  <a:lnTo>
                    <a:pt x="542" y="461"/>
                  </a:lnTo>
                  <a:lnTo>
                    <a:pt x="496" y="613"/>
                  </a:lnTo>
                  <a:lnTo>
                    <a:pt x="0" y="46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7CF4C03C-B7A6-4619-A2D3-9193045AB4C0}"/>
                </a:ext>
              </a:extLst>
            </p:cNvPr>
            <p:cNvSpPr/>
            <p:nvPr/>
          </p:nvSpPr>
          <p:spPr bwMode="auto">
            <a:xfrm>
              <a:off x="10645913" y="2051203"/>
              <a:ext cx="698348" cy="342586"/>
            </a:xfrm>
            <a:custGeom>
              <a:avLst/>
              <a:gdLst>
                <a:gd name="T0" fmla="*/ 496 w 530"/>
                <a:gd name="T1" fmla="*/ 260 h 260"/>
                <a:gd name="T2" fmla="*/ 530 w 530"/>
                <a:gd name="T3" fmla="*/ 149 h 260"/>
                <a:gd name="T4" fmla="*/ 35 w 530"/>
                <a:gd name="T5" fmla="*/ 0 h 260"/>
                <a:gd name="T6" fmla="*/ 0 w 530"/>
                <a:gd name="T7" fmla="*/ 111 h 260"/>
                <a:gd name="T8" fmla="*/ 496 w 530"/>
                <a:gd name="T9" fmla="*/ 26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0" h="260">
                  <a:moveTo>
                    <a:pt x="496" y="260"/>
                  </a:moveTo>
                  <a:lnTo>
                    <a:pt x="530" y="149"/>
                  </a:lnTo>
                  <a:lnTo>
                    <a:pt x="35" y="0"/>
                  </a:lnTo>
                  <a:lnTo>
                    <a:pt x="0" y="111"/>
                  </a:lnTo>
                  <a:lnTo>
                    <a:pt x="496" y="260"/>
                  </a:lnTo>
                  <a:close/>
                </a:path>
              </a:pathLst>
            </a:custGeom>
            <a:solidFill>
              <a:srgbClr val="4EC3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lnSpcReduction="10000"/>
            </a:bodyPr>
            <a:lstStyle/>
            <a:p>
              <a:endParaRPr lang="zh-CN" altLang="en-US"/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3BDA7546-733C-439D-A062-EBC2B496BA6C}"/>
                </a:ext>
              </a:extLst>
            </p:cNvPr>
            <p:cNvSpPr/>
            <p:nvPr/>
          </p:nvSpPr>
          <p:spPr bwMode="auto">
            <a:xfrm>
              <a:off x="10793489" y="2152661"/>
              <a:ext cx="67200" cy="71152"/>
            </a:xfrm>
            <a:custGeom>
              <a:avLst/>
              <a:gdLst>
                <a:gd name="T0" fmla="*/ 1 w 18"/>
                <a:gd name="T1" fmla="*/ 7 h 19"/>
                <a:gd name="T2" fmla="*/ 6 w 18"/>
                <a:gd name="T3" fmla="*/ 17 h 19"/>
                <a:gd name="T4" fmla="*/ 17 w 18"/>
                <a:gd name="T5" fmla="*/ 12 h 19"/>
                <a:gd name="T6" fmla="*/ 11 w 18"/>
                <a:gd name="T7" fmla="*/ 1 h 19"/>
                <a:gd name="T8" fmla="*/ 1 w 18"/>
                <a:gd name="T9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9">
                  <a:moveTo>
                    <a:pt x="1" y="7"/>
                  </a:moveTo>
                  <a:cubicBezTo>
                    <a:pt x="0" y="11"/>
                    <a:pt x="2" y="16"/>
                    <a:pt x="6" y="17"/>
                  </a:cubicBezTo>
                  <a:cubicBezTo>
                    <a:pt x="11" y="19"/>
                    <a:pt x="15" y="16"/>
                    <a:pt x="17" y="12"/>
                  </a:cubicBezTo>
                  <a:cubicBezTo>
                    <a:pt x="18" y="7"/>
                    <a:pt x="16" y="3"/>
                    <a:pt x="11" y="1"/>
                  </a:cubicBezTo>
                  <a:cubicBezTo>
                    <a:pt x="7" y="0"/>
                    <a:pt x="2" y="3"/>
                    <a:pt x="1" y="7"/>
                  </a:cubicBezTo>
                  <a:close/>
                </a:path>
              </a:pathLst>
            </a:custGeom>
            <a:solidFill>
              <a:srgbClr val="00AA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2AF5FF68-59BE-48BE-B842-0D63CD6DE6A8}"/>
                </a:ext>
              </a:extLst>
            </p:cNvPr>
            <p:cNvSpPr/>
            <p:nvPr/>
          </p:nvSpPr>
          <p:spPr bwMode="auto">
            <a:xfrm>
              <a:off x="10748689" y="2031439"/>
              <a:ext cx="154164" cy="169975"/>
            </a:xfrm>
            <a:custGeom>
              <a:avLst/>
              <a:gdLst>
                <a:gd name="T0" fmla="*/ 21 w 41"/>
                <a:gd name="T1" fmla="*/ 37 h 45"/>
                <a:gd name="T2" fmla="*/ 18 w 41"/>
                <a:gd name="T3" fmla="*/ 36 h 45"/>
                <a:gd name="T4" fmla="*/ 15 w 41"/>
                <a:gd name="T5" fmla="*/ 30 h 45"/>
                <a:gd name="T6" fmla="*/ 20 w 41"/>
                <a:gd name="T7" fmla="*/ 14 h 45"/>
                <a:gd name="T8" fmla="*/ 26 w 41"/>
                <a:gd name="T9" fmla="*/ 11 h 45"/>
                <a:gd name="T10" fmla="*/ 29 w 41"/>
                <a:gd name="T11" fmla="*/ 12 h 45"/>
                <a:gd name="T12" fmla="*/ 32 w 41"/>
                <a:gd name="T13" fmla="*/ 18 h 45"/>
                <a:gd name="T14" fmla="*/ 39 w 41"/>
                <a:gd name="T15" fmla="*/ 20 h 45"/>
                <a:gd name="T16" fmla="*/ 31 w 41"/>
                <a:gd name="T17" fmla="*/ 5 h 45"/>
                <a:gd name="T18" fmla="*/ 22 w 41"/>
                <a:gd name="T19" fmla="*/ 2 h 45"/>
                <a:gd name="T20" fmla="*/ 7 w 41"/>
                <a:gd name="T21" fmla="*/ 10 h 45"/>
                <a:gd name="T22" fmla="*/ 2 w 41"/>
                <a:gd name="T23" fmla="*/ 26 h 45"/>
                <a:gd name="T24" fmla="*/ 10 w 41"/>
                <a:gd name="T25" fmla="*/ 42 h 45"/>
                <a:gd name="T26" fmla="*/ 19 w 41"/>
                <a:gd name="T27" fmla="*/ 45 h 45"/>
                <a:gd name="T28" fmla="*/ 24 w 41"/>
                <a:gd name="T29" fmla="*/ 42 h 45"/>
                <a:gd name="T30" fmla="*/ 21 w 41"/>
                <a:gd name="T3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" h="45">
                  <a:moveTo>
                    <a:pt x="21" y="37"/>
                  </a:moveTo>
                  <a:cubicBezTo>
                    <a:pt x="18" y="36"/>
                    <a:pt x="18" y="36"/>
                    <a:pt x="18" y="36"/>
                  </a:cubicBezTo>
                  <a:cubicBezTo>
                    <a:pt x="16" y="36"/>
                    <a:pt x="14" y="33"/>
                    <a:pt x="15" y="30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1" y="12"/>
                    <a:pt x="24" y="10"/>
                    <a:pt x="26" y="11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31" y="13"/>
                    <a:pt x="32" y="15"/>
                    <a:pt x="32" y="18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41" y="13"/>
                    <a:pt x="37" y="7"/>
                    <a:pt x="31" y="5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16" y="0"/>
                    <a:pt x="9" y="4"/>
                    <a:pt x="7" y="10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0" y="33"/>
                    <a:pt x="4" y="40"/>
                    <a:pt x="10" y="42"/>
                  </a:cubicBezTo>
                  <a:cubicBezTo>
                    <a:pt x="19" y="45"/>
                    <a:pt x="19" y="45"/>
                    <a:pt x="19" y="45"/>
                  </a:cubicBezTo>
                  <a:cubicBezTo>
                    <a:pt x="21" y="45"/>
                    <a:pt x="23" y="44"/>
                    <a:pt x="24" y="42"/>
                  </a:cubicBezTo>
                  <a:cubicBezTo>
                    <a:pt x="24" y="40"/>
                    <a:pt x="23" y="38"/>
                    <a:pt x="21" y="3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zh-CN" altLang="en-US"/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F2202599-3C92-4384-8854-D394F5FB2665}"/>
                </a:ext>
              </a:extLst>
            </p:cNvPr>
            <p:cNvSpPr/>
            <p:nvPr/>
          </p:nvSpPr>
          <p:spPr bwMode="auto">
            <a:xfrm>
              <a:off x="10781630" y="2043297"/>
              <a:ext cx="121223" cy="158116"/>
            </a:xfrm>
            <a:custGeom>
              <a:avLst/>
              <a:gdLst>
                <a:gd name="T0" fmla="*/ 22 w 32"/>
                <a:gd name="T1" fmla="*/ 2 h 42"/>
                <a:gd name="T2" fmla="*/ 7 w 32"/>
                <a:gd name="T3" fmla="*/ 10 h 42"/>
                <a:gd name="T4" fmla="*/ 2 w 32"/>
                <a:gd name="T5" fmla="*/ 26 h 42"/>
                <a:gd name="T6" fmla="*/ 10 w 32"/>
                <a:gd name="T7" fmla="*/ 42 h 42"/>
                <a:gd name="T8" fmla="*/ 15 w 32"/>
                <a:gd name="T9" fmla="*/ 39 h 42"/>
                <a:gd name="T10" fmla="*/ 12 w 32"/>
                <a:gd name="T11" fmla="*/ 34 h 42"/>
                <a:gd name="T12" fmla="*/ 9 w 32"/>
                <a:gd name="T13" fmla="*/ 33 h 42"/>
                <a:gd name="T14" fmla="*/ 6 w 32"/>
                <a:gd name="T15" fmla="*/ 27 h 42"/>
                <a:gd name="T16" fmla="*/ 11 w 32"/>
                <a:gd name="T17" fmla="*/ 11 h 42"/>
                <a:gd name="T18" fmla="*/ 17 w 32"/>
                <a:gd name="T19" fmla="*/ 8 h 42"/>
                <a:gd name="T20" fmla="*/ 20 w 32"/>
                <a:gd name="T21" fmla="*/ 9 h 42"/>
                <a:gd name="T22" fmla="*/ 23 w 32"/>
                <a:gd name="T23" fmla="*/ 15 h 42"/>
                <a:gd name="T24" fmla="*/ 30 w 32"/>
                <a:gd name="T25" fmla="*/ 17 h 42"/>
                <a:gd name="T26" fmla="*/ 22 w 32"/>
                <a:gd name="T27" fmla="*/ 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42">
                  <a:moveTo>
                    <a:pt x="22" y="2"/>
                  </a:moveTo>
                  <a:cubicBezTo>
                    <a:pt x="16" y="0"/>
                    <a:pt x="9" y="4"/>
                    <a:pt x="7" y="10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0" y="33"/>
                    <a:pt x="4" y="39"/>
                    <a:pt x="10" y="42"/>
                  </a:cubicBezTo>
                  <a:cubicBezTo>
                    <a:pt x="12" y="42"/>
                    <a:pt x="14" y="41"/>
                    <a:pt x="15" y="39"/>
                  </a:cubicBezTo>
                  <a:cubicBezTo>
                    <a:pt x="15" y="37"/>
                    <a:pt x="14" y="35"/>
                    <a:pt x="12" y="34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7" y="33"/>
                    <a:pt x="5" y="30"/>
                    <a:pt x="6" y="27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2" y="9"/>
                    <a:pt x="15" y="7"/>
                    <a:pt x="17" y="8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2" y="10"/>
                    <a:pt x="23" y="12"/>
                    <a:pt x="23" y="15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2" y="10"/>
                    <a:pt x="28" y="4"/>
                    <a:pt x="22" y="2"/>
                  </a:cubicBezTo>
                  <a:close/>
                </a:path>
              </a:pathLst>
            </a:custGeom>
            <a:solidFill>
              <a:srgbClr val="CDD5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F4C6AC4C-0D11-47A6-B768-29F5CA01E121}"/>
                </a:ext>
              </a:extLst>
            </p:cNvPr>
            <p:cNvSpPr/>
            <p:nvPr/>
          </p:nvSpPr>
          <p:spPr bwMode="auto">
            <a:xfrm>
              <a:off x="11125533" y="2254119"/>
              <a:ext cx="67200" cy="68517"/>
            </a:xfrm>
            <a:custGeom>
              <a:avLst/>
              <a:gdLst>
                <a:gd name="T0" fmla="*/ 1 w 18"/>
                <a:gd name="T1" fmla="*/ 7 h 18"/>
                <a:gd name="T2" fmla="*/ 7 w 18"/>
                <a:gd name="T3" fmla="*/ 17 h 18"/>
                <a:gd name="T4" fmla="*/ 17 w 18"/>
                <a:gd name="T5" fmla="*/ 11 h 18"/>
                <a:gd name="T6" fmla="*/ 12 w 18"/>
                <a:gd name="T7" fmla="*/ 1 h 18"/>
                <a:gd name="T8" fmla="*/ 1 w 18"/>
                <a:gd name="T9" fmla="*/ 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8">
                  <a:moveTo>
                    <a:pt x="1" y="7"/>
                  </a:moveTo>
                  <a:cubicBezTo>
                    <a:pt x="0" y="11"/>
                    <a:pt x="2" y="16"/>
                    <a:pt x="7" y="17"/>
                  </a:cubicBezTo>
                  <a:cubicBezTo>
                    <a:pt x="11" y="18"/>
                    <a:pt x="16" y="16"/>
                    <a:pt x="17" y="11"/>
                  </a:cubicBezTo>
                  <a:cubicBezTo>
                    <a:pt x="18" y="7"/>
                    <a:pt x="16" y="2"/>
                    <a:pt x="12" y="1"/>
                  </a:cubicBezTo>
                  <a:cubicBezTo>
                    <a:pt x="7" y="0"/>
                    <a:pt x="3" y="2"/>
                    <a:pt x="1" y="7"/>
                  </a:cubicBezTo>
                  <a:close/>
                </a:path>
              </a:pathLst>
            </a:custGeom>
            <a:solidFill>
              <a:srgbClr val="00AA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0BDE5970-87AE-4835-A369-B20082A543BC}"/>
                </a:ext>
              </a:extLst>
            </p:cNvPr>
            <p:cNvSpPr/>
            <p:nvPr/>
          </p:nvSpPr>
          <p:spPr bwMode="auto">
            <a:xfrm>
              <a:off x="11080734" y="2134215"/>
              <a:ext cx="158117" cy="168658"/>
            </a:xfrm>
            <a:custGeom>
              <a:avLst/>
              <a:gdLst>
                <a:gd name="T0" fmla="*/ 21 w 42"/>
                <a:gd name="T1" fmla="*/ 37 h 45"/>
                <a:gd name="T2" fmla="*/ 19 w 42"/>
                <a:gd name="T3" fmla="*/ 36 h 45"/>
                <a:gd name="T4" fmla="*/ 16 w 42"/>
                <a:gd name="T5" fmla="*/ 30 h 45"/>
                <a:gd name="T6" fmla="*/ 20 w 42"/>
                <a:gd name="T7" fmla="*/ 14 h 45"/>
                <a:gd name="T8" fmla="*/ 26 w 42"/>
                <a:gd name="T9" fmla="*/ 11 h 45"/>
                <a:gd name="T10" fmla="*/ 29 w 42"/>
                <a:gd name="T11" fmla="*/ 12 h 45"/>
                <a:gd name="T12" fmla="*/ 32 w 42"/>
                <a:gd name="T13" fmla="*/ 17 h 45"/>
                <a:gd name="T14" fmla="*/ 40 w 42"/>
                <a:gd name="T15" fmla="*/ 20 h 45"/>
                <a:gd name="T16" fmla="*/ 31 w 42"/>
                <a:gd name="T17" fmla="*/ 4 h 45"/>
                <a:gd name="T18" fmla="*/ 23 w 42"/>
                <a:gd name="T19" fmla="*/ 2 h 45"/>
                <a:gd name="T20" fmla="*/ 7 w 42"/>
                <a:gd name="T21" fmla="*/ 10 h 45"/>
                <a:gd name="T22" fmla="*/ 2 w 42"/>
                <a:gd name="T23" fmla="*/ 26 h 45"/>
                <a:gd name="T24" fmla="*/ 11 w 42"/>
                <a:gd name="T25" fmla="*/ 42 h 45"/>
                <a:gd name="T26" fmla="*/ 19 w 42"/>
                <a:gd name="T27" fmla="*/ 44 h 45"/>
                <a:gd name="T28" fmla="*/ 24 w 42"/>
                <a:gd name="T29" fmla="*/ 42 h 45"/>
                <a:gd name="T30" fmla="*/ 21 w 42"/>
                <a:gd name="T31" fmla="*/ 3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2" h="45">
                  <a:moveTo>
                    <a:pt x="21" y="37"/>
                  </a:moveTo>
                  <a:cubicBezTo>
                    <a:pt x="19" y="36"/>
                    <a:pt x="19" y="36"/>
                    <a:pt x="19" y="36"/>
                  </a:cubicBezTo>
                  <a:cubicBezTo>
                    <a:pt x="16" y="35"/>
                    <a:pt x="15" y="33"/>
                    <a:pt x="16" y="30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1" y="12"/>
                    <a:pt x="24" y="10"/>
                    <a:pt x="26" y="11"/>
                  </a:cubicBezTo>
                  <a:cubicBezTo>
                    <a:pt x="29" y="12"/>
                    <a:pt x="29" y="12"/>
                    <a:pt x="29" y="12"/>
                  </a:cubicBezTo>
                  <a:cubicBezTo>
                    <a:pt x="31" y="12"/>
                    <a:pt x="33" y="15"/>
                    <a:pt x="32" y="17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2" y="13"/>
                    <a:pt x="38" y="6"/>
                    <a:pt x="31" y="4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16" y="0"/>
                    <a:pt x="9" y="4"/>
                    <a:pt x="7" y="10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0" y="33"/>
                    <a:pt x="4" y="40"/>
                    <a:pt x="11" y="42"/>
                  </a:cubicBezTo>
                  <a:cubicBezTo>
                    <a:pt x="19" y="44"/>
                    <a:pt x="19" y="44"/>
                    <a:pt x="19" y="44"/>
                  </a:cubicBezTo>
                  <a:cubicBezTo>
                    <a:pt x="21" y="45"/>
                    <a:pt x="23" y="44"/>
                    <a:pt x="24" y="42"/>
                  </a:cubicBezTo>
                  <a:cubicBezTo>
                    <a:pt x="25" y="40"/>
                    <a:pt x="24" y="38"/>
                    <a:pt x="21" y="3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zh-CN" altLang="en-US"/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030BC374-D80D-4C89-A47C-F75E8287DA20}"/>
                </a:ext>
              </a:extLst>
            </p:cNvPr>
            <p:cNvSpPr/>
            <p:nvPr/>
          </p:nvSpPr>
          <p:spPr bwMode="auto">
            <a:xfrm>
              <a:off x="11113675" y="2144756"/>
              <a:ext cx="125176" cy="158116"/>
            </a:xfrm>
            <a:custGeom>
              <a:avLst/>
              <a:gdLst>
                <a:gd name="T0" fmla="*/ 23 w 33"/>
                <a:gd name="T1" fmla="*/ 1 h 42"/>
                <a:gd name="T2" fmla="*/ 7 w 33"/>
                <a:gd name="T3" fmla="*/ 10 h 42"/>
                <a:gd name="T4" fmla="*/ 2 w 33"/>
                <a:gd name="T5" fmla="*/ 26 h 42"/>
                <a:gd name="T6" fmla="*/ 10 w 33"/>
                <a:gd name="T7" fmla="*/ 41 h 42"/>
                <a:gd name="T8" fmla="*/ 15 w 33"/>
                <a:gd name="T9" fmla="*/ 39 h 42"/>
                <a:gd name="T10" fmla="*/ 12 w 33"/>
                <a:gd name="T11" fmla="*/ 34 h 42"/>
                <a:gd name="T12" fmla="*/ 10 w 33"/>
                <a:gd name="T13" fmla="*/ 33 h 42"/>
                <a:gd name="T14" fmla="*/ 7 w 33"/>
                <a:gd name="T15" fmla="*/ 27 h 42"/>
                <a:gd name="T16" fmla="*/ 11 w 33"/>
                <a:gd name="T17" fmla="*/ 11 h 42"/>
                <a:gd name="T18" fmla="*/ 17 w 33"/>
                <a:gd name="T19" fmla="*/ 8 h 42"/>
                <a:gd name="T20" fmla="*/ 20 w 33"/>
                <a:gd name="T21" fmla="*/ 9 h 42"/>
                <a:gd name="T22" fmla="*/ 23 w 33"/>
                <a:gd name="T23" fmla="*/ 14 h 42"/>
                <a:gd name="T24" fmla="*/ 31 w 33"/>
                <a:gd name="T25" fmla="*/ 17 h 42"/>
                <a:gd name="T26" fmla="*/ 23 w 33"/>
                <a:gd name="T27" fmla="*/ 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42">
                  <a:moveTo>
                    <a:pt x="23" y="1"/>
                  </a:moveTo>
                  <a:cubicBezTo>
                    <a:pt x="16" y="0"/>
                    <a:pt x="9" y="3"/>
                    <a:pt x="7" y="10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0" y="32"/>
                    <a:pt x="4" y="39"/>
                    <a:pt x="10" y="41"/>
                  </a:cubicBezTo>
                  <a:cubicBezTo>
                    <a:pt x="12" y="42"/>
                    <a:pt x="14" y="41"/>
                    <a:pt x="15" y="39"/>
                  </a:cubicBezTo>
                  <a:cubicBezTo>
                    <a:pt x="16" y="37"/>
                    <a:pt x="15" y="35"/>
                    <a:pt x="12" y="34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7" y="32"/>
                    <a:pt x="6" y="30"/>
                    <a:pt x="7" y="27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2" y="9"/>
                    <a:pt x="15" y="7"/>
                    <a:pt x="17" y="8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2" y="9"/>
                    <a:pt x="24" y="12"/>
                    <a:pt x="23" y="14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3" y="10"/>
                    <a:pt x="29" y="4"/>
                    <a:pt x="23" y="1"/>
                  </a:cubicBezTo>
                  <a:close/>
                </a:path>
              </a:pathLst>
            </a:custGeom>
            <a:solidFill>
              <a:srgbClr val="CDD5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4D809EB5-637A-427C-9CB5-1DA920167794}"/>
                </a:ext>
              </a:extLst>
            </p:cNvPr>
            <p:cNvSpPr/>
            <p:nvPr/>
          </p:nvSpPr>
          <p:spPr bwMode="auto">
            <a:xfrm>
              <a:off x="10649867" y="2269931"/>
              <a:ext cx="83012" cy="71152"/>
            </a:xfrm>
            <a:custGeom>
              <a:avLst/>
              <a:gdLst>
                <a:gd name="T0" fmla="*/ 49 w 63"/>
                <a:gd name="T1" fmla="*/ 54 h 54"/>
                <a:gd name="T2" fmla="*/ 0 w 63"/>
                <a:gd name="T3" fmla="*/ 40 h 54"/>
                <a:gd name="T4" fmla="*/ 14 w 63"/>
                <a:gd name="T5" fmla="*/ 0 h 54"/>
                <a:gd name="T6" fmla="*/ 63 w 63"/>
                <a:gd name="T7" fmla="*/ 14 h 54"/>
                <a:gd name="T8" fmla="*/ 49 w 63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4">
                  <a:moveTo>
                    <a:pt x="49" y="54"/>
                  </a:moveTo>
                  <a:lnTo>
                    <a:pt x="0" y="40"/>
                  </a:lnTo>
                  <a:lnTo>
                    <a:pt x="14" y="0"/>
                  </a:lnTo>
                  <a:lnTo>
                    <a:pt x="63" y="14"/>
                  </a:lnTo>
                  <a:lnTo>
                    <a:pt x="49" y="54"/>
                  </a:lnTo>
                  <a:close/>
                </a:path>
              </a:pathLst>
            </a:custGeom>
            <a:solidFill>
              <a:srgbClr val="CFEA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7BA5E0BA-6F76-4413-9DD6-C7206BDC8662}"/>
                </a:ext>
              </a:extLst>
            </p:cNvPr>
            <p:cNvSpPr/>
            <p:nvPr/>
          </p:nvSpPr>
          <p:spPr bwMode="auto">
            <a:xfrm>
              <a:off x="10732877" y="2292331"/>
              <a:ext cx="83012" cy="75105"/>
            </a:xfrm>
            <a:custGeom>
              <a:avLst/>
              <a:gdLst>
                <a:gd name="T0" fmla="*/ 49 w 63"/>
                <a:gd name="T1" fmla="*/ 57 h 57"/>
                <a:gd name="T2" fmla="*/ 0 w 63"/>
                <a:gd name="T3" fmla="*/ 43 h 57"/>
                <a:gd name="T4" fmla="*/ 14 w 63"/>
                <a:gd name="T5" fmla="*/ 0 h 57"/>
                <a:gd name="T6" fmla="*/ 63 w 63"/>
                <a:gd name="T7" fmla="*/ 14 h 57"/>
                <a:gd name="T8" fmla="*/ 49 w 63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7">
                  <a:moveTo>
                    <a:pt x="49" y="57"/>
                  </a:moveTo>
                  <a:lnTo>
                    <a:pt x="0" y="43"/>
                  </a:lnTo>
                  <a:lnTo>
                    <a:pt x="14" y="0"/>
                  </a:lnTo>
                  <a:lnTo>
                    <a:pt x="63" y="14"/>
                  </a:lnTo>
                  <a:lnTo>
                    <a:pt x="49" y="57"/>
                  </a:lnTo>
                  <a:close/>
                </a:path>
              </a:pathLst>
            </a:custGeom>
            <a:solidFill>
              <a:srgbClr val="CFEA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5143DCB2-1B73-428C-9017-E96C9A08696E}"/>
                </a:ext>
              </a:extLst>
            </p:cNvPr>
            <p:cNvSpPr/>
            <p:nvPr/>
          </p:nvSpPr>
          <p:spPr bwMode="auto">
            <a:xfrm>
              <a:off x="10815889" y="2318684"/>
              <a:ext cx="83012" cy="71152"/>
            </a:xfrm>
            <a:custGeom>
              <a:avLst/>
              <a:gdLst>
                <a:gd name="T0" fmla="*/ 49 w 63"/>
                <a:gd name="T1" fmla="*/ 54 h 54"/>
                <a:gd name="T2" fmla="*/ 0 w 63"/>
                <a:gd name="T3" fmla="*/ 40 h 54"/>
                <a:gd name="T4" fmla="*/ 14 w 63"/>
                <a:gd name="T5" fmla="*/ 0 h 54"/>
                <a:gd name="T6" fmla="*/ 63 w 63"/>
                <a:gd name="T7" fmla="*/ 14 h 54"/>
                <a:gd name="T8" fmla="*/ 49 w 63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4">
                  <a:moveTo>
                    <a:pt x="49" y="54"/>
                  </a:moveTo>
                  <a:lnTo>
                    <a:pt x="0" y="40"/>
                  </a:lnTo>
                  <a:lnTo>
                    <a:pt x="14" y="0"/>
                  </a:lnTo>
                  <a:lnTo>
                    <a:pt x="63" y="14"/>
                  </a:lnTo>
                  <a:lnTo>
                    <a:pt x="49" y="54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19F3D64B-1CF8-4955-AC27-379B84789C15}"/>
                </a:ext>
              </a:extLst>
            </p:cNvPr>
            <p:cNvSpPr/>
            <p:nvPr/>
          </p:nvSpPr>
          <p:spPr bwMode="auto">
            <a:xfrm>
              <a:off x="10898900" y="2341083"/>
              <a:ext cx="83012" cy="75105"/>
            </a:xfrm>
            <a:custGeom>
              <a:avLst/>
              <a:gdLst>
                <a:gd name="T0" fmla="*/ 49 w 63"/>
                <a:gd name="T1" fmla="*/ 57 h 57"/>
                <a:gd name="T2" fmla="*/ 0 w 63"/>
                <a:gd name="T3" fmla="*/ 43 h 57"/>
                <a:gd name="T4" fmla="*/ 14 w 63"/>
                <a:gd name="T5" fmla="*/ 0 h 57"/>
                <a:gd name="T6" fmla="*/ 63 w 63"/>
                <a:gd name="T7" fmla="*/ 17 h 57"/>
                <a:gd name="T8" fmla="*/ 49 w 63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7">
                  <a:moveTo>
                    <a:pt x="49" y="57"/>
                  </a:moveTo>
                  <a:lnTo>
                    <a:pt x="0" y="43"/>
                  </a:lnTo>
                  <a:lnTo>
                    <a:pt x="14" y="0"/>
                  </a:lnTo>
                  <a:lnTo>
                    <a:pt x="63" y="17"/>
                  </a:lnTo>
                  <a:lnTo>
                    <a:pt x="49" y="57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24D0CCDB-EB20-4297-8AA0-F2230AAAAA83}"/>
                </a:ext>
              </a:extLst>
            </p:cNvPr>
            <p:cNvSpPr/>
            <p:nvPr/>
          </p:nvSpPr>
          <p:spPr bwMode="auto">
            <a:xfrm>
              <a:off x="10981911" y="2367436"/>
              <a:ext cx="83012" cy="75105"/>
            </a:xfrm>
            <a:custGeom>
              <a:avLst/>
              <a:gdLst>
                <a:gd name="T0" fmla="*/ 49 w 63"/>
                <a:gd name="T1" fmla="*/ 57 h 57"/>
                <a:gd name="T2" fmla="*/ 0 w 63"/>
                <a:gd name="T3" fmla="*/ 43 h 57"/>
                <a:gd name="T4" fmla="*/ 14 w 63"/>
                <a:gd name="T5" fmla="*/ 0 h 57"/>
                <a:gd name="T6" fmla="*/ 63 w 63"/>
                <a:gd name="T7" fmla="*/ 14 h 57"/>
                <a:gd name="T8" fmla="*/ 49 w 63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7">
                  <a:moveTo>
                    <a:pt x="49" y="57"/>
                  </a:moveTo>
                  <a:lnTo>
                    <a:pt x="0" y="43"/>
                  </a:lnTo>
                  <a:lnTo>
                    <a:pt x="14" y="0"/>
                  </a:lnTo>
                  <a:lnTo>
                    <a:pt x="63" y="14"/>
                  </a:lnTo>
                  <a:lnTo>
                    <a:pt x="49" y="57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7E359DEC-5FC0-4A24-A0F1-5859B28066E2}"/>
                </a:ext>
              </a:extLst>
            </p:cNvPr>
            <p:cNvSpPr/>
            <p:nvPr/>
          </p:nvSpPr>
          <p:spPr bwMode="auto">
            <a:xfrm>
              <a:off x="11064922" y="2393789"/>
              <a:ext cx="83012" cy="72470"/>
            </a:xfrm>
            <a:custGeom>
              <a:avLst/>
              <a:gdLst>
                <a:gd name="T0" fmla="*/ 49 w 63"/>
                <a:gd name="T1" fmla="*/ 55 h 55"/>
                <a:gd name="T2" fmla="*/ 0 w 63"/>
                <a:gd name="T3" fmla="*/ 40 h 55"/>
                <a:gd name="T4" fmla="*/ 14 w 63"/>
                <a:gd name="T5" fmla="*/ 0 h 55"/>
                <a:gd name="T6" fmla="*/ 63 w 63"/>
                <a:gd name="T7" fmla="*/ 15 h 55"/>
                <a:gd name="T8" fmla="*/ 49 w 63"/>
                <a:gd name="T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5">
                  <a:moveTo>
                    <a:pt x="49" y="55"/>
                  </a:moveTo>
                  <a:lnTo>
                    <a:pt x="0" y="40"/>
                  </a:lnTo>
                  <a:lnTo>
                    <a:pt x="14" y="0"/>
                  </a:lnTo>
                  <a:lnTo>
                    <a:pt x="63" y="15"/>
                  </a:lnTo>
                  <a:lnTo>
                    <a:pt x="49" y="55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2300FA32-C64D-4F11-BBEE-00EDC9943EE1}"/>
                </a:ext>
              </a:extLst>
            </p:cNvPr>
            <p:cNvSpPr/>
            <p:nvPr/>
          </p:nvSpPr>
          <p:spPr bwMode="auto">
            <a:xfrm>
              <a:off x="11147934" y="2416189"/>
              <a:ext cx="83012" cy="76423"/>
            </a:xfrm>
            <a:custGeom>
              <a:avLst/>
              <a:gdLst>
                <a:gd name="T0" fmla="*/ 49 w 63"/>
                <a:gd name="T1" fmla="*/ 58 h 58"/>
                <a:gd name="T2" fmla="*/ 0 w 63"/>
                <a:gd name="T3" fmla="*/ 43 h 58"/>
                <a:gd name="T4" fmla="*/ 14 w 63"/>
                <a:gd name="T5" fmla="*/ 0 h 58"/>
                <a:gd name="T6" fmla="*/ 63 w 63"/>
                <a:gd name="T7" fmla="*/ 18 h 58"/>
                <a:gd name="T8" fmla="*/ 49 w 63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8">
                  <a:moveTo>
                    <a:pt x="49" y="58"/>
                  </a:moveTo>
                  <a:lnTo>
                    <a:pt x="0" y="43"/>
                  </a:lnTo>
                  <a:lnTo>
                    <a:pt x="14" y="0"/>
                  </a:lnTo>
                  <a:lnTo>
                    <a:pt x="63" y="18"/>
                  </a:lnTo>
                  <a:lnTo>
                    <a:pt x="49" y="58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6FFB7729-91B8-4DAF-82DD-83B408EFDA75}"/>
                </a:ext>
              </a:extLst>
            </p:cNvPr>
            <p:cNvSpPr/>
            <p:nvPr/>
          </p:nvSpPr>
          <p:spPr bwMode="auto">
            <a:xfrm>
              <a:off x="10627466" y="2341083"/>
              <a:ext cx="83012" cy="75105"/>
            </a:xfrm>
            <a:custGeom>
              <a:avLst/>
              <a:gdLst>
                <a:gd name="T0" fmla="*/ 49 w 63"/>
                <a:gd name="T1" fmla="*/ 57 h 57"/>
                <a:gd name="T2" fmla="*/ 0 w 63"/>
                <a:gd name="T3" fmla="*/ 43 h 57"/>
                <a:gd name="T4" fmla="*/ 14 w 63"/>
                <a:gd name="T5" fmla="*/ 0 h 57"/>
                <a:gd name="T6" fmla="*/ 63 w 63"/>
                <a:gd name="T7" fmla="*/ 14 h 57"/>
                <a:gd name="T8" fmla="*/ 49 w 63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7">
                  <a:moveTo>
                    <a:pt x="49" y="57"/>
                  </a:moveTo>
                  <a:lnTo>
                    <a:pt x="0" y="43"/>
                  </a:lnTo>
                  <a:lnTo>
                    <a:pt x="14" y="0"/>
                  </a:lnTo>
                  <a:lnTo>
                    <a:pt x="63" y="14"/>
                  </a:lnTo>
                  <a:lnTo>
                    <a:pt x="49" y="57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1C0069C5-D6AC-4284-8899-A5799158F111}"/>
                </a:ext>
              </a:extLst>
            </p:cNvPr>
            <p:cNvSpPr/>
            <p:nvPr/>
          </p:nvSpPr>
          <p:spPr bwMode="auto">
            <a:xfrm>
              <a:off x="10710478" y="2367436"/>
              <a:ext cx="83012" cy="75105"/>
            </a:xfrm>
            <a:custGeom>
              <a:avLst/>
              <a:gdLst>
                <a:gd name="T0" fmla="*/ 49 w 63"/>
                <a:gd name="T1" fmla="*/ 57 h 57"/>
                <a:gd name="T2" fmla="*/ 0 w 63"/>
                <a:gd name="T3" fmla="*/ 40 h 57"/>
                <a:gd name="T4" fmla="*/ 14 w 63"/>
                <a:gd name="T5" fmla="*/ 0 h 57"/>
                <a:gd name="T6" fmla="*/ 63 w 63"/>
                <a:gd name="T7" fmla="*/ 14 h 57"/>
                <a:gd name="T8" fmla="*/ 49 w 63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7">
                  <a:moveTo>
                    <a:pt x="49" y="57"/>
                  </a:moveTo>
                  <a:lnTo>
                    <a:pt x="0" y="40"/>
                  </a:lnTo>
                  <a:lnTo>
                    <a:pt x="14" y="0"/>
                  </a:lnTo>
                  <a:lnTo>
                    <a:pt x="63" y="14"/>
                  </a:lnTo>
                  <a:lnTo>
                    <a:pt x="49" y="57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FD67E8AE-D6C9-49BD-9556-6CA122880D87}"/>
                </a:ext>
              </a:extLst>
            </p:cNvPr>
            <p:cNvSpPr/>
            <p:nvPr/>
          </p:nvSpPr>
          <p:spPr bwMode="auto">
            <a:xfrm>
              <a:off x="10793489" y="2393789"/>
              <a:ext cx="83012" cy="72470"/>
            </a:xfrm>
            <a:custGeom>
              <a:avLst/>
              <a:gdLst>
                <a:gd name="T0" fmla="*/ 49 w 63"/>
                <a:gd name="T1" fmla="*/ 55 h 55"/>
                <a:gd name="T2" fmla="*/ 0 w 63"/>
                <a:gd name="T3" fmla="*/ 40 h 55"/>
                <a:gd name="T4" fmla="*/ 14 w 63"/>
                <a:gd name="T5" fmla="*/ 0 h 55"/>
                <a:gd name="T6" fmla="*/ 63 w 63"/>
                <a:gd name="T7" fmla="*/ 15 h 55"/>
                <a:gd name="T8" fmla="*/ 49 w 63"/>
                <a:gd name="T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5">
                  <a:moveTo>
                    <a:pt x="49" y="55"/>
                  </a:moveTo>
                  <a:lnTo>
                    <a:pt x="0" y="40"/>
                  </a:lnTo>
                  <a:lnTo>
                    <a:pt x="14" y="0"/>
                  </a:lnTo>
                  <a:lnTo>
                    <a:pt x="63" y="15"/>
                  </a:lnTo>
                  <a:lnTo>
                    <a:pt x="49" y="55"/>
                  </a:lnTo>
                  <a:close/>
                </a:path>
              </a:pathLst>
            </a:custGeom>
            <a:solidFill>
              <a:srgbClr val="F36C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B00E3F1B-DBCF-49B6-A729-EC0A36D26582}"/>
                </a:ext>
              </a:extLst>
            </p:cNvPr>
            <p:cNvSpPr/>
            <p:nvPr/>
          </p:nvSpPr>
          <p:spPr bwMode="auto">
            <a:xfrm>
              <a:off x="10876500" y="2416189"/>
              <a:ext cx="83012" cy="76423"/>
            </a:xfrm>
            <a:custGeom>
              <a:avLst/>
              <a:gdLst>
                <a:gd name="T0" fmla="*/ 49 w 63"/>
                <a:gd name="T1" fmla="*/ 58 h 58"/>
                <a:gd name="T2" fmla="*/ 0 w 63"/>
                <a:gd name="T3" fmla="*/ 43 h 58"/>
                <a:gd name="T4" fmla="*/ 14 w 63"/>
                <a:gd name="T5" fmla="*/ 0 h 58"/>
                <a:gd name="T6" fmla="*/ 63 w 63"/>
                <a:gd name="T7" fmla="*/ 15 h 58"/>
                <a:gd name="T8" fmla="*/ 49 w 63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8">
                  <a:moveTo>
                    <a:pt x="49" y="58"/>
                  </a:moveTo>
                  <a:lnTo>
                    <a:pt x="0" y="43"/>
                  </a:lnTo>
                  <a:lnTo>
                    <a:pt x="14" y="0"/>
                  </a:lnTo>
                  <a:lnTo>
                    <a:pt x="63" y="15"/>
                  </a:lnTo>
                  <a:lnTo>
                    <a:pt x="49" y="58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8759EB5A-60F3-4333-8C99-C59FA282159B}"/>
                </a:ext>
              </a:extLst>
            </p:cNvPr>
            <p:cNvSpPr/>
            <p:nvPr/>
          </p:nvSpPr>
          <p:spPr bwMode="auto">
            <a:xfrm>
              <a:off x="10959511" y="2442542"/>
              <a:ext cx="83012" cy="76423"/>
            </a:xfrm>
            <a:custGeom>
              <a:avLst/>
              <a:gdLst>
                <a:gd name="T0" fmla="*/ 49 w 63"/>
                <a:gd name="T1" fmla="*/ 58 h 58"/>
                <a:gd name="T2" fmla="*/ 0 w 63"/>
                <a:gd name="T3" fmla="*/ 41 h 58"/>
                <a:gd name="T4" fmla="*/ 14 w 63"/>
                <a:gd name="T5" fmla="*/ 0 h 58"/>
                <a:gd name="T6" fmla="*/ 63 w 63"/>
                <a:gd name="T7" fmla="*/ 15 h 58"/>
                <a:gd name="T8" fmla="*/ 49 w 63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8">
                  <a:moveTo>
                    <a:pt x="49" y="58"/>
                  </a:moveTo>
                  <a:lnTo>
                    <a:pt x="0" y="41"/>
                  </a:lnTo>
                  <a:lnTo>
                    <a:pt x="14" y="0"/>
                  </a:lnTo>
                  <a:lnTo>
                    <a:pt x="63" y="15"/>
                  </a:lnTo>
                  <a:lnTo>
                    <a:pt x="49" y="58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EDE31605-E7E5-4002-B16B-9AA97B605661}"/>
                </a:ext>
              </a:extLst>
            </p:cNvPr>
            <p:cNvSpPr/>
            <p:nvPr/>
          </p:nvSpPr>
          <p:spPr bwMode="auto">
            <a:xfrm>
              <a:off x="11042523" y="2470212"/>
              <a:ext cx="83012" cy="71152"/>
            </a:xfrm>
            <a:custGeom>
              <a:avLst/>
              <a:gdLst>
                <a:gd name="T0" fmla="*/ 49 w 63"/>
                <a:gd name="T1" fmla="*/ 54 h 54"/>
                <a:gd name="T2" fmla="*/ 0 w 63"/>
                <a:gd name="T3" fmla="*/ 40 h 54"/>
                <a:gd name="T4" fmla="*/ 14 w 63"/>
                <a:gd name="T5" fmla="*/ 0 h 54"/>
                <a:gd name="T6" fmla="*/ 63 w 63"/>
                <a:gd name="T7" fmla="*/ 14 h 54"/>
                <a:gd name="T8" fmla="*/ 49 w 63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4">
                  <a:moveTo>
                    <a:pt x="49" y="54"/>
                  </a:moveTo>
                  <a:lnTo>
                    <a:pt x="0" y="40"/>
                  </a:lnTo>
                  <a:lnTo>
                    <a:pt x="14" y="0"/>
                  </a:lnTo>
                  <a:lnTo>
                    <a:pt x="63" y="14"/>
                  </a:lnTo>
                  <a:lnTo>
                    <a:pt x="49" y="54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F15EC29B-B8B2-48C1-A6A2-7034FE53B879}"/>
                </a:ext>
              </a:extLst>
            </p:cNvPr>
            <p:cNvSpPr/>
            <p:nvPr/>
          </p:nvSpPr>
          <p:spPr bwMode="auto">
            <a:xfrm>
              <a:off x="11125533" y="2492612"/>
              <a:ext cx="83012" cy="75105"/>
            </a:xfrm>
            <a:custGeom>
              <a:avLst/>
              <a:gdLst>
                <a:gd name="T0" fmla="*/ 49 w 63"/>
                <a:gd name="T1" fmla="*/ 57 h 57"/>
                <a:gd name="T2" fmla="*/ 0 w 63"/>
                <a:gd name="T3" fmla="*/ 43 h 57"/>
                <a:gd name="T4" fmla="*/ 14 w 63"/>
                <a:gd name="T5" fmla="*/ 0 h 57"/>
                <a:gd name="T6" fmla="*/ 63 w 63"/>
                <a:gd name="T7" fmla="*/ 14 h 57"/>
                <a:gd name="T8" fmla="*/ 49 w 63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7">
                  <a:moveTo>
                    <a:pt x="49" y="57"/>
                  </a:moveTo>
                  <a:lnTo>
                    <a:pt x="0" y="43"/>
                  </a:lnTo>
                  <a:lnTo>
                    <a:pt x="14" y="0"/>
                  </a:lnTo>
                  <a:lnTo>
                    <a:pt x="63" y="14"/>
                  </a:lnTo>
                  <a:lnTo>
                    <a:pt x="49" y="57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C65F5C18-FA69-4DA4-A7A5-7B4DC17226FD}"/>
                </a:ext>
              </a:extLst>
            </p:cNvPr>
            <p:cNvSpPr/>
            <p:nvPr/>
          </p:nvSpPr>
          <p:spPr bwMode="auto">
            <a:xfrm>
              <a:off x="10605067" y="2416189"/>
              <a:ext cx="83012" cy="76423"/>
            </a:xfrm>
            <a:custGeom>
              <a:avLst/>
              <a:gdLst>
                <a:gd name="T0" fmla="*/ 48 w 63"/>
                <a:gd name="T1" fmla="*/ 58 h 58"/>
                <a:gd name="T2" fmla="*/ 0 w 63"/>
                <a:gd name="T3" fmla="*/ 43 h 58"/>
                <a:gd name="T4" fmla="*/ 14 w 63"/>
                <a:gd name="T5" fmla="*/ 0 h 58"/>
                <a:gd name="T6" fmla="*/ 63 w 63"/>
                <a:gd name="T7" fmla="*/ 15 h 58"/>
                <a:gd name="T8" fmla="*/ 48 w 63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8">
                  <a:moveTo>
                    <a:pt x="48" y="58"/>
                  </a:moveTo>
                  <a:lnTo>
                    <a:pt x="0" y="43"/>
                  </a:lnTo>
                  <a:lnTo>
                    <a:pt x="14" y="0"/>
                  </a:lnTo>
                  <a:lnTo>
                    <a:pt x="63" y="15"/>
                  </a:lnTo>
                  <a:lnTo>
                    <a:pt x="48" y="58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4448E480-C6CD-4FDF-A43C-CB2B22780CD5}"/>
                </a:ext>
              </a:extLst>
            </p:cNvPr>
            <p:cNvSpPr/>
            <p:nvPr/>
          </p:nvSpPr>
          <p:spPr bwMode="auto">
            <a:xfrm>
              <a:off x="10688078" y="2442542"/>
              <a:ext cx="83012" cy="72470"/>
            </a:xfrm>
            <a:custGeom>
              <a:avLst/>
              <a:gdLst>
                <a:gd name="T0" fmla="*/ 48 w 63"/>
                <a:gd name="T1" fmla="*/ 55 h 55"/>
                <a:gd name="T2" fmla="*/ 0 w 63"/>
                <a:gd name="T3" fmla="*/ 41 h 55"/>
                <a:gd name="T4" fmla="*/ 14 w 63"/>
                <a:gd name="T5" fmla="*/ 0 h 55"/>
                <a:gd name="T6" fmla="*/ 63 w 63"/>
                <a:gd name="T7" fmla="*/ 15 h 55"/>
                <a:gd name="T8" fmla="*/ 48 w 63"/>
                <a:gd name="T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5">
                  <a:moveTo>
                    <a:pt x="48" y="55"/>
                  </a:moveTo>
                  <a:lnTo>
                    <a:pt x="0" y="41"/>
                  </a:lnTo>
                  <a:lnTo>
                    <a:pt x="14" y="0"/>
                  </a:lnTo>
                  <a:lnTo>
                    <a:pt x="63" y="15"/>
                  </a:lnTo>
                  <a:lnTo>
                    <a:pt x="48" y="55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F4543913-AB1A-440A-AD29-84B721E681B6}"/>
                </a:ext>
              </a:extLst>
            </p:cNvPr>
            <p:cNvSpPr/>
            <p:nvPr/>
          </p:nvSpPr>
          <p:spPr bwMode="auto">
            <a:xfrm>
              <a:off x="10771089" y="2466259"/>
              <a:ext cx="83012" cy="75105"/>
            </a:xfrm>
            <a:custGeom>
              <a:avLst/>
              <a:gdLst>
                <a:gd name="T0" fmla="*/ 48 w 63"/>
                <a:gd name="T1" fmla="*/ 57 h 57"/>
                <a:gd name="T2" fmla="*/ 0 w 63"/>
                <a:gd name="T3" fmla="*/ 43 h 57"/>
                <a:gd name="T4" fmla="*/ 14 w 63"/>
                <a:gd name="T5" fmla="*/ 0 h 57"/>
                <a:gd name="T6" fmla="*/ 63 w 63"/>
                <a:gd name="T7" fmla="*/ 14 h 57"/>
                <a:gd name="T8" fmla="*/ 48 w 63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7">
                  <a:moveTo>
                    <a:pt x="48" y="57"/>
                  </a:moveTo>
                  <a:lnTo>
                    <a:pt x="0" y="43"/>
                  </a:lnTo>
                  <a:lnTo>
                    <a:pt x="14" y="0"/>
                  </a:lnTo>
                  <a:lnTo>
                    <a:pt x="63" y="14"/>
                  </a:lnTo>
                  <a:lnTo>
                    <a:pt x="48" y="57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C4529149-F045-4935-B6A6-72B413B13883}"/>
                </a:ext>
              </a:extLst>
            </p:cNvPr>
            <p:cNvSpPr/>
            <p:nvPr/>
          </p:nvSpPr>
          <p:spPr bwMode="auto">
            <a:xfrm>
              <a:off x="10854100" y="2492612"/>
              <a:ext cx="83012" cy="75105"/>
            </a:xfrm>
            <a:custGeom>
              <a:avLst/>
              <a:gdLst>
                <a:gd name="T0" fmla="*/ 48 w 63"/>
                <a:gd name="T1" fmla="*/ 57 h 57"/>
                <a:gd name="T2" fmla="*/ 0 w 63"/>
                <a:gd name="T3" fmla="*/ 43 h 57"/>
                <a:gd name="T4" fmla="*/ 14 w 63"/>
                <a:gd name="T5" fmla="*/ 0 h 57"/>
                <a:gd name="T6" fmla="*/ 63 w 63"/>
                <a:gd name="T7" fmla="*/ 14 h 57"/>
                <a:gd name="T8" fmla="*/ 48 w 63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7">
                  <a:moveTo>
                    <a:pt x="48" y="57"/>
                  </a:moveTo>
                  <a:lnTo>
                    <a:pt x="0" y="43"/>
                  </a:lnTo>
                  <a:lnTo>
                    <a:pt x="14" y="0"/>
                  </a:lnTo>
                  <a:lnTo>
                    <a:pt x="63" y="14"/>
                  </a:lnTo>
                  <a:lnTo>
                    <a:pt x="48" y="57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30" name="任意多边形: 形状 129">
              <a:extLst>
                <a:ext uri="{FF2B5EF4-FFF2-40B4-BE49-F238E27FC236}">
                  <a16:creationId xmlns:a16="http://schemas.microsoft.com/office/drawing/2014/main" id="{0400DE2C-E4A7-42BC-8D0F-FC79250689AA}"/>
                </a:ext>
              </a:extLst>
            </p:cNvPr>
            <p:cNvSpPr/>
            <p:nvPr/>
          </p:nvSpPr>
          <p:spPr bwMode="auto">
            <a:xfrm>
              <a:off x="10937112" y="2518965"/>
              <a:ext cx="83012" cy="71152"/>
            </a:xfrm>
            <a:custGeom>
              <a:avLst/>
              <a:gdLst>
                <a:gd name="T0" fmla="*/ 48 w 63"/>
                <a:gd name="T1" fmla="*/ 54 h 54"/>
                <a:gd name="T2" fmla="*/ 0 w 63"/>
                <a:gd name="T3" fmla="*/ 40 h 54"/>
                <a:gd name="T4" fmla="*/ 14 w 63"/>
                <a:gd name="T5" fmla="*/ 0 h 54"/>
                <a:gd name="T6" fmla="*/ 63 w 63"/>
                <a:gd name="T7" fmla="*/ 14 h 54"/>
                <a:gd name="T8" fmla="*/ 48 w 63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4">
                  <a:moveTo>
                    <a:pt x="48" y="54"/>
                  </a:moveTo>
                  <a:lnTo>
                    <a:pt x="0" y="40"/>
                  </a:lnTo>
                  <a:lnTo>
                    <a:pt x="14" y="0"/>
                  </a:lnTo>
                  <a:lnTo>
                    <a:pt x="63" y="14"/>
                  </a:lnTo>
                  <a:lnTo>
                    <a:pt x="48" y="54"/>
                  </a:lnTo>
                  <a:close/>
                </a:path>
              </a:pathLst>
            </a:custGeom>
            <a:solidFill>
              <a:srgbClr val="F36C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31" name="任意多边形: 形状 130">
              <a:extLst>
                <a:ext uri="{FF2B5EF4-FFF2-40B4-BE49-F238E27FC236}">
                  <a16:creationId xmlns:a16="http://schemas.microsoft.com/office/drawing/2014/main" id="{5023C867-069B-46B3-8C79-7D7A0FBD9C5F}"/>
                </a:ext>
              </a:extLst>
            </p:cNvPr>
            <p:cNvSpPr/>
            <p:nvPr/>
          </p:nvSpPr>
          <p:spPr bwMode="auto">
            <a:xfrm>
              <a:off x="11020122" y="2541364"/>
              <a:ext cx="83012" cy="75105"/>
            </a:xfrm>
            <a:custGeom>
              <a:avLst/>
              <a:gdLst>
                <a:gd name="T0" fmla="*/ 48 w 63"/>
                <a:gd name="T1" fmla="*/ 57 h 57"/>
                <a:gd name="T2" fmla="*/ 0 w 63"/>
                <a:gd name="T3" fmla="*/ 43 h 57"/>
                <a:gd name="T4" fmla="*/ 14 w 63"/>
                <a:gd name="T5" fmla="*/ 0 h 57"/>
                <a:gd name="T6" fmla="*/ 63 w 63"/>
                <a:gd name="T7" fmla="*/ 14 h 57"/>
                <a:gd name="T8" fmla="*/ 48 w 63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7">
                  <a:moveTo>
                    <a:pt x="48" y="57"/>
                  </a:moveTo>
                  <a:lnTo>
                    <a:pt x="0" y="43"/>
                  </a:lnTo>
                  <a:lnTo>
                    <a:pt x="14" y="0"/>
                  </a:lnTo>
                  <a:lnTo>
                    <a:pt x="63" y="14"/>
                  </a:lnTo>
                  <a:lnTo>
                    <a:pt x="48" y="57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32" name="任意多边形: 形状 131">
              <a:extLst>
                <a:ext uri="{FF2B5EF4-FFF2-40B4-BE49-F238E27FC236}">
                  <a16:creationId xmlns:a16="http://schemas.microsoft.com/office/drawing/2014/main" id="{9735BDB0-5769-4BAF-A52A-E13B1BE3A390}"/>
                </a:ext>
              </a:extLst>
            </p:cNvPr>
            <p:cNvSpPr/>
            <p:nvPr/>
          </p:nvSpPr>
          <p:spPr bwMode="auto">
            <a:xfrm>
              <a:off x="11103134" y="2567717"/>
              <a:ext cx="83012" cy="75105"/>
            </a:xfrm>
            <a:custGeom>
              <a:avLst/>
              <a:gdLst>
                <a:gd name="T0" fmla="*/ 48 w 63"/>
                <a:gd name="T1" fmla="*/ 57 h 57"/>
                <a:gd name="T2" fmla="*/ 0 w 63"/>
                <a:gd name="T3" fmla="*/ 40 h 57"/>
                <a:gd name="T4" fmla="*/ 14 w 63"/>
                <a:gd name="T5" fmla="*/ 0 h 57"/>
                <a:gd name="T6" fmla="*/ 63 w 63"/>
                <a:gd name="T7" fmla="*/ 14 h 57"/>
                <a:gd name="T8" fmla="*/ 48 w 63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7">
                  <a:moveTo>
                    <a:pt x="48" y="57"/>
                  </a:moveTo>
                  <a:lnTo>
                    <a:pt x="0" y="40"/>
                  </a:lnTo>
                  <a:lnTo>
                    <a:pt x="14" y="0"/>
                  </a:lnTo>
                  <a:lnTo>
                    <a:pt x="63" y="14"/>
                  </a:lnTo>
                  <a:lnTo>
                    <a:pt x="48" y="57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33" name="任意多边形: 形状 132">
              <a:extLst>
                <a:ext uri="{FF2B5EF4-FFF2-40B4-BE49-F238E27FC236}">
                  <a16:creationId xmlns:a16="http://schemas.microsoft.com/office/drawing/2014/main" id="{8C38DD93-CC45-4AA0-B902-F7946C0D6E69}"/>
                </a:ext>
              </a:extLst>
            </p:cNvPr>
            <p:cNvSpPr/>
            <p:nvPr/>
          </p:nvSpPr>
          <p:spPr bwMode="auto">
            <a:xfrm>
              <a:off x="10582667" y="2492612"/>
              <a:ext cx="83012" cy="71152"/>
            </a:xfrm>
            <a:custGeom>
              <a:avLst/>
              <a:gdLst>
                <a:gd name="T0" fmla="*/ 48 w 63"/>
                <a:gd name="T1" fmla="*/ 54 h 54"/>
                <a:gd name="T2" fmla="*/ 0 w 63"/>
                <a:gd name="T3" fmla="*/ 40 h 54"/>
                <a:gd name="T4" fmla="*/ 14 w 63"/>
                <a:gd name="T5" fmla="*/ 0 h 54"/>
                <a:gd name="T6" fmla="*/ 63 w 63"/>
                <a:gd name="T7" fmla="*/ 14 h 54"/>
                <a:gd name="T8" fmla="*/ 48 w 63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4">
                  <a:moveTo>
                    <a:pt x="48" y="54"/>
                  </a:moveTo>
                  <a:lnTo>
                    <a:pt x="0" y="40"/>
                  </a:lnTo>
                  <a:lnTo>
                    <a:pt x="14" y="0"/>
                  </a:lnTo>
                  <a:lnTo>
                    <a:pt x="63" y="14"/>
                  </a:lnTo>
                  <a:lnTo>
                    <a:pt x="48" y="54"/>
                  </a:lnTo>
                  <a:close/>
                </a:path>
              </a:pathLst>
            </a:custGeom>
            <a:solidFill>
              <a:srgbClr val="F36C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34" name="任意多边形: 形状 133">
              <a:extLst>
                <a:ext uri="{FF2B5EF4-FFF2-40B4-BE49-F238E27FC236}">
                  <a16:creationId xmlns:a16="http://schemas.microsoft.com/office/drawing/2014/main" id="{CF197018-8F2E-4EDD-B92B-23A014473850}"/>
                </a:ext>
              </a:extLst>
            </p:cNvPr>
            <p:cNvSpPr/>
            <p:nvPr/>
          </p:nvSpPr>
          <p:spPr bwMode="auto">
            <a:xfrm>
              <a:off x="10665678" y="2515011"/>
              <a:ext cx="83012" cy="75105"/>
            </a:xfrm>
            <a:custGeom>
              <a:avLst/>
              <a:gdLst>
                <a:gd name="T0" fmla="*/ 48 w 63"/>
                <a:gd name="T1" fmla="*/ 57 h 57"/>
                <a:gd name="T2" fmla="*/ 0 w 63"/>
                <a:gd name="T3" fmla="*/ 43 h 57"/>
                <a:gd name="T4" fmla="*/ 14 w 63"/>
                <a:gd name="T5" fmla="*/ 0 h 57"/>
                <a:gd name="T6" fmla="*/ 63 w 63"/>
                <a:gd name="T7" fmla="*/ 17 h 57"/>
                <a:gd name="T8" fmla="*/ 48 w 63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7">
                  <a:moveTo>
                    <a:pt x="48" y="57"/>
                  </a:moveTo>
                  <a:lnTo>
                    <a:pt x="0" y="43"/>
                  </a:lnTo>
                  <a:lnTo>
                    <a:pt x="14" y="0"/>
                  </a:lnTo>
                  <a:lnTo>
                    <a:pt x="63" y="17"/>
                  </a:lnTo>
                  <a:lnTo>
                    <a:pt x="48" y="57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35" name="任意多边形: 形状 134">
              <a:extLst>
                <a:ext uri="{FF2B5EF4-FFF2-40B4-BE49-F238E27FC236}">
                  <a16:creationId xmlns:a16="http://schemas.microsoft.com/office/drawing/2014/main" id="{E4710773-4A91-4066-8CF0-08342590F885}"/>
                </a:ext>
              </a:extLst>
            </p:cNvPr>
            <p:cNvSpPr/>
            <p:nvPr/>
          </p:nvSpPr>
          <p:spPr bwMode="auto">
            <a:xfrm>
              <a:off x="10748689" y="2541364"/>
              <a:ext cx="83012" cy="75105"/>
            </a:xfrm>
            <a:custGeom>
              <a:avLst/>
              <a:gdLst>
                <a:gd name="T0" fmla="*/ 48 w 63"/>
                <a:gd name="T1" fmla="*/ 57 h 57"/>
                <a:gd name="T2" fmla="*/ 0 w 63"/>
                <a:gd name="T3" fmla="*/ 43 h 57"/>
                <a:gd name="T4" fmla="*/ 14 w 63"/>
                <a:gd name="T5" fmla="*/ 0 h 57"/>
                <a:gd name="T6" fmla="*/ 63 w 63"/>
                <a:gd name="T7" fmla="*/ 14 h 57"/>
                <a:gd name="T8" fmla="*/ 48 w 63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7">
                  <a:moveTo>
                    <a:pt x="48" y="57"/>
                  </a:moveTo>
                  <a:lnTo>
                    <a:pt x="0" y="43"/>
                  </a:lnTo>
                  <a:lnTo>
                    <a:pt x="14" y="0"/>
                  </a:lnTo>
                  <a:lnTo>
                    <a:pt x="63" y="14"/>
                  </a:lnTo>
                  <a:lnTo>
                    <a:pt x="48" y="57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36" name="任意多边形: 形状 135">
              <a:extLst>
                <a:ext uri="{FF2B5EF4-FFF2-40B4-BE49-F238E27FC236}">
                  <a16:creationId xmlns:a16="http://schemas.microsoft.com/office/drawing/2014/main" id="{8E695F3A-2E84-41DE-B91D-619CDCFE4606}"/>
                </a:ext>
              </a:extLst>
            </p:cNvPr>
            <p:cNvSpPr/>
            <p:nvPr/>
          </p:nvSpPr>
          <p:spPr bwMode="auto">
            <a:xfrm>
              <a:off x="10831701" y="2567717"/>
              <a:ext cx="83012" cy="71152"/>
            </a:xfrm>
            <a:custGeom>
              <a:avLst/>
              <a:gdLst>
                <a:gd name="T0" fmla="*/ 48 w 63"/>
                <a:gd name="T1" fmla="*/ 54 h 54"/>
                <a:gd name="T2" fmla="*/ 0 w 63"/>
                <a:gd name="T3" fmla="*/ 40 h 54"/>
                <a:gd name="T4" fmla="*/ 14 w 63"/>
                <a:gd name="T5" fmla="*/ 0 h 54"/>
                <a:gd name="T6" fmla="*/ 63 w 63"/>
                <a:gd name="T7" fmla="*/ 14 h 54"/>
                <a:gd name="T8" fmla="*/ 48 w 63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4">
                  <a:moveTo>
                    <a:pt x="48" y="54"/>
                  </a:moveTo>
                  <a:lnTo>
                    <a:pt x="0" y="40"/>
                  </a:lnTo>
                  <a:lnTo>
                    <a:pt x="14" y="0"/>
                  </a:lnTo>
                  <a:lnTo>
                    <a:pt x="63" y="14"/>
                  </a:lnTo>
                  <a:lnTo>
                    <a:pt x="48" y="54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37" name="任意多边形: 形状 136">
              <a:extLst>
                <a:ext uri="{FF2B5EF4-FFF2-40B4-BE49-F238E27FC236}">
                  <a16:creationId xmlns:a16="http://schemas.microsoft.com/office/drawing/2014/main" id="{31D2EEAD-5FA3-455B-9767-4466AA9D63A4}"/>
                </a:ext>
              </a:extLst>
            </p:cNvPr>
            <p:cNvSpPr/>
            <p:nvPr/>
          </p:nvSpPr>
          <p:spPr bwMode="auto">
            <a:xfrm>
              <a:off x="10914711" y="2590117"/>
              <a:ext cx="83012" cy="75105"/>
            </a:xfrm>
            <a:custGeom>
              <a:avLst/>
              <a:gdLst>
                <a:gd name="T0" fmla="*/ 48 w 63"/>
                <a:gd name="T1" fmla="*/ 57 h 57"/>
                <a:gd name="T2" fmla="*/ 0 w 63"/>
                <a:gd name="T3" fmla="*/ 43 h 57"/>
                <a:gd name="T4" fmla="*/ 14 w 63"/>
                <a:gd name="T5" fmla="*/ 0 h 57"/>
                <a:gd name="T6" fmla="*/ 63 w 63"/>
                <a:gd name="T7" fmla="*/ 17 h 57"/>
                <a:gd name="T8" fmla="*/ 48 w 63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7">
                  <a:moveTo>
                    <a:pt x="48" y="57"/>
                  </a:moveTo>
                  <a:lnTo>
                    <a:pt x="0" y="43"/>
                  </a:lnTo>
                  <a:lnTo>
                    <a:pt x="14" y="0"/>
                  </a:lnTo>
                  <a:lnTo>
                    <a:pt x="63" y="17"/>
                  </a:lnTo>
                  <a:lnTo>
                    <a:pt x="48" y="57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38" name="任意多边形: 形状 137">
              <a:extLst>
                <a:ext uri="{FF2B5EF4-FFF2-40B4-BE49-F238E27FC236}">
                  <a16:creationId xmlns:a16="http://schemas.microsoft.com/office/drawing/2014/main" id="{4CEE3CC3-4816-4604-BF93-B5CF0D9D19F7}"/>
                </a:ext>
              </a:extLst>
            </p:cNvPr>
            <p:cNvSpPr/>
            <p:nvPr/>
          </p:nvSpPr>
          <p:spPr bwMode="auto">
            <a:xfrm>
              <a:off x="10997723" y="2616470"/>
              <a:ext cx="83012" cy="76423"/>
            </a:xfrm>
            <a:custGeom>
              <a:avLst/>
              <a:gdLst>
                <a:gd name="T0" fmla="*/ 48 w 63"/>
                <a:gd name="T1" fmla="*/ 58 h 58"/>
                <a:gd name="T2" fmla="*/ 0 w 63"/>
                <a:gd name="T3" fmla="*/ 43 h 58"/>
                <a:gd name="T4" fmla="*/ 14 w 63"/>
                <a:gd name="T5" fmla="*/ 0 h 58"/>
                <a:gd name="T6" fmla="*/ 63 w 63"/>
                <a:gd name="T7" fmla="*/ 15 h 58"/>
                <a:gd name="T8" fmla="*/ 48 w 63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8">
                  <a:moveTo>
                    <a:pt x="48" y="58"/>
                  </a:moveTo>
                  <a:lnTo>
                    <a:pt x="0" y="43"/>
                  </a:lnTo>
                  <a:lnTo>
                    <a:pt x="14" y="0"/>
                  </a:lnTo>
                  <a:lnTo>
                    <a:pt x="63" y="15"/>
                  </a:lnTo>
                  <a:lnTo>
                    <a:pt x="48" y="58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39" name="任意多边形: 形状 138">
              <a:extLst>
                <a:ext uri="{FF2B5EF4-FFF2-40B4-BE49-F238E27FC236}">
                  <a16:creationId xmlns:a16="http://schemas.microsoft.com/office/drawing/2014/main" id="{BC9086E6-24CD-4C47-9CDD-6DD2DA9C6C99}"/>
                </a:ext>
              </a:extLst>
            </p:cNvPr>
            <p:cNvSpPr/>
            <p:nvPr/>
          </p:nvSpPr>
          <p:spPr bwMode="auto">
            <a:xfrm>
              <a:off x="11083369" y="2642822"/>
              <a:ext cx="80376" cy="72470"/>
            </a:xfrm>
            <a:custGeom>
              <a:avLst/>
              <a:gdLst>
                <a:gd name="T0" fmla="*/ 46 w 61"/>
                <a:gd name="T1" fmla="*/ 55 h 55"/>
                <a:gd name="T2" fmla="*/ 0 w 61"/>
                <a:gd name="T3" fmla="*/ 40 h 55"/>
                <a:gd name="T4" fmla="*/ 12 w 61"/>
                <a:gd name="T5" fmla="*/ 0 h 55"/>
                <a:gd name="T6" fmla="*/ 61 w 61"/>
                <a:gd name="T7" fmla="*/ 15 h 55"/>
                <a:gd name="T8" fmla="*/ 46 w 61"/>
                <a:gd name="T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55">
                  <a:moveTo>
                    <a:pt x="46" y="55"/>
                  </a:moveTo>
                  <a:lnTo>
                    <a:pt x="0" y="40"/>
                  </a:lnTo>
                  <a:lnTo>
                    <a:pt x="12" y="0"/>
                  </a:lnTo>
                  <a:lnTo>
                    <a:pt x="61" y="15"/>
                  </a:lnTo>
                  <a:lnTo>
                    <a:pt x="46" y="55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40" name="任意多边形: 形状 139">
              <a:extLst>
                <a:ext uri="{FF2B5EF4-FFF2-40B4-BE49-F238E27FC236}">
                  <a16:creationId xmlns:a16="http://schemas.microsoft.com/office/drawing/2014/main" id="{23669035-069D-4A51-ACA9-BB4F656E9F4D}"/>
                </a:ext>
              </a:extLst>
            </p:cNvPr>
            <p:cNvSpPr/>
            <p:nvPr/>
          </p:nvSpPr>
          <p:spPr bwMode="auto">
            <a:xfrm>
              <a:off x="10558949" y="2567717"/>
              <a:ext cx="83012" cy="71152"/>
            </a:xfrm>
            <a:custGeom>
              <a:avLst/>
              <a:gdLst>
                <a:gd name="T0" fmla="*/ 49 w 63"/>
                <a:gd name="T1" fmla="*/ 54 h 54"/>
                <a:gd name="T2" fmla="*/ 0 w 63"/>
                <a:gd name="T3" fmla="*/ 40 h 54"/>
                <a:gd name="T4" fmla="*/ 15 w 63"/>
                <a:gd name="T5" fmla="*/ 0 h 54"/>
                <a:gd name="T6" fmla="*/ 63 w 63"/>
                <a:gd name="T7" fmla="*/ 14 h 54"/>
                <a:gd name="T8" fmla="*/ 49 w 63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4">
                  <a:moveTo>
                    <a:pt x="49" y="54"/>
                  </a:moveTo>
                  <a:lnTo>
                    <a:pt x="0" y="40"/>
                  </a:lnTo>
                  <a:lnTo>
                    <a:pt x="15" y="0"/>
                  </a:lnTo>
                  <a:lnTo>
                    <a:pt x="63" y="14"/>
                  </a:lnTo>
                  <a:lnTo>
                    <a:pt x="49" y="54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41" name="任意多边形: 形状 140">
              <a:extLst>
                <a:ext uri="{FF2B5EF4-FFF2-40B4-BE49-F238E27FC236}">
                  <a16:creationId xmlns:a16="http://schemas.microsoft.com/office/drawing/2014/main" id="{136E2A89-8273-4500-821A-D0E7F71496D7}"/>
                </a:ext>
              </a:extLst>
            </p:cNvPr>
            <p:cNvSpPr/>
            <p:nvPr/>
          </p:nvSpPr>
          <p:spPr bwMode="auto">
            <a:xfrm>
              <a:off x="10641961" y="2590117"/>
              <a:ext cx="83012" cy="75105"/>
            </a:xfrm>
            <a:custGeom>
              <a:avLst/>
              <a:gdLst>
                <a:gd name="T0" fmla="*/ 49 w 63"/>
                <a:gd name="T1" fmla="*/ 57 h 57"/>
                <a:gd name="T2" fmla="*/ 0 w 63"/>
                <a:gd name="T3" fmla="*/ 43 h 57"/>
                <a:gd name="T4" fmla="*/ 15 w 63"/>
                <a:gd name="T5" fmla="*/ 0 h 57"/>
                <a:gd name="T6" fmla="*/ 63 w 63"/>
                <a:gd name="T7" fmla="*/ 14 h 57"/>
                <a:gd name="T8" fmla="*/ 49 w 63"/>
                <a:gd name="T9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7">
                  <a:moveTo>
                    <a:pt x="49" y="57"/>
                  </a:moveTo>
                  <a:lnTo>
                    <a:pt x="0" y="43"/>
                  </a:lnTo>
                  <a:lnTo>
                    <a:pt x="15" y="0"/>
                  </a:lnTo>
                  <a:lnTo>
                    <a:pt x="63" y="14"/>
                  </a:lnTo>
                  <a:lnTo>
                    <a:pt x="49" y="57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42" name="任意多边形: 形状 141">
              <a:extLst>
                <a:ext uri="{FF2B5EF4-FFF2-40B4-BE49-F238E27FC236}">
                  <a16:creationId xmlns:a16="http://schemas.microsoft.com/office/drawing/2014/main" id="{DC2C4475-8D10-4C3A-B43F-05E21F5AD281}"/>
                </a:ext>
              </a:extLst>
            </p:cNvPr>
            <p:cNvSpPr/>
            <p:nvPr/>
          </p:nvSpPr>
          <p:spPr bwMode="auto">
            <a:xfrm>
              <a:off x="10724971" y="2616470"/>
              <a:ext cx="83012" cy="76423"/>
            </a:xfrm>
            <a:custGeom>
              <a:avLst/>
              <a:gdLst>
                <a:gd name="T0" fmla="*/ 49 w 63"/>
                <a:gd name="T1" fmla="*/ 58 h 58"/>
                <a:gd name="T2" fmla="*/ 0 w 63"/>
                <a:gd name="T3" fmla="*/ 40 h 58"/>
                <a:gd name="T4" fmla="*/ 15 w 63"/>
                <a:gd name="T5" fmla="*/ 0 h 58"/>
                <a:gd name="T6" fmla="*/ 63 w 63"/>
                <a:gd name="T7" fmla="*/ 15 h 58"/>
                <a:gd name="T8" fmla="*/ 49 w 63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8">
                  <a:moveTo>
                    <a:pt x="49" y="58"/>
                  </a:moveTo>
                  <a:lnTo>
                    <a:pt x="0" y="40"/>
                  </a:lnTo>
                  <a:lnTo>
                    <a:pt x="15" y="0"/>
                  </a:lnTo>
                  <a:lnTo>
                    <a:pt x="63" y="15"/>
                  </a:lnTo>
                  <a:lnTo>
                    <a:pt x="49" y="58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43" name="任意多边形: 形状 142">
              <a:extLst>
                <a:ext uri="{FF2B5EF4-FFF2-40B4-BE49-F238E27FC236}">
                  <a16:creationId xmlns:a16="http://schemas.microsoft.com/office/drawing/2014/main" id="{983D855E-3B6F-4AB1-B542-F03E8E385C5A}"/>
                </a:ext>
              </a:extLst>
            </p:cNvPr>
            <p:cNvSpPr/>
            <p:nvPr/>
          </p:nvSpPr>
          <p:spPr bwMode="auto">
            <a:xfrm>
              <a:off x="10807983" y="2642822"/>
              <a:ext cx="83012" cy="72470"/>
            </a:xfrm>
            <a:custGeom>
              <a:avLst/>
              <a:gdLst>
                <a:gd name="T0" fmla="*/ 49 w 63"/>
                <a:gd name="T1" fmla="*/ 55 h 55"/>
                <a:gd name="T2" fmla="*/ 0 w 63"/>
                <a:gd name="T3" fmla="*/ 40 h 55"/>
                <a:gd name="T4" fmla="*/ 15 w 63"/>
                <a:gd name="T5" fmla="*/ 0 h 55"/>
                <a:gd name="T6" fmla="*/ 63 w 63"/>
                <a:gd name="T7" fmla="*/ 15 h 55"/>
                <a:gd name="T8" fmla="*/ 49 w 63"/>
                <a:gd name="T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55">
                  <a:moveTo>
                    <a:pt x="49" y="55"/>
                  </a:moveTo>
                  <a:lnTo>
                    <a:pt x="0" y="40"/>
                  </a:lnTo>
                  <a:lnTo>
                    <a:pt x="15" y="0"/>
                  </a:lnTo>
                  <a:lnTo>
                    <a:pt x="63" y="15"/>
                  </a:lnTo>
                  <a:lnTo>
                    <a:pt x="49" y="55"/>
                  </a:ln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44" name="任意多边形: 形状 143">
              <a:extLst>
                <a:ext uri="{FF2B5EF4-FFF2-40B4-BE49-F238E27FC236}">
                  <a16:creationId xmlns:a16="http://schemas.microsoft.com/office/drawing/2014/main" id="{A19A9EA8-04F0-4023-9E3E-89D2F8E2AC00}"/>
                </a:ext>
              </a:extLst>
            </p:cNvPr>
            <p:cNvSpPr/>
            <p:nvPr/>
          </p:nvSpPr>
          <p:spPr bwMode="auto">
            <a:xfrm>
              <a:off x="10894947" y="2665222"/>
              <a:ext cx="79058" cy="76423"/>
            </a:xfrm>
            <a:custGeom>
              <a:avLst/>
              <a:gdLst>
                <a:gd name="T0" fmla="*/ 46 w 60"/>
                <a:gd name="T1" fmla="*/ 58 h 58"/>
                <a:gd name="T2" fmla="*/ 0 w 60"/>
                <a:gd name="T3" fmla="*/ 43 h 58"/>
                <a:gd name="T4" fmla="*/ 12 w 60"/>
                <a:gd name="T5" fmla="*/ 0 h 58"/>
                <a:gd name="T6" fmla="*/ 60 w 60"/>
                <a:gd name="T7" fmla="*/ 15 h 58"/>
                <a:gd name="T8" fmla="*/ 46 w 60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58">
                  <a:moveTo>
                    <a:pt x="46" y="58"/>
                  </a:moveTo>
                  <a:lnTo>
                    <a:pt x="0" y="43"/>
                  </a:lnTo>
                  <a:lnTo>
                    <a:pt x="12" y="0"/>
                  </a:lnTo>
                  <a:lnTo>
                    <a:pt x="60" y="15"/>
                  </a:lnTo>
                  <a:lnTo>
                    <a:pt x="46" y="58"/>
                  </a:lnTo>
                  <a:close/>
                </a:path>
              </a:pathLst>
            </a:custGeom>
            <a:solidFill>
              <a:srgbClr val="CFEA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45" name="任意多边形: 形状 144">
              <a:extLst>
                <a:ext uri="{FF2B5EF4-FFF2-40B4-BE49-F238E27FC236}">
                  <a16:creationId xmlns:a16="http://schemas.microsoft.com/office/drawing/2014/main" id="{936F1BE0-0DF9-4FE2-8CFF-B47A035C8DC8}"/>
                </a:ext>
              </a:extLst>
            </p:cNvPr>
            <p:cNvSpPr/>
            <p:nvPr/>
          </p:nvSpPr>
          <p:spPr bwMode="auto">
            <a:xfrm>
              <a:off x="10977958" y="2692893"/>
              <a:ext cx="79058" cy="71152"/>
            </a:xfrm>
            <a:custGeom>
              <a:avLst/>
              <a:gdLst>
                <a:gd name="T0" fmla="*/ 46 w 60"/>
                <a:gd name="T1" fmla="*/ 54 h 54"/>
                <a:gd name="T2" fmla="*/ 0 w 60"/>
                <a:gd name="T3" fmla="*/ 40 h 54"/>
                <a:gd name="T4" fmla="*/ 12 w 60"/>
                <a:gd name="T5" fmla="*/ 0 h 54"/>
                <a:gd name="T6" fmla="*/ 60 w 60"/>
                <a:gd name="T7" fmla="*/ 14 h 54"/>
                <a:gd name="T8" fmla="*/ 46 w 60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54">
                  <a:moveTo>
                    <a:pt x="46" y="54"/>
                  </a:moveTo>
                  <a:lnTo>
                    <a:pt x="0" y="40"/>
                  </a:lnTo>
                  <a:lnTo>
                    <a:pt x="12" y="0"/>
                  </a:lnTo>
                  <a:lnTo>
                    <a:pt x="60" y="14"/>
                  </a:lnTo>
                  <a:lnTo>
                    <a:pt x="46" y="54"/>
                  </a:lnTo>
                  <a:close/>
                </a:path>
              </a:pathLst>
            </a:custGeom>
            <a:solidFill>
              <a:srgbClr val="CFEA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46" name="任意多边形: 形状 145">
              <a:extLst>
                <a:ext uri="{FF2B5EF4-FFF2-40B4-BE49-F238E27FC236}">
                  <a16:creationId xmlns:a16="http://schemas.microsoft.com/office/drawing/2014/main" id="{E567AACC-4C68-441E-8CBA-380062C01CE5}"/>
                </a:ext>
              </a:extLst>
            </p:cNvPr>
            <p:cNvSpPr/>
            <p:nvPr/>
          </p:nvSpPr>
          <p:spPr bwMode="auto">
            <a:xfrm>
              <a:off x="10761822" y="2720562"/>
              <a:ext cx="79058" cy="71152"/>
            </a:xfrm>
            <a:custGeom>
              <a:avLst/>
              <a:gdLst>
                <a:gd name="T0" fmla="*/ 46 w 60"/>
                <a:gd name="T1" fmla="*/ 54 h 54"/>
                <a:gd name="T2" fmla="*/ 0 w 60"/>
                <a:gd name="T3" fmla="*/ 40 h 54"/>
                <a:gd name="T4" fmla="*/ 12 w 60"/>
                <a:gd name="T5" fmla="*/ 0 h 54"/>
                <a:gd name="T6" fmla="*/ 60 w 60"/>
                <a:gd name="T7" fmla="*/ 14 h 54"/>
                <a:gd name="T8" fmla="*/ 46 w 60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54">
                  <a:moveTo>
                    <a:pt x="46" y="54"/>
                  </a:moveTo>
                  <a:lnTo>
                    <a:pt x="0" y="40"/>
                  </a:lnTo>
                  <a:lnTo>
                    <a:pt x="12" y="0"/>
                  </a:lnTo>
                  <a:lnTo>
                    <a:pt x="60" y="14"/>
                  </a:lnTo>
                  <a:lnTo>
                    <a:pt x="46" y="54"/>
                  </a:lnTo>
                  <a:close/>
                </a:path>
              </a:pathLst>
            </a:custGeom>
            <a:solidFill>
              <a:srgbClr val="CFEA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47" name="任意多边形: 形状 146">
              <a:extLst>
                <a:ext uri="{FF2B5EF4-FFF2-40B4-BE49-F238E27FC236}">
                  <a16:creationId xmlns:a16="http://schemas.microsoft.com/office/drawing/2014/main" id="{7CC339C4-BCB0-4DE1-9FFE-1194AC8E4E2C}"/>
                </a:ext>
              </a:extLst>
            </p:cNvPr>
            <p:cNvSpPr/>
            <p:nvPr/>
          </p:nvSpPr>
          <p:spPr bwMode="auto">
            <a:xfrm>
              <a:off x="10321774" y="2031439"/>
              <a:ext cx="380798" cy="766865"/>
            </a:xfrm>
            <a:custGeom>
              <a:avLst/>
              <a:gdLst>
                <a:gd name="T0" fmla="*/ 0 w 101"/>
                <a:gd name="T1" fmla="*/ 203 h 203"/>
                <a:gd name="T2" fmla="*/ 101 w 101"/>
                <a:gd name="T3" fmla="*/ 102 h 203"/>
                <a:gd name="T4" fmla="*/ 0 w 101"/>
                <a:gd name="T5" fmla="*/ 0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1" h="203">
                  <a:moveTo>
                    <a:pt x="0" y="203"/>
                  </a:moveTo>
                  <a:cubicBezTo>
                    <a:pt x="56" y="203"/>
                    <a:pt x="101" y="158"/>
                    <a:pt x="101" y="102"/>
                  </a:cubicBezTo>
                  <a:cubicBezTo>
                    <a:pt x="101" y="46"/>
                    <a:pt x="56" y="0"/>
                    <a:pt x="0" y="0"/>
                  </a:cubicBezTo>
                </a:path>
              </a:pathLst>
            </a:custGeom>
            <a:solidFill>
              <a:srgbClr val="00AA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148" name="任意多边形: 形状 147">
              <a:extLst>
                <a:ext uri="{FF2B5EF4-FFF2-40B4-BE49-F238E27FC236}">
                  <a16:creationId xmlns:a16="http://schemas.microsoft.com/office/drawing/2014/main" id="{3C3CEC53-3A01-4C1B-A568-D7580AB357DB}"/>
                </a:ext>
              </a:extLst>
            </p:cNvPr>
            <p:cNvSpPr/>
            <p:nvPr/>
          </p:nvSpPr>
          <p:spPr bwMode="auto">
            <a:xfrm>
              <a:off x="9937024" y="2031439"/>
              <a:ext cx="384750" cy="766865"/>
            </a:xfrm>
            <a:custGeom>
              <a:avLst/>
              <a:gdLst>
                <a:gd name="T0" fmla="*/ 102 w 102"/>
                <a:gd name="T1" fmla="*/ 0 h 203"/>
                <a:gd name="T2" fmla="*/ 0 w 102"/>
                <a:gd name="T3" fmla="*/ 102 h 203"/>
                <a:gd name="T4" fmla="*/ 102 w 102"/>
                <a:gd name="T5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2" h="203">
                  <a:moveTo>
                    <a:pt x="102" y="0"/>
                  </a:moveTo>
                  <a:cubicBezTo>
                    <a:pt x="46" y="0"/>
                    <a:pt x="0" y="46"/>
                    <a:pt x="0" y="102"/>
                  </a:cubicBezTo>
                  <a:cubicBezTo>
                    <a:pt x="0" y="158"/>
                    <a:pt x="46" y="203"/>
                    <a:pt x="102" y="203"/>
                  </a:cubicBezTo>
                </a:path>
              </a:pathLst>
            </a:custGeom>
            <a:solidFill>
              <a:srgbClr val="4EC3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149" name="任意多边形: 形状 148">
              <a:extLst>
                <a:ext uri="{FF2B5EF4-FFF2-40B4-BE49-F238E27FC236}">
                  <a16:creationId xmlns:a16="http://schemas.microsoft.com/office/drawing/2014/main" id="{68B39013-8540-479C-AA23-15DCC6F2A3D5}"/>
                </a:ext>
              </a:extLst>
            </p:cNvPr>
            <p:cNvSpPr/>
            <p:nvPr/>
          </p:nvSpPr>
          <p:spPr bwMode="auto">
            <a:xfrm>
              <a:off x="10623514" y="2518965"/>
              <a:ext cx="68517" cy="97505"/>
            </a:xfrm>
            <a:custGeom>
              <a:avLst/>
              <a:gdLst>
                <a:gd name="T0" fmla="*/ 17 w 18"/>
                <a:gd name="T1" fmla="*/ 0 h 26"/>
                <a:gd name="T2" fmla="*/ 14 w 18"/>
                <a:gd name="T3" fmla="*/ 1 h 26"/>
                <a:gd name="T4" fmla="*/ 11 w 18"/>
                <a:gd name="T5" fmla="*/ 3 h 26"/>
                <a:gd name="T6" fmla="*/ 9 w 18"/>
                <a:gd name="T7" fmla="*/ 6 h 26"/>
                <a:gd name="T8" fmla="*/ 7 w 18"/>
                <a:gd name="T9" fmla="*/ 6 h 26"/>
                <a:gd name="T10" fmla="*/ 5 w 18"/>
                <a:gd name="T11" fmla="*/ 8 h 26"/>
                <a:gd name="T12" fmla="*/ 5 w 18"/>
                <a:gd name="T13" fmla="*/ 8 h 26"/>
                <a:gd name="T14" fmla="*/ 4 w 18"/>
                <a:gd name="T15" fmla="*/ 9 h 26"/>
                <a:gd name="T16" fmla="*/ 3 w 18"/>
                <a:gd name="T17" fmla="*/ 10 h 26"/>
                <a:gd name="T18" fmla="*/ 0 w 18"/>
                <a:gd name="T19" fmla="*/ 13 h 26"/>
                <a:gd name="T20" fmla="*/ 0 w 18"/>
                <a:gd name="T21" fmla="*/ 17 h 26"/>
                <a:gd name="T22" fmla="*/ 1 w 18"/>
                <a:gd name="T23" fmla="*/ 20 h 26"/>
                <a:gd name="T24" fmla="*/ 1 w 18"/>
                <a:gd name="T25" fmla="*/ 21 h 26"/>
                <a:gd name="T26" fmla="*/ 1 w 18"/>
                <a:gd name="T27" fmla="*/ 23 h 26"/>
                <a:gd name="T28" fmla="*/ 2 w 18"/>
                <a:gd name="T29" fmla="*/ 26 h 26"/>
                <a:gd name="T30" fmla="*/ 6 w 18"/>
                <a:gd name="T31" fmla="*/ 25 h 26"/>
                <a:gd name="T32" fmla="*/ 7 w 18"/>
                <a:gd name="T33" fmla="*/ 25 h 26"/>
                <a:gd name="T34" fmla="*/ 18 w 18"/>
                <a:gd name="T35" fmla="*/ 0 h 26"/>
                <a:gd name="T36" fmla="*/ 17 w 18"/>
                <a:gd name="T37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" h="26">
                  <a:moveTo>
                    <a:pt x="17" y="0"/>
                  </a:moveTo>
                  <a:cubicBezTo>
                    <a:pt x="16" y="0"/>
                    <a:pt x="14" y="1"/>
                    <a:pt x="14" y="1"/>
                  </a:cubicBezTo>
                  <a:cubicBezTo>
                    <a:pt x="14" y="2"/>
                    <a:pt x="12" y="3"/>
                    <a:pt x="11" y="3"/>
                  </a:cubicBezTo>
                  <a:cubicBezTo>
                    <a:pt x="11" y="3"/>
                    <a:pt x="10" y="5"/>
                    <a:pt x="9" y="6"/>
                  </a:cubicBezTo>
                  <a:cubicBezTo>
                    <a:pt x="9" y="6"/>
                    <a:pt x="8" y="6"/>
                    <a:pt x="7" y="6"/>
                  </a:cubicBezTo>
                  <a:cubicBezTo>
                    <a:pt x="7" y="7"/>
                    <a:pt x="5" y="8"/>
                    <a:pt x="5" y="8"/>
                  </a:cubicBezTo>
                  <a:cubicBezTo>
                    <a:pt x="5" y="9"/>
                    <a:pt x="5" y="9"/>
                    <a:pt x="5" y="8"/>
                  </a:cubicBezTo>
                  <a:cubicBezTo>
                    <a:pt x="5" y="8"/>
                    <a:pt x="5" y="8"/>
                    <a:pt x="4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1" y="13"/>
                    <a:pt x="0" y="13"/>
                  </a:cubicBezTo>
                  <a:cubicBezTo>
                    <a:pt x="0" y="14"/>
                    <a:pt x="0" y="16"/>
                    <a:pt x="0" y="17"/>
                  </a:cubicBezTo>
                  <a:cubicBezTo>
                    <a:pt x="0" y="19"/>
                    <a:pt x="0" y="20"/>
                    <a:pt x="1" y="20"/>
                  </a:cubicBezTo>
                  <a:cubicBezTo>
                    <a:pt x="1" y="20"/>
                    <a:pt x="1" y="20"/>
                    <a:pt x="1" y="21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2" y="26"/>
                    <a:pt x="2" y="26"/>
                  </a:cubicBezTo>
                  <a:cubicBezTo>
                    <a:pt x="2" y="26"/>
                    <a:pt x="5" y="25"/>
                    <a:pt x="6" y="25"/>
                  </a:cubicBezTo>
                  <a:cubicBezTo>
                    <a:pt x="6" y="25"/>
                    <a:pt x="7" y="25"/>
                    <a:pt x="7" y="25"/>
                  </a:cubicBezTo>
                  <a:cubicBezTo>
                    <a:pt x="12" y="17"/>
                    <a:pt x="15" y="9"/>
                    <a:pt x="18" y="0"/>
                  </a:cubicBezTo>
                  <a:lnTo>
                    <a:pt x="17" y="0"/>
                  </a:ln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50" name="任意多边形: 形状 149">
              <a:extLst>
                <a:ext uri="{FF2B5EF4-FFF2-40B4-BE49-F238E27FC236}">
                  <a16:creationId xmlns:a16="http://schemas.microsoft.com/office/drawing/2014/main" id="{967F51E7-DAD6-4271-A864-CEA676E909AE}"/>
                </a:ext>
              </a:extLst>
            </p:cNvPr>
            <p:cNvSpPr/>
            <p:nvPr/>
          </p:nvSpPr>
          <p:spPr bwMode="auto">
            <a:xfrm>
              <a:off x="9940977" y="2140802"/>
              <a:ext cx="245081" cy="566584"/>
            </a:xfrm>
            <a:custGeom>
              <a:avLst/>
              <a:gdLst>
                <a:gd name="T0" fmla="*/ 35 w 65"/>
                <a:gd name="T1" fmla="*/ 110 h 150"/>
                <a:gd name="T2" fmla="*/ 35 w 65"/>
                <a:gd name="T3" fmla="*/ 120 h 150"/>
                <a:gd name="T4" fmla="*/ 35 w 65"/>
                <a:gd name="T5" fmla="*/ 132 h 150"/>
                <a:gd name="T6" fmla="*/ 35 w 65"/>
                <a:gd name="T7" fmla="*/ 142 h 150"/>
                <a:gd name="T8" fmla="*/ 38 w 65"/>
                <a:gd name="T9" fmla="*/ 149 h 150"/>
                <a:gd name="T10" fmla="*/ 42 w 65"/>
                <a:gd name="T11" fmla="*/ 148 h 150"/>
                <a:gd name="T12" fmla="*/ 43 w 65"/>
                <a:gd name="T13" fmla="*/ 142 h 150"/>
                <a:gd name="T14" fmla="*/ 45 w 65"/>
                <a:gd name="T15" fmla="*/ 132 h 150"/>
                <a:gd name="T16" fmla="*/ 50 w 65"/>
                <a:gd name="T17" fmla="*/ 125 h 150"/>
                <a:gd name="T18" fmla="*/ 54 w 65"/>
                <a:gd name="T19" fmla="*/ 120 h 150"/>
                <a:gd name="T20" fmla="*/ 59 w 65"/>
                <a:gd name="T21" fmla="*/ 113 h 150"/>
                <a:gd name="T22" fmla="*/ 62 w 65"/>
                <a:gd name="T23" fmla="*/ 104 h 150"/>
                <a:gd name="T24" fmla="*/ 65 w 65"/>
                <a:gd name="T25" fmla="*/ 97 h 150"/>
                <a:gd name="T26" fmla="*/ 63 w 65"/>
                <a:gd name="T27" fmla="*/ 93 h 150"/>
                <a:gd name="T28" fmla="*/ 55 w 65"/>
                <a:gd name="T29" fmla="*/ 89 h 150"/>
                <a:gd name="T30" fmla="*/ 46 w 65"/>
                <a:gd name="T31" fmla="*/ 81 h 150"/>
                <a:gd name="T32" fmla="*/ 38 w 65"/>
                <a:gd name="T33" fmla="*/ 76 h 150"/>
                <a:gd name="T34" fmla="*/ 33 w 65"/>
                <a:gd name="T35" fmla="*/ 76 h 150"/>
                <a:gd name="T36" fmla="*/ 26 w 65"/>
                <a:gd name="T37" fmla="*/ 79 h 150"/>
                <a:gd name="T38" fmla="*/ 22 w 65"/>
                <a:gd name="T39" fmla="*/ 68 h 150"/>
                <a:gd name="T40" fmla="*/ 13 w 65"/>
                <a:gd name="T41" fmla="*/ 65 h 150"/>
                <a:gd name="T42" fmla="*/ 22 w 65"/>
                <a:gd name="T43" fmla="*/ 59 h 150"/>
                <a:gd name="T44" fmla="*/ 29 w 65"/>
                <a:gd name="T45" fmla="*/ 60 h 150"/>
                <a:gd name="T46" fmla="*/ 32 w 65"/>
                <a:gd name="T47" fmla="*/ 51 h 150"/>
                <a:gd name="T48" fmla="*/ 37 w 65"/>
                <a:gd name="T49" fmla="*/ 45 h 150"/>
                <a:gd name="T50" fmla="*/ 42 w 65"/>
                <a:gd name="T51" fmla="*/ 41 h 150"/>
                <a:gd name="T52" fmla="*/ 44 w 65"/>
                <a:gd name="T53" fmla="*/ 36 h 150"/>
                <a:gd name="T54" fmla="*/ 48 w 65"/>
                <a:gd name="T55" fmla="*/ 36 h 150"/>
                <a:gd name="T56" fmla="*/ 51 w 65"/>
                <a:gd name="T57" fmla="*/ 39 h 150"/>
                <a:gd name="T58" fmla="*/ 50 w 65"/>
                <a:gd name="T59" fmla="*/ 30 h 150"/>
                <a:gd name="T60" fmla="*/ 47 w 65"/>
                <a:gd name="T61" fmla="*/ 25 h 150"/>
                <a:gd name="T62" fmla="*/ 42 w 65"/>
                <a:gd name="T63" fmla="*/ 22 h 150"/>
                <a:gd name="T64" fmla="*/ 37 w 65"/>
                <a:gd name="T65" fmla="*/ 17 h 150"/>
                <a:gd name="T66" fmla="*/ 33 w 65"/>
                <a:gd name="T67" fmla="*/ 26 h 150"/>
                <a:gd name="T68" fmla="*/ 31 w 65"/>
                <a:gd name="T69" fmla="*/ 28 h 150"/>
                <a:gd name="T70" fmla="*/ 25 w 65"/>
                <a:gd name="T71" fmla="*/ 25 h 150"/>
                <a:gd name="T72" fmla="*/ 25 w 65"/>
                <a:gd name="T73" fmla="*/ 18 h 150"/>
                <a:gd name="T74" fmla="*/ 33 w 65"/>
                <a:gd name="T75" fmla="*/ 12 h 150"/>
                <a:gd name="T76" fmla="*/ 35 w 65"/>
                <a:gd name="T77" fmla="*/ 7 h 150"/>
                <a:gd name="T78" fmla="*/ 40 w 65"/>
                <a:gd name="T79" fmla="*/ 10 h 150"/>
                <a:gd name="T80" fmla="*/ 44 w 65"/>
                <a:gd name="T81" fmla="*/ 18 h 150"/>
                <a:gd name="T82" fmla="*/ 47 w 65"/>
                <a:gd name="T83" fmla="*/ 13 h 150"/>
                <a:gd name="T84" fmla="*/ 48 w 65"/>
                <a:gd name="T85" fmla="*/ 10 h 150"/>
                <a:gd name="T86" fmla="*/ 45 w 65"/>
                <a:gd name="T87" fmla="*/ 5 h 150"/>
                <a:gd name="T88" fmla="*/ 38 w 65"/>
                <a:gd name="T89" fmla="*/ 2 h 150"/>
                <a:gd name="T90" fmla="*/ 30 w 65"/>
                <a:gd name="T91" fmla="*/ 4 h 150"/>
                <a:gd name="T92" fmla="*/ 30 w 65"/>
                <a:gd name="T93" fmla="*/ 8 h 150"/>
                <a:gd name="T94" fmla="*/ 25 w 65"/>
                <a:gd name="T95" fmla="*/ 6 h 150"/>
                <a:gd name="T96" fmla="*/ 23 w 65"/>
                <a:gd name="T97" fmla="*/ 8 h 150"/>
                <a:gd name="T98" fmla="*/ 3 w 65"/>
                <a:gd name="T99" fmla="*/ 64 h 150"/>
                <a:gd name="T100" fmla="*/ 6 w 65"/>
                <a:gd name="T101" fmla="*/ 64 h 150"/>
                <a:gd name="T102" fmla="*/ 17 w 65"/>
                <a:gd name="T103" fmla="*/ 75 h 150"/>
                <a:gd name="T104" fmla="*/ 22 w 65"/>
                <a:gd name="T105" fmla="*/ 79 h 150"/>
                <a:gd name="T106" fmla="*/ 28 w 65"/>
                <a:gd name="T107" fmla="*/ 83 h 150"/>
                <a:gd name="T108" fmla="*/ 26 w 65"/>
                <a:gd name="T109" fmla="*/ 93 h 150"/>
                <a:gd name="T110" fmla="*/ 29 w 65"/>
                <a:gd name="T111" fmla="*/ 101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5" h="150">
                  <a:moveTo>
                    <a:pt x="30" y="103"/>
                  </a:moveTo>
                  <a:cubicBezTo>
                    <a:pt x="30" y="103"/>
                    <a:pt x="32" y="105"/>
                    <a:pt x="33" y="106"/>
                  </a:cubicBezTo>
                  <a:cubicBezTo>
                    <a:pt x="34" y="106"/>
                    <a:pt x="35" y="109"/>
                    <a:pt x="35" y="110"/>
                  </a:cubicBezTo>
                  <a:cubicBezTo>
                    <a:pt x="36" y="111"/>
                    <a:pt x="35" y="113"/>
                    <a:pt x="35" y="113"/>
                  </a:cubicBezTo>
                  <a:cubicBezTo>
                    <a:pt x="35" y="114"/>
                    <a:pt x="36" y="115"/>
                    <a:pt x="36" y="115"/>
                  </a:cubicBezTo>
                  <a:cubicBezTo>
                    <a:pt x="36" y="115"/>
                    <a:pt x="35" y="118"/>
                    <a:pt x="35" y="120"/>
                  </a:cubicBezTo>
                  <a:cubicBezTo>
                    <a:pt x="36" y="121"/>
                    <a:pt x="34" y="125"/>
                    <a:pt x="34" y="126"/>
                  </a:cubicBezTo>
                  <a:cubicBezTo>
                    <a:pt x="34" y="128"/>
                    <a:pt x="35" y="131"/>
                    <a:pt x="35" y="130"/>
                  </a:cubicBezTo>
                  <a:cubicBezTo>
                    <a:pt x="36" y="130"/>
                    <a:pt x="36" y="132"/>
                    <a:pt x="35" y="132"/>
                  </a:cubicBezTo>
                  <a:cubicBezTo>
                    <a:pt x="35" y="133"/>
                    <a:pt x="34" y="134"/>
                    <a:pt x="34" y="134"/>
                  </a:cubicBezTo>
                  <a:cubicBezTo>
                    <a:pt x="35" y="134"/>
                    <a:pt x="34" y="136"/>
                    <a:pt x="34" y="136"/>
                  </a:cubicBezTo>
                  <a:cubicBezTo>
                    <a:pt x="34" y="137"/>
                    <a:pt x="35" y="141"/>
                    <a:pt x="35" y="142"/>
                  </a:cubicBezTo>
                  <a:cubicBezTo>
                    <a:pt x="35" y="143"/>
                    <a:pt x="36" y="145"/>
                    <a:pt x="37" y="146"/>
                  </a:cubicBezTo>
                  <a:cubicBezTo>
                    <a:pt x="37" y="147"/>
                    <a:pt x="37" y="148"/>
                    <a:pt x="37" y="148"/>
                  </a:cubicBezTo>
                  <a:cubicBezTo>
                    <a:pt x="38" y="149"/>
                    <a:pt x="38" y="149"/>
                    <a:pt x="38" y="149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9" y="150"/>
                    <a:pt x="42" y="150"/>
                    <a:pt x="42" y="149"/>
                  </a:cubicBezTo>
                  <a:cubicBezTo>
                    <a:pt x="43" y="149"/>
                    <a:pt x="42" y="149"/>
                    <a:pt x="42" y="148"/>
                  </a:cubicBezTo>
                  <a:cubicBezTo>
                    <a:pt x="42" y="148"/>
                    <a:pt x="42" y="146"/>
                    <a:pt x="41" y="146"/>
                  </a:cubicBezTo>
                  <a:cubicBezTo>
                    <a:pt x="41" y="146"/>
                    <a:pt x="41" y="144"/>
                    <a:pt x="41" y="143"/>
                  </a:cubicBezTo>
                  <a:cubicBezTo>
                    <a:pt x="41" y="143"/>
                    <a:pt x="43" y="142"/>
                    <a:pt x="43" y="142"/>
                  </a:cubicBezTo>
                  <a:cubicBezTo>
                    <a:pt x="43" y="141"/>
                    <a:pt x="43" y="139"/>
                    <a:pt x="43" y="139"/>
                  </a:cubicBezTo>
                  <a:cubicBezTo>
                    <a:pt x="42" y="139"/>
                    <a:pt x="43" y="136"/>
                    <a:pt x="42" y="135"/>
                  </a:cubicBezTo>
                  <a:cubicBezTo>
                    <a:pt x="42" y="134"/>
                    <a:pt x="44" y="133"/>
                    <a:pt x="45" y="132"/>
                  </a:cubicBezTo>
                  <a:cubicBezTo>
                    <a:pt x="45" y="131"/>
                    <a:pt x="47" y="130"/>
                    <a:pt x="48" y="130"/>
                  </a:cubicBezTo>
                  <a:cubicBezTo>
                    <a:pt x="48" y="129"/>
                    <a:pt x="49" y="127"/>
                    <a:pt x="48" y="126"/>
                  </a:cubicBezTo>
                  <a:cubicBezTo>
                    <a:pt x="48" y="126"/>
                    <a:pt x="49" y="125"/>
                    <a:pt x="50" y="125"/>
                  </a:cubicBezTo>
                  <a:cubicBezTo>
                    <a:pt x="50" y="125"/>
                    <a:pt x="51" y="125"/>
                    <a:pt x="51" y="125"/>
                  </a:cubicBezTo>
                  <a:cubicBezTo>
                    <a:pt x="52" y="123"/>
                    <a:pt x="52" y="123"/>
                    <a:pt x="52" y="123"/>
                  </a:cubicBezTo>
                  <a:cubicBezTo>
                    <a:pt x="53" y="123"/>
                    <a:pt x="53" y="120"/>
                    <a:pt x="54" y="120"/>
                  </a:cubicBezTo>
                  <a:cubicBezTo>
                    <a:pt x="55" y="119"/>
                    <a:pt x="55" y="118"/>
                    <a:pt x="55" y="117"/>
                  </a:cubicBezTo>
                  <a:cubicBezTo>
                    <a:pt x="55" y="117"/>
                    <a:pt x="56" y="115"/>
                    <a:pt x="56" y="115"/>
                  </a:cubicBezTo>
                  <a:cubicBezTo>
                    <a:pt x="57" y="115"/>
                    <a:pt x="59" y="113"/>
                    <a:pt x="59" y="113"/>
                  </a:cubicBezTo>
                  <a:cubicBezTo>
                    <a:pt x="60" y="113"/>
                    <a:pt x="60" y="109"/>
                    <a:pt x="60" y="108"/>
                  </a:cubicBezTo>
                  <a:cubicBezTo>
                    <a:pt x="61" y="107"/>
                    <a:pt x="61" y="105"/>
                    <a:pt x="61" y="105"/>
                  </a:cubicBezTo>
                  <a:cubicBezTo>
                    <a:pt x="61" y="104"/>
                    <a:pt x="62" y="104"/>
                    <a:pt x="62" y="104"/>
                  </a:cubicBezTo>
                  <a:cubicBezTo>
                    <a:pt x="62" y="104"/>
                    <a:pt x="63" y="102"/>
                    <a:pt x="63" y="102"/>
                  </a:cubicBezTo>
                  <a:cubicBezTo>
                    <a:pt x="64" y="101"/>
                    <a:pt x="65" y="100"/>
                    <a:pt x="65" y="99"/>
                  </a:cubicBezTo>
                  <a:cubicBezTo>
                    <a:pt x="65" y="99"/>
                    <a:pt x="65" y="98"/>
                    <a:pt x="65" y="97"/>
                  </a:cubicBezTo>
                  <a:cubicBezTo>
                    <a:pt x="65" y="97"/>
                    <a:pt x="65" y="97"/>
                    <a:pt x="65" y="96"/>
                  </a:cubicBezTo>
                  <a:cubicBezTo>
                    <a:pt x="65" y="95"/>
                    <a:pt x="65" y="95"/>
                    <a:pt x="65" y="95"/>
                  </a:cubicBezTo>
                  <a:cubicBezTo>
                    <a:pt x="65" y="94"/>
                    <a:pt x="64" y="92"/>
                    <a:pt x="63" y="93"/>
                  </a:cubicBezTo>
                  <a:cubicBezTo>
                    <a:pt x="63" y="93"/>
                    <a:pt x="62" y="92"/>
                    <a:pt x="61" y="91"/>
                  </a:cubicBezTo>
                  <a:cubicBezTo>
                    <a:pt x="60" y="91"/>
                    <a:pt x="58" y="91"/>
                    <a:pt x="58" y="91"/>
                  </a:cubicBezTo>
                  <a:cubicBezTo>
                    <a:pt x="58" y="91"/>
                    <a:pt x="56" y="90"/>
                    <a:pt x="55" y="89"/>
                  </a:cubicBezTo>
                  <a:cubicBezTo>
                    <a:pt x="55" y="89"/>
                    <a:pt x="53" y="89"/>
                    <a:pt x="52" y="89"/>
                  </a:cubicBezTo>
                  <a:cubicBezTo>
                    <a:pt x="52" y="88"/>
                    <a:pt x="52" y="86"/>
                    <a:pt x="50" y="85"/>
                  </a:cubicBezTo>
                  <a:cubicBezTo>
                    <a:pt x="49" y="84"/>
                    <a:pt x="46" y="82"/>
                    <a:pt x="46" y="81"/>
                  </a:cubicBezTo>
                  <a:cubicBezTo>
                    <a:pt x="46" y="80"/>
                    <a:pt x="43" y="79"/>
                    <a:pt x="42" y="78"/>
                  </a:cubicBezTo>
                  <a:cubicBezTo>
                    <a:pt x="41" y="78"/>
                    <a:pt x="40" y="78"/>
                    <a:pt x="40" y="78"/>
                  </a:cubicBezTo>
                  <a:cubicBezTo>
                    <a:pt x="40" y="78"/>
                    <a:pt x="38" y="77"/>
                    <a:pt x="38" y="76"/>
                  </a:cubicBezTo>
                  <a:cubicBezTo>
                    <a:pt x="37" y="76"/>
                    <a:pt x="36" y="75"/>
                    <a:pt x="36" y="76"/>
                  </a:cubicBezTo>
                  <a:cubicBezTo>
                    <a:pt x="36" y="76"/>
                    <a:pt x="34" y="76"/>
                    <a:pt x="34" y="76"/>
                  </a:cubicBezTo>
                  <a:cubicBezTo>
                    <a:pt x="34" y="75"/>
                    <a:pt x="33" y="76"/>
                    <a:pt x="33" y="76"/>
                  </a:cubicBezTo>
                  <a:cubicBezTo>
                    <a:pt x="32" y="76"/>
                    <a:pt x="31" y="78"/>
                    <a:pt x="30" y="79"/>
                  </a:cubicBezTo>
                  <a:cubicBezTo>
                    <a:pt x="30" y="79"/>
                    <a:pt x="29" y="78"/>
                    <a:pt x="28" y="78"/>
                  </a:cubicBezTo>
                  <a:cubicBezTo>
                    <a:pt x="28" y="78"/>
                    <a:pt x="26" y="78"/>
                    <a:pt x="26" y="79"/>
                  </a:cubicBezTo>
                  <a:cubicBezTo>
                    <a:pt x="26" y="79"/>
                    <a:pt x="25" y="76"/>
                    <a:pt x="25" y="75"/>
                  </a:cubicBezTo>
                  <a:cubicBezTo>
                    <a:pt x="25" y="74"/>
                    <a:pt x="24" y="72"/>
                    <a:pt x="23" y="72"/>
                  </a:cubicBezTo>
                  <a:cubicBezTo>
                    <a:pt x="22" y="72"/>
                    <a:pt x="21" y="69"/>
                    <a:pt x="22" y="68"/>
                  </a:cubicBezTo>
                  <a:cubicBezTo>
                    <a:pt x="22" y="67"/>
                    <a:pt x="20" y="67"/>
                    <a:pt x="19" y="67"/>
                  </a:cubicBezTo>
                  <a:cubicBezTo>
                    <a:pt x="19" y="67"/>
                    <a:pt x="18" y="68"/>
                    <a:pt x="17" y="68"/>
                  </a:cubicBezTo>
                  <a:cubicBezTo>
                    <a:pt x="17" y="69"/>
                    <a:pt x="13" y="68"/>
                    <a:pt x="13" y="65"/>
                  </a:cubicBezTo>
                  <a:cubicBezTo>
                    <a:pt x="14" y="62"/>
                    <a:pt x="16" y="59"/>
                    <a:pt x="16" y="59"/>
                  </a:cubicBezTo>
                  <a:cubicBezTo>
                    <a:pt x="17" y="59"/>
                    <a:pt x="20" y="59"/>
                    <a:pt x="21" y="59"/>
                  </a:cubicBezTo>
                  <a:cubicBezTo>
                    <a:pt x="21" y="59"/>
                    <a:pt x="22" y="59"/>
                    <a:pt x="22" y="59"/>
                  </a:cubicBezTo>
                  <a:cubicBezTo>
                    <a:pt x="22" y="59"/>
                    <a:pt x="24" y="59"/>
                    <a:pt x="25" y="59"/>
                  </a:cubicBezTo>
                  <a:cubicBezTo>
                    <a:pt x="26" y="59"/>
                    <a:pt x="27" y="62"/>
                    <a:pt x="27" y="62"/>
                  </a:cubicBezTo>
                  <a:cubicBezTo>
                    <a:pt x="28" y="63"/>
                    <a:pt x="28" y="61"/>
                    <a:pt x="29" y="60"/>
                  </a:cubicBezTo>
                  <a:cubicBezTo>
                    <a:pt x="29" y="60"/>
                    <a:pt x="28" y="58"/>
                    <a:pt x="28" y="58"/>
                  </a:cubicBezTo>
                  <a:cubicBezTo>
                    <a:pt x="28" y="58"/>
                    <a:pt x="29" y="54"/>
                    <a:pt x="30" y="54"/>
                  </a:cubicBezTo>
                  <a:cubicBezTo>
                    <a:pt x="31" y="53"/>
                    <a:pt x="33" y="51"/>
                    <a:pt x="32" y="51"/>
                  </a:cubicBezTo>
                  <a:cubicBezTo>
                    <a:pt x="34" y="50"/>
                    <a:pt x="34" y="50"/>
                    <a:pt x="34" y="50"/>
                  </a:cubicBezTo>
                  <a:cubicBezTo>
                    <a:pt x="34" y="50"/>
                    <a:pt x="34" y="48"/>
                    <a:pt x="34" y="47"/>
                  </a:cubicBezTo>
                  <a:cubicBezTo>
                    <a:pt x="34" y="46"/>
                    <a:pt x="37" y="45"/>
                    <a:pt x="37" y="45"/>
                  </a:cubicBezTo>
                  <a:cubicBezTo>
                    <a:pt x="38" y="45"/>
                    <a:pt x="38" y="43"/>
                    <a:pt x="38" y="43"/>
                  </a:cubicBezTo>
                  <a:cubicBezTo>
                    <a:pt x="38" y="42"/>
                    <a:pt x="40" y="41"/>
                    <a:pt x="41" y="40"/>
                  </a:cubicBezTo>
                  <a:cubicBezTo>
                    <a:pt x="42" y="40"/>
                    <a:pt x="43" y="41"/>
                    <a:pt x="42" y="41"/>
                  </a:cubicBezTo>
                  <a:cubicBezTo>
                    <a:pt x="43" y="41"/>
                    <a:pt x="44" y="40"/>
                    <a:pt x="45" y="40"/>
                  </a:cubicBezTo>
                  <a:cubicBezTo>
                    <a:pt x="45" y="39"/>
                    <a:pt x="45" y="38"/>
                    <a:pt x="44" y="38"/>
                  </a:cubicBezTo>
                  <a:cubicBezTo>
                    <a:pt x="44" y="37"/>
                    <a:pt x="44" y="36"/>
                    <a:pt x="44" y="36"/>
                  </a:cubicBezTo>
                  <a:cubicBezTo>
                    <a:pt x="45" y="36"/>
                    <a:pt x="45" y="35"/>
                    <a:pt x="45" y="34"/>
                  </a:cubicBezTo>
                  <a:cubicBezTo>
                    <a:pt x="45" y="34"/>
                    <a:pt x="48" y="34"/>
                    <a:pt x="48" y="34"/>
                  </a:cubicBezTo>
                  <a:cubicBezTo>
                    <a:pt x="49" y="33"/>
                    <a:pt x="49" y="35"/>
                    <a:pt x="48" y="36"/>
                  </a:cubicBezTo>
                  <a:cubicBezTo>
                    <a:pt x="47" y="37"/>
                    <a:pt x="49" y="38"/>
                    <a:pt x="49" y="38"/>
                  </a:cubicBezTo>
                  <a:cubicBezTo>
                    <a:pt x="49" y="38"/>
                    <a:pt x="50" y="38"/>
                    <a:pt x="50" y="39"/>
                  </a:cubicBezTo>
                  <a:cubicBezTo>
                    <a:pt x="50" y="39"/>
                    <a:pt x="51" y="38"/>
                    <a:pt x="51" y="39"/>
                  </a:cubicBezTo>
                  <a:cubicBezTo>
                    <a:pt x="52" y="39"/>
                    <a:pt x="52" y="38"/>
                    <a:pt x="52" y="37"/>
                  </a:cubicBezTo>
                  <a:cubicBezTo>
                    <a:pt x="53" y="37"/>
                    <a:pt x="51" y="36"/>
                    <a:pt x="51" y="35"/>
                  </a:cubicBezTo>
                  <a:cubicBezTo>
                    <a:pt x="51" y="35"/>
                    <a:pt x="50" y="31"/>
                    <a:pt x="50" y="30"/>
                  </a:cubicBezTo>
                  <a:cubicBezTo>
                    <a:pt x="50" y="30"/>
                    <a:pt x="49" y="29"/>
                    <a:pt x="49" y="29"/>
                  </a:cubicBezTo>
                  <a:cubicBezTo>
                    <a:pt x="49" y="29"/>
                    <a:pt x="48" y="27"/>
                    <a:pt x="48" y="27"/>
                  </a:cubicBezTo>
                  <a:cubicBezTo>
                    <a:pt x="47" y="26"/>
                    <a:pt x="47" y="25"/>
                    <a:pt x="47" y="25"/>
                  </a:cubicBezTo>
                  <a:cubicBezTo>
                    <a:pt x="47" y="25"/>
                    <a:pt x="46" y="23"/>
                    <a:pt x="45" y="22"/>
                  </a:cubicBezTo>
                  <a:cubicBezTo>
                    <a:pt x="45" y="21"/>
                    <a:pt x="44" y="21"/>
                    <a:pt x="44" y="22"/>
                  </a:cubicBezTo>
                  <a:cubicBezTo>
                    <a:pt x="44" y="22"/>
                    <a:pt x="43" y="22"/>
                    <a:pt x="42" y="22"/>
                  </a:cubicBezTo>
                  <a:cubicBezTo>
                    <a:pt x="42" y="22"/>
                    <a:pt x="42" y="20"/>
                    <a:pt x="42" y="19"/>
                  </a:cubicBezTo>
                  <a:cubicBezTo>
                    <a:pt x="42" y="19"/>
                    <a:pt x="39" y="19"/>
                    <a:pt x="39" y="18"/>
                  </a:cubicBezTo>
                  <a:cubicBezTo>
                    <a:pt x="39" y="17"/>
                    <a:pt x="37" y="18"/>
                    <a:pt x="37" y="17"/>
                  </a:cubicBezTo>
                  <a:cubicBezTo>
                    <a:pt x="37" y="17"/>
                    <a:pt x="36" y="17"/>
                    <a:pt x="35" y="17"/>
                  </a:cubicBezTo>
                  <a:cubicBezTo>
                    <a:pt x="35" y="17"/>
                    <a:pt x="35" y="22"/>
                    <a:pt x="35" y="23"/>
                  </a:cubicBezTo>
                  <a:cubicBezTo>
                    <a:pt x="35" y="25"/>
                    <a:pt x="34" y="26"/>
                    <a:pt x="33" y="26"/>
                  </a:cubicBezTo>
                  <a:cubicBezTo>
                    <a:pt x="33" y="26"/>
                    <a:pt x="33" y="27"/>
                    <a:pt x="33" y="27"/>
                  </a:cubicBezTo>
                  <a:cubicBezTo>
                    <a:pt x="33" y="27"/>
                    <a:pt x="32" y="28"/>
                    <a:pt x="32" y="29"/>
                  </a:cubicBezTo>
                  <a:cubicBezTo>
                    <a:pt x="32" y="30"/>
                    <a:pt x="31" y="29"/>
                    <a:pt x="31" y="28"/>
                  </a:cubicBezTo>
                  <a:cubicBezTo>
                    <a:pt x="31" y="27"/>
                    <a:pt x="30" y="26"/>
                    <a:pt x="29" y="26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8" y="26"/>
                    <a:pt x="26" y="25"/>
                    <a:pt x="25" y="25"/>
                  </a:cubicBezTo>
                  <a:cubicBezTo>
                    <a:pt x="24" y="24"/>
                    <a:pt x="24" y="22"/>
                    <a:pt x="24" y="22"/>
                  </a:cubicBezTo>
                  <a:cubicBezTo>
                    <a:pt x="23" y="21"/>
                    <a:pt x="24" y="21"/>
                    <a:pt x="23" y="21"/>
                  </a:cubicBezTo>
                  <a:cubicBezTo>
                    <a:pt x="23" y="20"/>
                    <a:pt x="25" y="19"/>
                    <a:pt x="25" y="18"/>
                  </a:cubicBezTo>
                  <a:cubicBezTo>
                    <a:pt x="26" y="18"/>
                    <a:pt x="28" y="16"/>
                    <a:pt x="28" y="15"/>
                  </a:cubicBezTo>
                  <a:cubicBezTo>
                    <a:pt x="29" y="15"/>
                    <a:pt x="29" y="13"/>
                    <a:pt x="29" y="13"/>
                  </a:cubicBezTo>
                  <a:cubicBezTo>
                    <a:pt x="29" y="13"/>
                    <a:pt x="32" y="12"/>
                    <a:pt x="33" y="12"/>
                  </a:cubicBezTo>
                  <a:cubicBezTo>
                    <a:pt x="34" y="12"/>
                    <a:pt x="34" y="9"/>
                    <a:pt x="35" y="9"/>
                  </a:cubicBezTo>
                  <a:cubicBezTo>
                    <a:pt x="35" y="8"/>
                    <a:pt x="34" y="7"/>
                    <a:pt x="34" y="7"/>
                  </a:cubicBezTo>
                  <a:cubicBezTo>
                    <a:pt x="33" y="6"/>
                    <a:pt x="35" y="6"/>
                    <a:pt x="35" y="7"/>
                  </a:cubicBezTo>
                  <a:cubicBezTo>
                    <a:pt x="36" y="7"/>
                    <a:pt x="37" y="6"/>
                    <a:pt x="38" y="7"/>
                  </a:cubicBezTo>
                  <a:cubicBezTo>
                    <a:pt x="39" y="7"/>
                    <a:pt x="40" y="8"/>
                    <a:pt x="41" y="8"/>
                  </a:cubicBezTo>
                  <a:cubicBezTo>
                    <a:pt x="41" y="8"/>
                    <a:pt x="41" y="8"/>
                    <a:pt x="40" y="1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8" y="14"/>
                    <a:pt x="37" y="15"/>
                    <a:pt x="38" y="15"/>
                  </a:cubicBezTo>
                  <a:cubicBezTo>
                    <a:pt x="39" y="15"/>
                    <a:pt x="42" y="17"/>
                    <a:pt x="44" y="18"/>
                  </a:cubicBezTo>
                  <a:cubicBezTo>
                    <a:pt x="45" y="18"/>
                    <a:pt x="45" y="16"/>
                    <a:pt x="45" y="16"/>
                  </a:cubicBezTo>
                  <a:cubicBezTo>
                    <a:pt x="46" y="15"/>
                    <a:pt x="45" y="13"/>
                    <a:pt x="45" y="13"/>
                  </a:cubicBezTo>
                  <a:cubicBezTo>
                    <a:pt x="45" y="13"/>
                    <a:pt x="46" y="13"/>
                    <a:pt x="47" y="13"/>
                  </a:cubicBezTo>
                  <a:cubicBezTo>
                    <a:pt x="47" y="14"/>
                    <a:pt x="48" y="13"/>
                    <a:pt x="48" y="13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0"/>
                    <a:pt x="48" y="10"/>
                    <a:pt x="48" y="10"/>
                  </a:cubicBezTo>
                  <a:cubicBezTo>
                    <a:pt x="48" y="9"/>
                    <a:pt x="46" y="9"/>
                    <a:pt x="46" y="8"/>
                  </a:cubicBezTo>
                  <a:cubicBezTo>
                    <a:pt x="45" y="8"/>
                    <a:pt x="45" y="7"/>
                    <a:pt x="45" y="7"/>
                  </a:cubicBezTo>
                  <a:cubicBezTo>
                    <a:pt x="46" y="7"/>
                    <a:pt x="45" y="5"/>
                    <a:pt x="45" y="5"/>
                  </a:cubicBezTo>
                  <a:cubicBezTo>
                    <a:pt x="45" y="4"/>
                    <a:pt x="43" y="4"/>
                    <a:pt x="42" y="4"/>
                  </a:cubicBezTo>
                  <a:cubicBezTo>
                    <a:pt x="42" y="4"/>
                    <a:pt x="41" y="2"/>
                    <a:pt x="41" y="2"/>
                  </a:cubicBezTo>
                  <a:cubicBezTo>
                    <a:pt x="40" y="2"/>
                    <a:pt x="38" y="2"/>
                    <a:pt x="38" y="2"/>
                  </a:cubicBezTo>
                  <a:cubicBezTo>
                    <a:pt x="37" y="2"/>
                    <a:pt x="36" y="0"/>
                    <a:pt x="35" y="1"/>
                  </a:cubicBezTo>
                  <a:cubicBezTo>
                    <a:pt x="34" y="1"/>
                    <a:pt x="33" y="0"/>
                    <a:pt x="33" y="0"/>
                  </a:cubicBezTo>
                  <a:cubicBezTo>
                    <a:pt x="32" y="0"/>
                    <a:pt x="30" y="2"/>
                    <a:pt x="30" y="4"/>
                  </a:cubicBezTo>
                  <a:cubicBezTo>
                    <a:pt x="30" y="5"/>
                    <a:pt x="31" y="7"/>
                    <a:pt x="31" y="7"/>
                  </a:cubicBezTo>
                  <a:cubicBezTo>
                    <a:pt x="32" y="7"/>
                    <a:pt x="31" y="9"/>
                    <a:pt x="31" y="9"/>
                  </a:cubicBezTo>
                  <a:cubicBezTo>
                    <a:pt x="31" y="9"/>
                    <a:pt x="30" y="9"/>
                    <a:pt x="30" y="8"/>
                  </a:cubicBezTo>
                  <a:cubicBezTo>
                    <a:pt x="30" y="8"/>
                    <a:pt x="29" y="6"/>
                    <a:pt x="29" y="5"/>
                  </a:cubicBezTo>
                  <a:cubicBezTo>
                    <a:pt x="28" y="5"/>
                    <a:pt x="27" y="4"/>
                    <a:pt x="26" y="4"/>
                  </a:cubicBezTo>
                  <a:cubicBezTo>
                    <a:pt x="26" y="5"/>
                    <a:pt x="25" y="5"/>
                    <a:pt x="25" y="6"/>
                  </a:cubicBezTo>
                  <a:cubicBezTo>
                    <a:pt x="25" y="6"/>
                    <a:pt x="25" y="7"/>
                    <a:pt x="25" y="8"/>
                  </a:cubicBezTo>
                  <a:cubicBezTo>
                    <a:pt x="25" y="9"/>
                    <a:pt x="24" y="9"/>
                    <a:pt x="24" y="8"/>
                  </a:cubicBezTo>
                  <a:cubicBezTo>
                    <a:pt x="24" y="8"/>
                    <a:pt x="23" y="8"/>
                    <a:pt x="23" y="8"/>
                  </a:cubicBezTo>
                  <a:cubicBezTo>
                    <a:pt x="11" y="23"/>
                    <a:pt x="2" y="41"/>
                    <a:pt x="0" y="61"/>
                  </a:cubicBezTo>
                  <a:cubicBezTo>
                    <a:pt x="1" y="61"/>
                    <a:pt x="1" y="62"/>
                    <a:pt x="1" y="63"/>
                  </a:cubicBezTo>
                  <a:cubicBezTo>
                    <a:pt x="2" y="64"/>
                    <a:pt x="3" y="64"/>
                    <a:pt x="3" y="64"/>
                  </a:cubicBezTo>
                  <a:cubicBezTo>
                    <a:pt x="4" y="64"/>
                    <a:pt x="4" y="63"/>
                    <a:pt x="4" y="62"/>
                  </a:cubicBezTo>
                  <a:cubicBezTo>
                    <a:pt x="3" y="62"/>
                    <a:pt x="4" y="61"/>
                    <a:pt x="4" y="62"/>
                  </a:cubicBezTo>
                  <a:cubicBezTo>
                    <a:pt x="4" y="62"/>
                    <a:pt x="5" y="64"/>
                    <a:pt x="6" y="64"/>
                  </a:cubicBezTo>
                  <a:cubicBezTo>
                    <a:pt x="6" y="65"/>
                    <a:pt x="7" y="69"/>
                    <a:pt x="7" y="70"/>
                  </a:cubicBezTo>
                  <a:cubicBezTo>
                    <a:pt x="8" y="70"/>
                    <a:pt x="12" y="72"/>
                    <a:pt x="14" y="72"/>
                  </a:cubicBezTo>
                  <a:cubicBezTo>
                    <a:pt x="15" y="73"/>
                    <a:pt x="17" y="74"/>
                    <a:pt x="17" y="75"/>
                  </a:cubicBezTo>
                  <a:cubicBezTo>
                    <a:pt x="18" y="75"/>
                    <a:pt x="19" y="76"/>
                    <a:pt x="20" y="76"/>
                  </a:cubicBezTo>
                  <a:cubicBezTo>
                    <a:pt x="20" y="76"/>
                    <a:pt x="21" y="77"/>
                    <a:pt x="22" y="77"/>
                  </a:cubicBezTo>
                  <a:cubicBezTo>
                    <a:pt x="22" y="78"/>
                    <a:pt x="22" y="78"/>
                    <a:pt x="22" y="79"/>
                  </a:cubicBezTo>
                  <a:cubicBezTo>
                    <a:pt x="22" y="79"/>
                    <a:pt x="25" y="80"/>
                    <a:pt x="26" y="81"/>
                  </a:cubicBezTo>
                  <a:cubicBezTo>
                    <a:pt x="26" y="81"/>
                    <a:pt x="27" y="81"/>
                    <a:pt x="27" y="81"/>
                  </a:cubicBezTo>
                  <a:cubicBezTo>
                    <a:pt x="28" y="80"/>
                    <a:pt x="28" y="82"/>
                    <a:pt x="28" y="83"/>
                  </a:cubicBezTo>
                  <a:cubicBezTo>
                    <a:pt x="29" y="83"/>
                    <a:pt x="29" y="85"/>
                    <a:pt x="28" y="85"/>
                  </a:cubicBezTo>
                  <a:cubicBezTo>
                    <a:pt x="28" y="85"/>
                    <a:pt x="28" y="88"/>
                    <a:pt x="27" y="88"/>
                  </a:cubicBezTo>
                  <a:cubicBezTo>
                    <a:pt x="27" y="89"/>
                    <a:pt x="26" y="92"/>
                    <a:pt x="26" y="93"/>
                  </a:cubicBezTo>
                  <a:cubicBezTo>
                    <a:pt x="27" y="94"/>
                    <a:pt x="28" y="95"/>
                    <a:pt x="28" y="95"/>
                  </a:cubicBezTo>
                  <a:cubicBezTo>
                    <a:pt x="29" y="96"/>
                    <a:pt x="29" y="96"/>
                    <a:pt x="28" y="97"/>
                  </a:cubicBezTo>
                  <a:cubicBezTo>
                    <a:pt x="28" y="97"/>
                    <a:pt x="28" y="100"/>
                    <a:pt x="29" y="101"/>
                  </a:cubicBezTo>
                  <a:cubicBezTo>
                    <a:pt x="30" y="101"/>
                    <a:pt x="31" y="103"/>
                    <a:pt x="30" y="103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151" name="任意多边形: 形状 150">
              <a:extLst>
                <a:ext uri="{FF2B5EF4-FFF2-40B4-BE49-F238E27FC236}">
                  <a16:creationId xmlns:a16="http://schemas.microsoft.com/office/drawing/2014/main" id="{679B3B7C-FE39-4843-9C1B-89EB5BBADDC1}"/>
                </a:ext>
              </a:extLst>
            </p:cNvPr>
            <p:cNvSpPr/>
            <p:nvPr/>
          </p:nvSpPr>
          <p:spPr bwMode="auto">
            <a:xfrm>
              <a:off x="10099093" y="229628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52" name="任意多边形: 形状 151">
              <a:extLst>
                <a:ext uri="{FF2B5EF4-FFF2-40B4-BE49-F238E27FC236}">
                  <a16:creationId xmlns:a16="http://schemas.microsoft.com/office/drawing/2014/main" id="{9A98E780-A97F-4AB3-B23B-91AB051779EB}"/>
                </a:ext>
              </a:extLst>
            </p:cNvPr>
            <p:cNvSpPr/>
            <p:nvPr/>
          </p:nvSpPr>
          <p:spPr bwMode="auto">
            <a:xfrm>
              <a:off x="10060882" y="2080191"/>
              <a:ext cx="79058" cy="56658"/>
            </a:xfrm>
            <a:custGeom>
              <a:avLst/>
              <a:gdLst>
                <a:gd name="T0" fmla="*/ 3 w 21"/>
                <a:gd name="T1" fmla="*/ 14 h 15"/>
                <a:gd name="T2" fmla="*/ 7 w 21"/>
                <a:gd name="T3" fmla="*/ 13 h 15"/>
                <a:gd name="T4" fmla="*/ 7 w 21"/>
                <a:gd name="T5" fmla="*/ 12 h 15"/>
                <a:gd name="T6" fmla="*/ 7 w 21"/>
                <a:gd name="T7" fmla="*/ 12 h 15"/>
                <a:gd name="T8" fmla="*/ 9 w 21"/>
                <a:gd name="T9" fmla="*/ 9 h 15"/>
                <a:gd name="T10" fmla="*/ 13 w 21"/>
                <a:gd name="T11" fmla="*/ 7 h 15"/>
                <a:gd name="T12" fmla="*/ 16 w 21"/>
                <a:gd name="T13" fmla="*/ 5 h 15"/>
                <a:gd name="T14" fmla="*/ 17 w 21"/>
                <a:gd name="T15" fmla="*/ 3 h 15"/>
                <a:gd name="T16" fmla="*/ 19 w 21"/>
                <a:gd name="T17" fmla="*/ 2 h 15"/>
                <a:gd name="T18" fmla="*/ 20 w 21"/>
                <a:gd name="T19" fmla="*/ 0 h 15"/>
                <a:gd name="T20" fmla="*/ 12 w 21"/>
                <a:gd name="T21" fmla="*/ 5 h 15"/>
                <a:gd name="T22" fmla="*/ 0 w 21"/>
                <a:gd name="T23" fmla="*/ 15 h 15"/>
                <a:gd name="T24" fmla="*/ 3 w 21"/>
                <a:gd name="T2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15">
                  <a:moveTo>
                    <a:pt x="3" y="14"/>
                  </a:moveTo>
                  <a:cubicBezTo>
                    <a:pt x="5" y="14"/>
                    <a:pt x="7" y="14"/>
                    <a:pt x="7" y="1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8" y="12"/>
                    <a:pt x="9" y="10"/>
                    <a:pt x="9" y="9"/>
                  </a:cubicBezTo>
                  <a:cubicBezTo>
                    <a:pt x="10" y="8"/>
                    <a:pt x="12" y="7"/>
                    <a:pt x="13" y="7"/>
                  </a:cubicBezTo>
                  <a:cubicBezTo>
                    <a:pt x="14" y="7"/>
                    <a:pt x="15" y="5"/>
                    <a:pt x="16" y="5"/>
                  </a:cubicBezTo>
                  <a:cubicBezTo>
                    <a:pt x="16" y="5"/>
                    <a:pt x="17" y="4"/>
                    <a:pt x="17" y="3"/>
                  </a:cubicBezTo>
                  <a:cubicBezTo>
                    <a:pt x="17" y="3"/>
                    <a:pt x="19" y="2"/>
                    <a:pt x="19" y="2"/>
                  </a:cubicBezTo>
                  <a:cubicBezTo>
                    <a:pt x="20" y="1"/>
                    <a:pt x="21" y="0"/>
                    <a:pt x="20" y="0"/>
                  </a:cubicBezTo>
                  <a:cubicBezTo>
                    <a:pt x="20" y="0"/>
                    <a:pt x="16" y="3"/>
                    <a:pt x="12" y="5"/>
                  </a:cubicBezTo>
                  <a:cubicBezTo>
                    <a:pt x="8" y="8"/>
                    <a:pt x="3" y="11"/>
                    <a:pt x="0" y="15"/>
                  </a:cubicBezTo>
                  <a:cubicBezTo>
                    <a:pt x="1" y="15"/>
                    <a:pt x="3" y="14"/>
                    <a:pt x="3" y="14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53" name="任意多边形: 形状 152">
              <a:extLst>
                <a:ext uri="{FF2B5EF4-FFF2-40B4-BE49-F238E27FC236}">
                  <a16:creationId xmlns:a16="http://schemas.microsoft.com/office/drawing/2014/main" id="{63FB8E49-EE3F-409A-90D6-04B3C886C94A}"/>
                </a:ext>
              </a:extLst>
            </p:cNvPr>
            <p:cNvSpPr/>
            <p:nvPr/>
          </p:nvSpPr>
          <p:spPr bwMode="auto">
            <a:xfrm>
              <a:off x="10220316" y="2118403"/>
              <a:ext cx="463808" cy="494114"/>
            </a:xfrm>
            <a:custGeom>
              <a:avLst/>
              <a:gdLst>
                <a:gd name="T0" fmla="*/ 42 w 123"/>
                <a:gd name="T1" fmla="*/ 121 h 131"/>
                <a:gd name="T2" fmla="*/ 51 w 123"/>
                <a:gd name="T3" fmla="*/ 95 h 131"/>
                <a:gd name="T4" fmla="*/ 51 w 123"/>
                <a:gd name="T5" fmla="*/ 83 h 131"/>
                <a:gd name="T6" fmla="*/ 43 w 123"/>
                <a:gd name="T7" fmla="*/ 69 h 131"/>
                <a:gd name="T8" fmla="*/ 56 w 123"/>
                <a:gd name="T9" fmla="*/ 80 h 131"/>
                <a:gd name="T10" fmla="*/ 62 w 123"/>
                <a:gd name="T11" fmla="*/ 70 h 131"/>
                <a:gd name="T12" fmla="*/ 56 w 123"/>
                <a:gd name="T13" fmla="*/ 64 h 131"/>
                <a:gd name="T14" fmla="*/ 66 w 123"/>
                <a:gd name="T15" fmla="*/ 70 h 131"/>
                <a:gd name="T16" fmla="*/ 72 w 123"/>
                <a:gd name="T17" fmla="*/ 73 h 131"/>
                <a:gd name="T18" fmla="*/ 77 w 123"/>
                <a:gd name="T19" fmla="*/ 85 h 131"/>
                <a:gd name="T20" fmla="*/ 83 w 123"/>
                <a:gd name="T21" fmla="*/ 78 h 131"/>
                <a:gd name="T22" fmla="*/ 91 w 123"/>
                <a:gd name="T23" fmla="*/ 75 h 131"/>
                <a:gd name="T24" fmla="*/ 96 w 123"/>
                <a:gd name="T25" fmla="*/ 83 h 131"/>
                <a:gd name="T26" fmla="*/ 101 w 123"/>
                <a:gd name="T27" fmla="*/ 89 h 131"/>
                <a:gd name="T28" fmla="*/ 101 w 123"/>
                <a:gd name="T29" fmla="*/ 85 h 131"/>
                <a:gd name="T30" fmla="*/ 107 w 123"/>
                <a:gd name="T31" fmla="*/ 73 h 131"/>
                <a:gd name="T32" fmla="*/ 113 w 123"/>
                <a:gd name="T33" fmla="*/ 61 h 131"/>
                <a:gd name="T34" fmla="*/ 114 w 123"/>
                <a:gd name="T35" fmla="*/ 54 h 131"/>
                <a:gd name="T36" fmla="*/ 121 w 123"/>
                <a:gd name="T37" fmla="*/ 49 h 131"/>
                <a:gd name="T38" fmla="*/ 97 w 123"/>
                <a:gd name="T39" fmla="*/ 6 h 131"/>
                <a:gd name="T40" fmla="*/ 90 w 123"/>
                <a:gd name="T41" fmla="*/ 1 h 131"/>
                <a:gd name="T42" fmla="*/ 82 w 123"/>
                <a:gd name="T43" fmla="*/ 3 h 131"/>
                <a:gd name="T44" fmla="*/ 73 w 123"/>
                <a:gd name="T45" fmla="*/ 7 h 131"/>
                <a:gd name="T46" fmla="*/ 69 w 123"/>
                <a:gd name="T47" fmla="*/ 9 h 131"/>
                <a:gd name="T48" fmla="*/ 58 w 123"/>
                <a:gd name="T49" fmla="*/ 12 h 131"/>
                <a:gd name="T50" fmla="*/ 49 w 123"/>
                <a:gd name="T51" fmla="*/ 15 h 131"/>
                <a:gd name="T52" fmla="*/ 38 w 123"/>
                <a:gd name="T53" fmla="*/ 12 h 131"/>
                <a:gd name="T54" fmla="*/ 29 w 123"/>
                <a:gd name="T55" fmla="*/ 12 h 131"/>
                <a:gd name="T56" fmla="*/ 21 w 123"/>
                <a:gd name="T57" fmla="*/ 21 h 131"/>
                <a:gd name="T58" fmla="*/ 20 w 123"/>
                <a:gd name="T59" fmla="*/ 33 h 131"/>
                <a:gd name="T60" fmla="*/ 15 w 123"/>
                <a:gd name="T61" fmla="*/ 38 h 131"/>
                <a:gd name="T62" fmla="*/ 12 w 123"/>
                <a:gd name="T63" fmla="*/ 29 h 131"/>
                <a:gd name="T64" fmla="*/ 11 w 123"/>
                <a:gd name="T65" fmla="*/ 34 h 131"/>
                <a:gd name="T66" fmla="*/ 12 w 123"/>
                <a:gd name="T67" fmla="*/ 39 h 131"/>
                <a:gd name="T68" fmla="*/ 11 w 123"/>
                <a:gd name="T69" fmla="*/ 44 h 131"/>
                <a:gd name="T70" fmla="*/ 6 w 123"/>
                <a:gd name="T71" fmla="*/ 51 h 131"/>
                <a:gd name="T72" fmla="*/ 14 w 123"/>
                <a:gd name="T73" fmla="*/ 53 h 131"/>
                <a:gd name="T74" fmla="*/ 23 w 123"/>
                <a:gd name="T75" fmla="*/ 51 h 131"/>
                <a:gd name="T76" fmla="*/ 26 w 123"/>
                <a:gd name="T77" fmla="*/ 55 h 131"/>
                <a:gd name="T78" fmla="*/ 27 w 123"/>
                <a:gd name="T79" fmla="*/ 48 h 131"/>
                <a:gd name="T80" fmla="*/ 30 w 123"/>
                <a:gd name="T81" fmla="*/ 53 h 131"/>
                <a:gd name="T82" fmla="*/ 34 w 123"/>
                <a:gd name="T83" fmla="*/ 58 h 131"/>
                <a:gd name="T84" fmla="*/ 34 w 123"/>
                <a:gd name="T85" fmla="*/ 54 h 131"/>
                <a:gd name="T86" fmla="*/ 41 w 123"/>
                <a:gd name="T87" fmla="*/ 58 h 131"/>
                <a:gd name="T88" fmla="*/ 35 w 123"/>
                <a:gd name="T89" fmla="*/ 61 h 131"/>
                <a:gd name="T90" fmla="*/ 23 w 123"/>
                <a:gd name="T91" fmla="*/ 56 h 131"/>
                <a:gd name="T92" fmla="*/ 7 w 123"/>
                <a:gd name="T93" fmla="*/ 59 h 131"/>
                <a:gd name="T94" fmla="*/ 1 w 123"/>
                <a:gd name="T95" fmla="*/ 72 h 131"/>
                <a:gd name="T96" fmla="*/ 11 w 123"/>
                <a:gd name="T97" fmla="*/ 91 h 131"/>
                <a:gd name="T98" fmla="*/ 18 w 123"/>
                <a:gd name="T99" fmla="*/ 91 h 131"/>
                <a:gd name="T100" fmla="*/ 24 w 123"/>
                <a:gd name="T101" fmla="*/ 107 h 131"/>
                <a:gd name="T102" fmla="*/ 28 w 123"/>
                <a:gd name="T103" fmla="*/ 13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23" h="131">
                  <a:moveTo>
                    <a:pt x="35" y="131"/>
                  </a:moveTo>
                  <a:cubicBezTo>
                    <a:pt x="36" y="130"/>
                    <a:pt x="38" y="127"/>
                    <a:pt x="39" y="126"/>
                  </a:cubicBezTo>
                  <a:cubicBezTo>
                    <a:pt x="40" y="125"/>
                    <a:pt x="40" y="123"/>
                    <a:pt x="41" y="122"/>
                  </a:cubicBezTo>
                  <a:cubicBezTo>
                    <a:pt x="41" y="122"/>
                    <a:pt x="42" y="121"/>
                    <a:pt x="42" y="121"/>
                  </a:cubicBezTo>
                  <a:cubicBezTo>
                    <a:pt x="43" y="121"/>
                    <a:pt x="44" y="115"/>
                    <a:pt x="45" y="114"/>
                  </a:cubicBezTo>
                  <a:cubicBezTo>
                    <a:pt x="46" y="113"/>
                    <a:pt x="48" y="107"/>
                    <a:pt x="47" y="105"/>
                  </a:cubicBezTo>
                  <a:cubicBezTo>
                    <a:pt x="47" y="103"/>
                    <a:pt x="48" y="99"/>
                    <a:pt x="48" y="98"/>
                  </a:cubicBezTo>
                  <a:cubicBezTo>
                    <a:pt x="49" y="97"/>
                    <a:pt x="50" y="95"/>
                    <a:pt x="51" y="95"/>
                  </a:cubicBezTo>
                  <a:cubicBezTo>
                    <a:pt x="51" y="95"/>
                    <a:pt x="54" y="90"/>
                    <a:pt x="55" y="89"/>
                  </a:cubicBezTo>
                  <a:cubicBezTo>
                    <a:pt x="56" y="87"/>
                    <a:pt x="57" y="84"/>
                    <a:pt x="56" y="83"/>
                  </a:cubicBezTo>
                  <a:cubicBezTo>
                    <a:pt x="56" y="83"/>
                    <a:pt x="54" y="82"/>
                    <a:pt x="54" y="83"/>
                  </a:cubicBezTo>
                  <a:cubicBezTo>
                    <a:pt x="53" y="83"/>
                    <a:pt x="52" y="83"/>
                    <a:pt x="51" y="83"/>
                  </a:cubicBezTo>
                  <a:cubicBezTo>
                    <a:pt x="50" y="83"/>
                    <a:pt x="49" y="80"/>
                    <a:pt x="48" y="79"/>
                  </a:cubicBezTo>
                  <a:cubicBezTo>
                    <a:pt x="47" y="79"/>
                    <a:pt x="47" y="75"/>
                    <a:pt x="46" y="75"/>
                  </a:cubicBezTo>
                  <a:cubicBezTo>
                    <a:pt x="46" y="74"/>
                    <a:pt x="44" y="72"/>
                    <a:pt x="44" y="72"/>
                  </a:cubicBezTo>
                  <a:cubicBezTo>
                    <a:pt x="44" y="71"/>
                    <a:pt x="44" y="69"/>
                    <a:pt x="43" y="69"/>
                  </a:cubicBezTo>
                  <a:cubicBezTo>
                    <a:pt x="43" y="68"/>
                    <a:pt x="44" y="69"/>
                    <a:pt x="44" y="70"/>
                  </a:cubicBezTo>
                  <a:cubicBezTo>
                    <a:pt x="45" y="71"/>
                    <a:pt x="47" y="74"/>
                    <a:pt x="47" y="75"/>
                  </a:cubicBezTo>
                  <a:cubicBezTo>
                    <a:pt x="48" y="76"/>
                    <a:pt x="50" y="79"/>
                    <a:pt x="50" y="80"/>
                  </a:cubicBezTo>
                  <a:cubicBezTo>
                    <a:pt x="51" y="81"/>
                    <a:pt x="55" y="81"/>
                    <a:pt x="56" y="80"/>
                  </a:cubicBezTo>
                  <a:cubicBezTo>
                    <a:pt x="57" y="79"/>
                    <a:pt x="59" y="78"/>
                    <a:pt x="59" y="78"/>
                  </a:cubicBezTo>
                  <a:cubicBezTo>
                    <a:pt x="59" y="78"/>
                    <a:pt x="61" y="77"/>
                    <a:pt x="61" y="76"/>
                  </a:cubicBezTo>
                  <a:cubicBezTo>
                    <a:pt x="62" y="76"/>
                    <a:pt x="62" y="74"/>
                    <a:pt x="63" y="73"/>
                  </a:cubicBezTo>
                  <a:cubicBezTo>
                    <a:pt x="63" y="73"/>
                    <a:pt x="63" y="71"/>
                    <a:pt x="62" y="70"/>
                  </a:cubicBezTo>
                  <a:cubicBezTo>
                    <a:pt x="62" y="69"/>
                    <a:pt x="60" y="69"/>
                    <a:pt x="59" y="69"/>
                  </a:cubicBezTo>
                  <a:cubicBezTo>
                    <a:pt x="59" y="69"/>
                    <a:pt x="58" y="67"/>
                    <a:pt x="58" y="67"/>
                  </a:cubicBezTo>
                  <a:cubicBezTo>
                    <a:pt x="57" y="66"/>
                    <a:pt x="56" y="65"/>
                    <a:pt x="56" y="65"/>
                  </a:cubicBezTo>
                  <a:cubicBezTo>
                    <a:pt x="55" y="65"/>
                    <a:pt x="56" y="64"/>
                    <a:pt x="56" y="64"/>
                  </a:cubicBezTo>
                  <a:cubicBezTo>
                    <a:pt x="57" y="64"/>
                    <a:pt x="59" y="66"/>
                    <a:pt x="60" y="67"/>
                  </a:cubicBezTo>
                  <a:cubicBezTo>
                    <a:pt x="61" y="68"/>
                    <a:pt x="62" y="69"/>
                    <a:pt x="62" y="70"/>
                  </a:cubicBezTo>
                  <a:cubicBezTo>
                    <a:pt x="62" y="70"/>
                    <a:pt x="65" y="70"/>
                    <a:pt x="65" y="70"/>
                  </a:cubicBezTo>
                  <a:cubicBezTo>
                    <a:pt x="66" y="69"/>
                    <a:pt x="66" y="69"/>
                    <a:pt x="66" y="70"/>
                  </a:cubicBezTo>
                  <a:cubicBezTo>
                    <a:pt x="66" y="70"/>
                    <a:pt x="66" y="70"/>
                    <a:pt x="67" y="70"/>
                  </a:cubicBezTo>
                  <a:cubicBezTo>
                    <a:pt x="70" y="69"/>
                    <a:pt x="70" y="69"/>
                    <a:pt x="70" y="69"/>
                  </a:cubicBezTo>
                  <a:cubicBezTo>
                    <a:pt x="71" y="71"/>
                    <a:pt x="71" y="72"/>
                    <a:pt x="71" y="72"/>
                  </a:cubicBezTo>
                  <a:cubicBezTo>
                    <a:pt x="71" y="72"/>
                    <a:pt x="72" y="73"/>
                    <a:pt x="72" y="73"/>
                  </a:cubicBezTo>
                  <a:cubicBezTo>
                    <a:pt x="73" y="74"/>
                    <a:pt x="73" y="75"/>
                    <a:pt x="73" y="76"/>
                  </a:cubicBezTo>
                  <a:cubicBezTo>
                    <a:pt x="73" y="76"/>
                    <a:pt x="75" y="78"/>
                    <a:pt x="75" y="79"/>
                  </a:cubicBezTo>
                  <a:cubicBezTo>
                    <a:pt x="75" y="80"/>
                    <a:pt x="76" y="82"/>
                    <a:pt x="77" y="83"/>
                  </a:cubicBezTo>
                  <a:cubicBezTo>
                    <a:pt x="77" y="84"/>
                    <a:pt x="77" y="85"/>
                    <a:pt x="77" y="85"/>
                  </a:cubicBezTo>
                  <a:cubicBezTo>
                    <a:pt x="77" y="86"/>
                    <a:pt x="78" y="87"/>
                    <a:pt x="79" y="87"/>
                  </a:cubicBezTo>
                  <a:cubicBezTo>
                    <a:pt x="79" y="87"/>
                    <a:pt x="80" y="83"/>
                    <a:pt x="81" y="82"/>
                  </a:cubicBezTo>
                  <a:cubicBezTo>
                    <a:pt x="81" y="80"/>
                    <a:pt x="82" y="79"/>
                    <a:pt x="82" y="79"/>
                  </a:cubicBezTo>
                  <a:cubicBezTo>
                    <a:pt x="83" y="78"/>
                    <a:pt x="83" y="78"/>
                    <a:pt x="83" y="78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84" y="77"/>
                    <a:pt x="85" y="75"/>
                    <a:pt x="85" y="75"/>
                  </a:cubicBezTo>
                  <a:cubicBezTo>
                    <a:pt x="86" y="74"/>
                    <a:pt x="88" y="73"/>
                    <a:pt x="88" y="73"/>
                  </a:cubicBezTo>
                  <a:cubicBezTo>
                    <a:pt x="89" y="73"/>
                    <a:pt x="90" y="74"/>
                    <a:pt x="91" y="75"/>
                  </a:cubicBezTo>
                  <a:cubicBezTo>
                    <a:pt x="91" y="75"/>
                    <a:pt x="92" y="77"/>
                    <a:pt x="91" y="77"/>
                  </a:cubicBezTo>
                  <a:cubicBezTo>
                    <a:pt x="91" y="78"/>
                    <a:pt x="92" y="79"/>
                    <a:pt x="93" y="79"/>
                  </a:cubicBezTo>
                  <a:cubicBezTo>
                    <a:pt x="94" y="79"/>
                    <a:pt x="94" y="80"/>
                    <a:pt x="94" y="81"/>
                  </a:cubicBezTo>
                  <a:cubicBezTo>
                    <a:pt x="94" y="81"/>
                    <a:pt x="95" y="82"/>
                    <a:pt x="96" y="83"/>
                  </a:cubicBezTo>
                  <a:cubicBezTo>
                    <a:pt x="96" y="83"/>
                    <a:pt x="96" y="85"/>
                    <a:pt x="96" y="85"/>
                  </a:cubicBezTo>
                  <a:cubicBezTo>
                    <a:pt x="96" y="85"/>
                    <a:pt x="96" y="87"/>
                    <a:pt x="96" y="88"/>
                  </a:cubicBezTo>
                  <a:cubicBezTo>
                    <a:pt x="96" y="88"/>
                    <a:pt x="99" y="91"/>
                    <a:pt x="100" y="92"/>
                  </a:cubicBezTo>
                  <a:cubicBezTo>
                    <a:pt x="101" y="92"/>
                    <a:pt x="101" y="90"/>
                    <a:pt x="101" y="89"/>
                  </a:cubicBezTo>
                  <a:cubicBezTo>
                    <a:pt x="100" y="88"/>
                    <a:pt x="98" y="87"/>
                    <a:pt x="98" y="86"/>
                  </a:cubicBezTo>
                  <a:cubicBezTo>
                    <a:pt x="98" y="86"/>
                    <a:pt x="97" y="83"/>
                    <a:pt x="98" y="83"/>
                  </a:cubicBezTo>
                  <a:cubicBezTo>
                    <a:pt x="98" y="82"/>
                    <a:pt x="99" y="83"/>
                    <a:pt x="100" y="84"/>
                  </a:cubicBezTo>
                  <a:cubicBezTo>
                    <a:pt x="100" y="84"/>
                    <a:pt x="101" y="85"/>
                    <a:pt x="101" y="85"/>
                  </a:cubicBezTo>
                  <a:cubicBezTo>
                    <a:pt x="101" y="86"/>
                    <a:pt x="105" y="84"/>
                    <a:pt x="105" y="81"/>
                  </a:cubicBezTo>
                  <a:cubicBezTo>
                    <a:pt x="105" y="79"/>
                    <a:pt x="106" y="77"/>
                    <a:pt x="106" y="76"/>
                  </a:cubicBezTo>
                  <a:cubicBezTo>
                    <a:pt x="106" y="76"/>
                    <a:pt x="106" y="75"/>
                    <a:pt x="106" y="75"/>
                  </a:cubicBezTo>
                  <a:cubicBezTo>
                    <a:pt x="105" y="75"/>
                    <a:pt x="106" y="73"/>
                    <a:pt x="107" y="73"/>
                  </a:cubicBezTo>
                  <a:cubicBezTo>
                    <a:pt x="108" y="73"/>
                    <a:pt x="110" y="71"/>
                    <a:pt x="111" y="70"/>
                  </a:cubicBezTo>
                  <a:cubicBezTo>
                    <a:pt x="112" y="68"/>
                    <a:pt x="113" y="68"/>
                    <a:pt x="113" y="67"/>
                  </a:cubicBezTo>
                  <a:cubicBezTo>
                    <a:pt x="113" y="67"/>
                    <a:pt x="114" y="65"/>
                    <a:pt x="114" y="64"/>
                  </a:cubicBezTo>
                  <a:cubicBezTo>
                    <a:pt x="114" y="63"/>
                    <a:pt x="113" y="61"/>
                    <a:pt x="113" y="61"/>
                  </a:cubicBezTo>
                  <a:cubicBezTo>
                    <a:pt x="113" y="60"/>
                    <a:pt x="112" y="59"/>
                    <a:pt x="112" y="58"/>
                  </a:cubicBezTo>
                  <a:cubicBezTo>
                    <a:pt x="112" y="58"/>
                    <a:pt x="112" y="57"/>
                    <a:pt x="112" y="56"/>
                  </a:cubicBezTo>
                  <a:cubicBezTo>
                    <a:pt x="113" y="55"/>
                    <a:pt x="113" y="55"/>
                    <a:pt x="113" y="55"/>
                  </a:cubicBezTo>
                  <a:cubicBezTo>
                    <a:pt x="113" y="55"/>
                    <a:pt x="114" y="54"/>
                    <a:pt x="114" y="54"/>
                  </a:cubicBezTo>
                  <a:cubicBezTo>
                    <a:pt x="114" y="53"/>
                    <a:pt x="115" y="54"/>
                    <a:pt x="115" y="55"/>
                  </a:cubicBezTo>
                  <a:cubicBezTo>
                    <a:pt x="116" y="55"/>
                    <a:pt x="116" y="58"/>
                    <a:pt x="117" y="58"/>
                  </a:cubicBezTo>
                  <a:cubicBezTo>
                    <a:pt x="117" y="58"/>
                    <a:pt x="120" y="55"/>
                    <a:pt x="119" y="53"/>
                  </a:cubicBezTo>
                  <a:cubicBezTo>
                    <a:pt x="119" y="51"/>
                    <a:pt x="120" y="49"/>
                    <a:pt x="121" y="49"/>
                  </a:cubicBezTo>
                  <a:cubicBezTo>
                    <a:pt x="121" y="48"/>
                    <a:pt x="122" y="47"/>
                    <a:pt x="123" y="46"/>
                  </a:cubicBezTo>
                  <a:cubicBezTo>
                    <a:pt x="118" y="31"/>
                    <a:pt x="109" y="17"/>
                    <a:pt x="98" y="6"/>
                  </a:cubicBezTo>
                  <a:cubicBezTo>
                    <a:pt x="98" y="6"/>
                    <a:pt x="98" y="6"/>
                    <a:pt x="98" y="6"/>
                  </a:cubicBezTo>
                  <a:cubicBezTo>
                    <a:pt x="97" y="6"/>
                    <a:pt x="97" y="6"/>
                    <a:pt x="97" y="6"/>
                  </a:cubicBezTo>
                  <a:cubicBezTo>
                    <a:pt x="95" y="6"/>
                    <a:pt x="94" y="4"/>
                    <a:pt x="95" y="4"/>
                  </a:cubicBezTo>
                  <a:cubicBezTo>
                    <a:pt x="95" y="3"/>
                    <a:pt x="95" y="3"/>
                    <a:pt x="95" y="3"/>
                  </a:cubicBezTo>
                  <a:cubicBezTo>
                    <a:pt x="94" y="2"/>
                    <a:pt x="93" y="2"/>
                    <a:pt x="92" y="1"/>
                  </a:cubicBezTo>
                  <a:cubicBezTo>
                    <a:pt x="91" y="1"/>
                    <a:pt x="91" y="1"/>
                    <a:pt x="90" y="1"/>
                  </a:cubicBezTo>
                  <a:cubicBezTo>
                    <a:pt x="89" y="1"/>
                    <a:pt x="87" y="0"/>
                    <a:pt x="87" y="0"/>
                  </a:cubicBezTo>
                  <a:cubicBezTo>
                    <a:pt x="87" y="0"/>
                    <a:pt x="86" y="0"/>
                    <a:pt x="86" y="1"/>
                  </a:cubicBezTo>
                  <a:cubicBezTo>
                    <a:pt x="86" y="2"/>
                    <a:pt x="84" y="2"/>
                    <a:pt x="83" y="2"/>
                  </a:cubicBezTo>
                  <a:cubicBezTo>
                    <a:pt x="83" y="3"/>
                    <a:pt x="82" y="3"/>
                    <a:pt x="82" y="3"/>
                  </a:cubicBezTo>
                  <a:cubicBezTo>
                    <a:pt x="82" y="2"/>
                    <a:pt x="80" y="3"/>
                    <a:pt x="79" y="3"/>
                  </a:cubicBezTo>
                  <a:cubicBezTo>
                    <a:pt x="78" y="3"/>
                    <a:pt x="76" y="4"/>
                    <a:pt x="76" y="4"/>
                  </a:cubicBezTo>
                  <a:cubicBezTo>
                    <a:pt x="76" y="5"/>
                    <a:pt x="75" y="6"/>
                    <a:pt x="74" y="6"/>
                  </a:cubicBezTo>
                  <a:cubicBezTo>
                    <a:pt x="74" y="6"/>
                    <a:pt x="73" y="7"/>
                    <a:pt x="73" y="7"/>
                  </a:cubicBezTo>
                  <a:cubicBezTo>
                    <a:pt x="72" y="7"/>
                    <a:pt x="72" y="9"/>
                    <a:pt x="73" y="9"/>
                  </a:cubicBezTo>
                  <a:cubicBezTo>
                    <a:pt x="73" y="9"/>
                    <a:pt x="72" y="9"/>
                    <a:pt x="71" y="9"/>
                  </a:cubicBezTo>
                  <a:cubicBezTo>
                    <a:pt x="71" y="8"/>
                    <a:pt x="70" y="9"/>
                    <a:pt x="70" y="10"/>
                  </a:cubicBezTo>
                  <a:cubicBezTo>
                    <a:pt x="70" y="10"/>
                    <a:pt x="69" y="10"/>
                    <a:pt x="69" y="9"/>
                  </a:cubicBezTo>
                  <a:cubicBezTo>
                    <a:pt x="69" y="9"/>
                    <a:pt x="68" y="8"/>
                    <a:pt x="67" y="9"/>
                  </a:cubicBezTo>
                  <a:cubicBezTo>
                    <a:pt x="67" y="9"/>
                    <a:pt x="66" y="8"/>
                    <a:pt x="66" y="8"/>
                  </a:cubicBezTo>
                  <a:cubicBezTo>
                    <a:pt x="65" y="8"/>
                    <a:pt x="63" y="10"/>
                    <a:pt x="63" y="11"/>
                  </a:cubicBezTo>
                  <a:cubicBezTo>
                    <a:pt x="62" y="11"/>
                    <a:pt x="59" y="12"/>
                    <a:pt x="58" y="12"/>
                  </a:cubicBezTo>
                  <a:cubicBezTo>
                    <a:pt x="57" y="11"/>
                    <a:pt x="57" y="13"/>
                    <a:pt x="57" y="13"/>
                  </a:cubicBezTo>
                  <a:cubicBezTo>
                    <a:pt x="58" y="13"/>
                    <a:pt x="56" y="13"/>
                    <a:pt x="55" y="13"/>
                  </a:cubicBezTo>
                  <a:cubicBezTo>
                    <a:pt x="54" y="13"/>
                    <a:pt x="51" y="15"/>
                    <a:pt x="50" y="15"/>
                  </a:cubicBezTo>
                  <a:cubicBezTo>
                    <a:pt x="49" y="16"/>
                    <a:pt x="49" y="15"/>
                    <a:pt x="49" y="15"/>
                  </a:cubicBezTo>
                  <a:cubicBezTo>
                    <a:pt x="49" y="14"/>
                    <a:pt x="47" y="14"/>
                    <a:pt x="47" y="14"/>
                  </a:cubicBezTo>
                  <a:cubicBezTo>
                    <a:pt x="47" y="14"/>
                    <a:pt x="46" y="16"/>
                    <a:pt x="45" y="16"/>
                  </a:cubicBezTo>
                  <a:cubicBezTo>
                    <a:pt x="45" y="17"/>
                    <a:pt x="44" y="15"/>
                    <a:pt x="43" y="14"/>
                  </a:cubicBezTo>
                  <a:cubicBezTo>
                    <a:pt x="41" y="14"/>
                    <a:pt x="39" y="12"/>
                    <a:pt x="38" y="12"/>
                  </a:cubicBezTo>
                  <a:cubicBezTo>
                    <a:pt x="38" y="12"/>
                    <a:pt x="36" y="11"/>
                    <a:pt x="36" y="10"/>
                  </a:cubicBezTo>
                  <a:cubicBezTo>
                    <a:pt x="36" y="10"/>
                    <a:pt x="34" y="10"/>
                    <a:pt x="33" y="10"/>
                  </a:cubicBezTo>
                  <a:cubicBezTo>
                    <a:pt x="33" y="10"/>
                    <a:pt x="31" y="11"/>
                    <a:pt x="30" y="11"/>
                  </a:cubicBezTo>
                  <a:cubicBezTo>
                    <a:pt x="30" y="12"/>
                    <a:pt x="29" y="12"/>
                    <a:pt x="29" y="12"/>
                  </a:cubicBezTo>
                  <a:cubicBezTo>
                    <a:pt x="29" y="12"/>
                    <a:pt x="26" y="14"/>
                    <a:pt x="26" y="15"/>
                  </a:cubicBezTo>
                  <a:cubicBezTo>
                    <a:pt x="25" y="15"/>
                    <a:pt x="23" y="18"/>
                    <a:pt x="23" y="19"/>
                  </a:cubicBezTo>
                  <a:cubicBezTo>
                    <a:pt x="22" y="19"/>
                    <a:pt x="22" y="20"/>
                    <a:pt x="21" y="20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1" y="21"/>
                    <a:pt x="18" y="22"/>
                    <a:pt x="18" y="23"/>
                  </a:cubicBezTo>
                  <a:cubicBezTo>
                    <a:pt x="18" y="24"/>
                    <a:pt x="18" y="27"/>
                    <a:pt x="18" y="28"/>
                  </a:cubicBezTo>
                  <a:cubicBezTo>
                    <a:pt x="18" y="29"/>
                    <a:pt x="19" y="31"/>
                    <a:pt x="20" y="31"/>
                  </a:cubicBezTo>
                  <a:cubicBezTo>
                    <a:pt x="21" y="31"/>
                    <a:pt x="20" y="32"/>
                    <a:pt x="20" y="33"/>
                  </a:cubicBezTo>
                  <a:cubicBezTo>
                    <a:pt x="20" y="33"/>
                    <a:pt x="21" y="33"/>
                    <a:pt x="21" y="34"/>
                  </a:cubicBezTo>
                  <a:cubicBezTo>
                    <a:pt x="21" y="34"/>
                    <a:pt x="19" y="35"/>
                    <a:pt x="18" y="35"/>
                  </a:cubicBezTo>
                  <a:cubicBezTo>
                    <a:pt x="18" y="35"/>
                    <a:pt x="17" y="36"/>
                    <a:pt x="17" y="37"/>
                  </a:cubicBezTo>
                  <a:cubicBezTo>
                    <a:pt x="17" y="37"/>
                    <a:pt x="15" y="37"/>
                    <a:pt x="15" y="38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5" y="36"/>
                    <a:pt x="15" y="35"/>
                    <a:pt x="15" y="35"/>
                  </a:cubicBezTo>
                  <a:cubicBezTo>
                    <a:pt x="14" y="35"/>
                    <a:pt x="14" y="32"/>
                    <a:pt x="14" y="31"/>
                  </a:cubicBezTo>
                  <a:cubicBezTo>
                    <a:pt x="13" y="30"/>
                    <a:pt x="12" y="29"/>
                    <a:pt x="12" y="29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3" y="27"/>
                    <a:pt x="11" y="27"/>
                    <a:pt x="11" y="28"/>
                  </a:cubicBezTo>
                  <a:cubicBezTo>
                    <a:pt x="10" y="28"/>
                    <a:pt x="10" y="31"/>
                    <a:pt x="10" y="31"/>
                  </a:cubicBezTo>
                  <a:cubicBezTo>
                    <a:pt x="10" y="32"/>
                    <a:pt x="11" y="34"/>
                    <a:pt x="11" y="34"/>
                  </a:cubicBezTo>
                  <a:cubicBezTo>
                    <a:pt x="11" y="34"/>
                    <a:pt x="11" y="35"/>
                    <a:pt x="11" y="35"/>
                  </a:cubicBezTo>
                  <a:cubicBezTo>
                    <a:pt x="10" y="35"/>
                    <a:pt x="10" y="37"/>
                    <a:pt x="10" y="38"/>
                  </a:cubicBezTo>
                  <a:cubicBezTo>
                    <a:pt x="10" y="38"/>
                    <a:pt x="9" y="39"/>
                    <a:pt x="9" y="39"/>
                  </a:cubicBezTo>
                  <a:cubicBezTo>
                    <a:pt x="9" y="40"/>
                    <a:pt x="11" y="39"/>
                    <a:pt x="12" y="39"/>
                  </a:cubicBezTo>
                  <a:cubicBezTo>
                    <a:pt x="13" y="39"/>
                    <a:pt x="14" y="40"/>
                    <a:pt x="14" y="40"/>
                  </a:cubicBezTo>
                  <a:cubicBezTo>
                    <a:pt x="14" y="40"/>
                    <a:pt x="12" y="40"/>
                    <a:pt x="12" y="41"/>
                  </a:cubicBezTo>
                  <a:cubicBezTo>
                    <a:pt x="11" y="41"/>
                    <a:pt x="10" y="42"/>
                    <a:pt x="10" y="43"/>
                  </a:cubicBezTo>
                  <a:cubicBezTo>
                    <a:pt x="9" y="43"/>
                    <a:pt x="10" y="44"/>
                    <a:pt x="11" y="44"/>
                  </a:cubicBezTo>
                  <a:cubicBezTo>
                    <a:pt x="11" y="44"/>
                    <a:pt x="12" y="46"/>
                    <a:pt x="12" y="46"/>
                  </a:cubicBezTo>
                  <a:cubicBezTo>
                    <a:pt x="13" y="46"/>
                    <a:pt x="13" y="47"/>
                    <a:pt x="12" y="48"/>
                  </a:cubicBezTo>
                  <a:cubicBezTo>
                    <a:pt x="12" y="48"/>
                    <a:pt x="10" y="47"/>
                    <a:pt x="9" y="48"/>
                  </a:cubicBezTo>
                  <a:cubicBezTo>
                    <a:pt x="8" y="48"/>
                    <a:pt x="6" y="50"/>
                    <a:pt x="6" y="51"/>
                  </a:cubicBezTo>
                  <a:cubicBezTo>
                    <a:pt x="6" y="52"/>
                    <a:pt x="6" y="54"/>
                    <a:pt x="7" y="55"/>
                  </a:cubicBezTo>
                  <a:cubicBezTo>
                    <a:pt x="7" y="55"/>
                    <a:pt x="9" y="56"/>
                    <a:pt x="9" y="56"/>
                  </a:cubicBezTo>
                  <a:cubicBezTo>
                    <a:pt x="10" y="56"/>
                    <a:pt x="12" y="56"/>
                    <a:pt x="12" y="56"/>
                  </a:cubicBezTo>
                  <a:cubicBezTo>
                    <a:pt x="12" y="56"/>
                    <a:pt x="14" y="54"/>
                    <a:pt x="14" y="53"/>
                  </a:cubicBezTo>
                  <a:cubicBezTo>
                    <a:pt x="14" y="52"/>
                    <a:pt x="16" y="50"/>
                    <a:pt x="17" y="49"/>
                  </a:cubicBezTo>
                  <a:cubicBezTo>
                    <a:pt x="17" y="49"/>
                    <a:pt x="20" y="49"/>
                    <a:pt x="20" y="48"/>
                  </a:cubicBezTo>
                  <a:cubicBezTo>
                    <a:pt x="21" y="48"/>
                    <a:pt x="21" y="50"/>
                    <a:pt x="21" y="51"/>
                  </a:cubicBezTo>
                  <a:cubicBezTo>
                    <a:pt x="21" y="53"/>
                    <a:pt x="23" y="52"/>
                    <a:pt x="23" y="51"/>
                  </a:cubicBezTo>
                  <a:cubicBezTo>
                    <a:pt x="23" y="50"/>
                    <a:pt x="23" y="50"/>
                    <a:pt x="23" y="50"/>
                  </a:cubicBezTo>
                  <a:cubicBezTo>
                    <a:pt x="23" y="50"/>
                    <a:pt x="25" y="51"/>
                    <a:pt x="26" y="52"/>
                  </a:cubicBezTo>
                  <a:cubicBezTo>
                    <a:pt x="26" y="53"/>
                    <a:pt x="26" y="54"/>
                    <a:pt x="26" y="54"/>
                  </a:cubicBezTo>
                  <a:cubicBezTo>
                    <a:pt x="25" y="54"/>
                    <a:pt x="25" y="55"/>
                    <a:pt x="26" y="55"/>
                  </a:cubicBezTo>
                  <a:cubicBezTo>
                    <a:pt x="26" y="56"/>
                    <a:pt x="27" y="54"/>
                    <a:pt x="27" y="54"/>
                  </a:cubicBezTo>
                  <a:cubicBezTo>
                    <a:pt x="28" y="53"/>
                    <a:pt x="28" y="52"/>
                    <a:pt x="28" y="52"/>
                  </a:cubicBezTo>
                  <a:cubicBezTo>
                    <a:pt x="29" y="51"/>
                    <a:pt x="29" y="51"/>
                    <a:pt x="29" y="51"/>
                  </a:cubicBezTo>
                  <a:cubicBezTo>
                    <a:pt x="29" y="52"/>
                    <a:pt x="28" y="49"/>
                    <a:pt x="27" y="48"/>
                  </a:cubicBezTo>
                  <a:cubicBezTo>
                    <a:pt x="26" y="47"/>
                    <a:pt x="27" y="48"/>
                    <a:pt x="28" y="49"/>
                  </a:cubicBezTo>
                  <a:cubicBezTo>
                    <a:pt x="28" y="49"/>
                    <a:pt x="28" y="49"/>
                    <a:pt x="29" y="51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1" y="53"/>
                    <a:pt x="31" y="55"/>
                    <a:pt x="31" y="55"/>
                  </a:cubicBezTo>
                  <a:cubicBezTo>
                    <a:pt x="31" y="56"/>
                    <a:pt x="32" y="57"/>
                    <a:pt x="32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4" y="58"/>
                    <a:pt x="34" y="58"/>
                  </a:cubicBezTo>
                  <a:cubicBezTo>
                    <a:pt x="35" y="58"/>
                    <a:pt x="35" y="57"/>
                    <a:pt x="34" y="57"/>
                  </a:cubicBezTo>
                  <a:cubicBezTo>
                    <a:pt x="34" y="57"/>
                    <a:pt x="34" y="54"/>
                    <a:pt x="34" y="54"/>
                  </a:cubicBezTo>
                  <a:cubicBezTo>
                    <a:pt x="34" y="53"/>
                    <a:pt x="34" y="52"/>
                    <a:pt x="34" y="52"/>
                  </a:cubicBezTo>
                  <a:cubicBezTo>
                    <a:pt x="35" y="52"/>
                    <a:pt x="34" y="54"/>
                    <a:pt x="34" y="54"/>
                  </a:cubicBezTo>
                  <a:cubicBezTo>
                    <a:pt x="34" y="55"/>
                    <a:pt x="35" y="55"/>
                    <a:pt x="35" y="56"/>
                  </a:cubicBezTo>
                  <a:cubicBezTo>
                    <a:pt x="35" y="56"/>
                    <a:pt x="35" y="56"/>
                    <a:pt x="35" y="57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9" y="57"/>
                    <a:pt x="41" y="57"/>
                    <a:pt x="41" y="58"/>
                  </a:cubicBezTo>
                  <a:cubicBezTo>
                    <a:pt x="41" y="58"/>
                    <a:pt x="42" y="58"/>
                    <a:pt x="42" y="58"/>
                  </a:cubicBezTo>
                  <a:cubicBezTo>
                    <a:pt x="42" y="57"/>
                    <a:pt x="43" y="58"/>
                    <a:pt x="43" y="58"/>
                  </a:cubicBezTo>
                  <a:cubicBezTo>
                    <a:pt x="43" y="58"/>
                    <a:pt x="41" y="60"/>
                    <a:pt x="41" y="61"/>
                  </a:cubicBezTo>
                  <a:cubicBezTo>
                    <a:pt x="41" y="62"/>
                    <a:pt x="37" y="61"/>
                    <a:pt x="35" y="61"/>
                  </a:cubicBezTo>
                  <a:cubicBezTo>
                    <a:pt x="33" y="61"/>
                    <a:pt x="30" y="61"/>
                    <a:pt x="30" y="62"/>
                  </a:cubicBezTo>
                  <a:cubicBezTo>
                    <a:pt x="30" y="63"/>
                    <a:pt x="27" y="61"/>
                    <a:pt x="26" y="60"/>
                  </a:cubicBezTo>
                  <a:cubicBezTo>
                    <a:pt x="24" y="60"/>
                    <a:pt x="23" y="58"/>
                    <a:pt x="23" y="57"/>
                  </a:cubicBezTo>
                  <a:cubicBezTo>
                    <a:pt x="23" y="57"/>
                    <a:pt x="23" y="56"/>
                    <a:pt x="23" y="56"/>
                  </a:cubicBezTo>
                  <a:cubicBezTo>
                    <a:pt x="23" y="56"/>
                    <a:pt x="20" y="56"/>
                    <a:pt x="19" y="56"/>
                  </a:cubicBezTo>
                  <a:cubicBezTo>
                    <a:pt x="18" y="56"/>
                    <a:pt x="14" y="57"/>
                    <a:pt x="13" y="57"/>
                  </a:cubicBezTo>
                  <a:cubicBezTo>
                    <a:pt x="12" y="58"/>
                    <a:pt x="10" y="57"/>
                    <a:pt x="10" y="57"/>
                  </a:cubicBezTo>
                  <a:cubicBezTo>
                    <a:pt x="9" y="57"/>
                    <a:pt x="8" y="58"/>
                    <a:pt x="7" y="59"/>
                  </a:cubicBezTo>
                  <a:cubicBezTo>
                    <a:pt x="7" y="59"/>
                    <a:pt x="6" y="61"/>
                    <a:pt x="6" y="63"/>
                  </a:cubicBezTo>
                  <a:cubicBezTo>
                    <a:pt x="6" y="63"/>
                    <a:pt x="6" y="63"/>
                    <a:pt x="5" y="65"/>
                  </a:cubicBezTo>
                  <a:cubicBezTo>
                    <a:pt x="4" y="66"/>
                    <a:pt x="4" y="66"/>
                    <a:pt x="4" y="66"/>
                  </a:cubicBezTo>
                  <a:cubicBezTo>
                    <a:pt x="3" y="67"/>
                    <a:pt x="1" y="71"/>
                    <a:pt x="1" y="72"/>
                  </a:cubicBezTo>
                  <a:cubicBezTo>
                    <a:pt x="0" y="72"/>
                    <a:pt x="0" y="78"/>
                    <a:pt x="0" y="80"/>
                  </a:cubicBezTo>
                  <a:cubicBezTo>
                    <a:pt x="0" y="81"/>
                    <a:pt x="2" y="85"/>
                    <a:pt x="2" y="86"/>
                  </a:cubicBezTo>
                  <a:cubicBezTo>
                    <a:pt x="2" y="87"/>
                    <a:pt x="5" y="90"/>
                    <a:pt x="6" y="90"/>
                  </a:cubicBezTo>
                  <a:cubicBezTo>
                    <a:pt x="7" y="91"/>
                    <a:pt x="10" y="91"/>
                    <a:pt x="11" y="91"/>
                  </a:cubicBezTo>
                  <a:cubicBezTo>
                    <a:pt x="12" y="91"/>
                    <a:pt x="13" y="90"/>
                    <a:pt x="13" y="89"/>
                  </a:cubicBezTo>
                  <a:cubicBezTo>
                    <a:pt x="13" y="89"/>
                    <a:pt x="13" y="89"/>
                    <a:pt x="15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90"/>
                    <a:pt x="18" y="90"/>
                    <a:pt x="18" y="91"/>
                  </a:cubicBezTo>
                  <a:cubicBezTo>
                    <a:pt x="19" y="91"/>
                    <a:pt x="20" y="91"/>
                    <a:pt x="21" y="91"/>
                  </a:cubicBezTo>
                  <a:cubicBezTo>
                    <a:pt x="21" y="91"/>
                    <a:pt x="21" y="94"/>
                    <a:pt x="21" y="95"/>
                  </a:cubicBezTo>
                  <a:cubicBezTo>
                    <a:pt x="21" y="96"/>
                    <a:pt x="22" y="100"/>
                    <a:pt x="22" y="101"/>
                  </a:cubicBezTo>
                  <a:cubicBezTo>
                    <a:pt x="22" y="102"/>
                    <a:pt x="24" y="106"/>
                    <a:pt x="24" y="107"/>
                  </a:cubicBezTo>
                  <a:cubicBezTo>
                    <a:pt x="24" y="108"/>
                    <a:pt x="23" y="112"/>
                    <a:pt x="23" y="113"/>
                  </a:cubicBezTo>
                  <a:cubicBezTo>
                    <a:pt x="23" y="114"/>
                    <a:pt x="25" y="118"/>
                    <a:pt x="25" y="119"/>
                  </a:cubicBezTo>
                  <a:cubicBezTo>
                    <a:pt x="26" y="120"/>
                    <a:pt x="26" y="123"/>
                    <a:pt x="26" y="124"/>
                  </a:cubicBezTo>
                  <a:cubicBezTo>
                    <a:pt x="26" y="124"/>
                    <a:pt x="28" y="128"/>
                    <a:pt x="28" y="130"/>
                  </a:cubicBezTo>
                  <a:cubicBezTo>
                    <a:pt x="29" y="131"/>
                    <a:pt x="34" y="131"/>
                    <a:pt x="35" y="131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154" name="任意多边形: 形状 153">
              <a:extLst>
                <a:ext uri="{FF2B5EF4-FFF2-40B4-BE49-F238E27FC236}">
                  <a16:creationId xmlns:a16="http://schemas.microsoft.com/office/drawing/2014/main" id="{787748C2-A9C0-4B17-AA20-5601CF910AC5}"/>
                </a:ext>
              </a:extLst>
            </p:cNvPr>
            <p:cNvSpPr/>
            <p:nvPr/>
          </p:nvSpPr>
          <p:spPr bwMode="auto">
            <a:xfrm>
              <a:off x="10661725" y="2420141"/>
              <a:ext cx="18447" cy="19764"/>
            </a:xfrm>
            <a:custGeom>
              <a:avLst/>
              <a:gdLst>
                <a:gd name="T0" fmla="*/ 2 w 5"/>
                <a:gd name="T1" fmla="*/ 5 h 5"/>
                <a:gd name="T2" fmla="*/ 4 w 5"/>
                <a:gd name="T3" fmla="*/ 4 h 5"/>
                <a:gd name="T4" fmla="*/ 4 w 5"/>
                <a:gd name="T5" fmla="*/ 2 h 5"/>
                <a:gd name="T6" fmla="*/ 3 w 5"/>
                <a:gd name="T7" fmla="*/ 0 h 5"/>
                <a:gd name="T8" fmla="*/ 1 w 5"/>
                <a:gd name="T9" fmla="*/ 1 h 5"/>
                <a:gd name="T10" fmla="*/ 0 w 5"/>
                <a:gd name="T11" fmla="*/ 2 h 5"/>
                <a:gd name="T12" fmla="*/ 0 w 5"/>
                <a:gd name="T13" fmla="*/ 3 h 5"/>
                <a:gd name="T14" fmla="*/ 2 w 5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5">
                  <a:moveTo>
                    <a:pt x="2" y="5"/>
                  </a:moveTo>
                  <a:cubicBezTo>
                    <a:pt x="2" y="5"/>
                    <a:pt x="3" y="4"/>
                    <a:pt x="4" y="4"/>
                  </a:cubicBezTo>
                  <a:cubicBezTo>
                    <a:pt x="4" y="4"/>
                    <a:pt x="5" y="2"/>
                    <a:pt x="4" y="2"/>
                  </a:cubicBezTo>
                  <a:cubicBezTo>
                    <a:pt x="4" y="1"/>
                    <a:pt x="3" y="0"/>
                    <a:pt x="3" y="0"/>
                  </a:cubicBezTo>
                  <a:cubicBezTo>
                    <a:pt x="2" y="0"/>
                    <a:pt x="1" y="0"/>
                    <a:pt x="1" y="1"/>
                  </a:cubicBezTo>
                  <a:cubicBezTo>
                    <a:pt x="1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lnTo>
                    <a:pt x="2" y="5"/>
                  </a:ln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55" name="任意多边形: 形状 154">
              <a:extLst>
                <a:ext uri="{FF2B5EF4-FFF2-40B4-BE49-F238E27FC236}">
                  <a16:creationId xmlns:a16="http://schemas.microsoft.com/office/drawing/2014/main" id="{70349F82-878C-4A01-9270-31DB0BD20D7D}"/>
                </a:ext>
              </a:extLst>
            </p:cNvPr>
            <p:cNvSpPr/>
            <p:nvPr/>
          </p:nvSpPr>
          <p:spPr bwMode="auto">
            <a:xfrm>
              <a:off x="10645913" y="2470212"/>
              <a:ext cx="15812" cy="22399"/>
            </a:xfrm>
            <a:custGeom>
              <a:avLst/>
              <a:gdLst>
                <a:gd name="T0" fmla="*/ 4 w 4"/>
                <a:gd name="T1" fmla="*/ 2 h 6"/>
                <a:gd name="T2" fmla="*/ 3 w 4"/>
                <a:gd name="T3" fmla="*/ 0 h 6"/>
                <a:gd name="T4" fmla="*/ 1 w 4"/>
                <a:gd name="T5" fmla="*/ 4 h 6"/>
                <a:gd name="T6" fmla="*/ 2 w 4"/>
                <a:gd name="T7" fmla="*/ 5 h 6"/>
                <a:gd name="T8" fmla="*/ 4 w 4"/>
                <a:gd name="T9" fmla="*/ 6 h 6"/>
                <a:gd name="T10" fmla="*/ 4 w 4"/>
                <a:gd name="T11" fmla="*/ 5 h 6"/>
                <a:gd name="T12" fmla="*/ 4 w 4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6">
                  <a:moveTo>
                    <a:pt x="4" y="2"/>
                  </a:moveTo>
                  <a:cubicBezTo>
                    <a:pt x="4" y="2"/>
                    <a:pt x="4" y="0"/>
                    <a:pt x="3" y="0"/>
                  </a:cubicBezTo>
                  <a:cubicBezTo>
                    <a:pt x="3" y="0"/>
                    <a:pt x="0" y="3"/>
                    <a:pt x="1" y="4"/>
                  </a:cubicBezTo>
                  <a:cubicBezTo>
                    <a:pt x="1" y="6"/>
                    <a:pt x="2" y="6"/>
                    <a:pt x="2" y="5"/>
                  </a:cubicBezTo>
                  <a:cubicBezTo>
                    <a:pt x="2" y="5"/>
                    <a:pt x="3" y="5"/>
                    <a:pt x="4" y="6"/>
                  </a:cubicBezTo>
                  <a:cubicBezTo>
                    <a:pt x="4" y="6"/>
                    <a:pt x="4" y="5"/>
                    <a:pt x="4" y="5"/>
                  </a:cubicBezTo>
                  <a:cubicBezTo>
                    <a:pt x="3" y="4"/>
                    <a:pt x="4" y="2"/>
                    <a:pt x="4" y="2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56" name="任意多边形: 形状 155">
              <a:extLst>
                <a:ext uri="{FF2B5EF4-FFF2-40B4-BE49-F238E27FC236}">
                  <a16:creationId xmlns:a16="http://schemas.microsoft.com/office/drawing/2014/main" id="{14A8D081-37E9-4559-BAD2-8EB0323AA376}"/>
                </a:ext>
              </a:extLst>
            </p:cNvPr>
            <p:cNvSpPr/>
            <p:nvPr/>
          </p:nvSpPr>
          <p:spPr bwMode="auto">
            <a:xfrm>
              <a:off x="10615608" y="2450447"/>
              <a:ext cx="30306" cy="42164"/>
            </a:xfrm>
            <a:custGeom>
              <a:avLst/>
              <a:gdLst>
                <a:gd name="T0" fmla="*/ 8 w 8"/>
                <a:gd name="T1" fmla="*/ 5 h 11"/>
                <a:gd name="T2" fmla="*/ 8 w 8"/>
                <a:gd name="T3" fmla="*/ 2 h 11"/>
                <a:gd name="T4" fmla="*/ 6 w 8"/>
                <a:gd name="T5" fmla="*/ 0 h 11"/>
                <a:gd name="T6" fmla="*/ 2 w 8"/>
                <a:gd name="T7" fmla="*/ 5 h 11"/>
                <a:gd name="T8" fmla="*/ 1 w 8"/>
                <a:gd name="T9" fmla="*/ 9 h 11"/>
                <a:gd name="T10" fmla="*/ 5 w 8"/>
                <a:gd name="T11" fmla="*/ 11 h 11"/>
                <a:gd name="T12" fmla="*/ 6 w 8"/>
                <a:gd name="T13" fmla="*/ 11 h 11"/>
                <a:gd name="T14" fmla="*/ 6 w 8"/>
                <a:gd name="T15" fmla="*/ 10 h 11"/>
                <a:gd name="T16" fmla="*/ 7 w 8"/>
                <a:gd name="T17" fmla="*/ 8 h 11"/>
                <a:gd name="T18" fmla="*/ 8 w 8"/>
                <a:gd name="T19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11">
                  <a:moveTo>
                    <a:pt x="8" y="5"/>
                  </a:moveTo>
                  <a:cubicBezTo>
                    <a:pt x="8" y="5"/>
                    <a:pt x="8" y="2"/>
                    <a:pt x="8" y="2"/>
                  </a:cubicBezTo>
                  <a:cubicBezTo>
                    <a:pt x="8" y="2"/>
                    <a:pt x="7" y="0"/>
                    <a:pt x="6" y="0"/>
                  </a:cubicBezTo>
                  <a:cubicBezTo>
                    <a:pt x="6" y="0"/>
                    <a:pt x="4" y="4"/>
                    <a:pt x="2" y="5"/>
                  </a:cubicBezTo>
                  <a:cubicBezTo>
                    <a:pt x="1" y="6"/>
                    <a:pt x="0" y="9"/>
                    <a:pt x="1" y="9"/>
                  </a:cubicBezTo>
                  <a:cubicBezTo>
                    <a:pt x="1" y="10"/>
                    <a:pt x="4" y="10"/>
                    <a:pt x="5" y="11"/>
                  </a:cubicBezTo>
                  <a:cubicBezTo>
                    <a:pt x="5" y="11"/>
                    <a:pt x="6" y="11"/>
                    <a:pt x="6" y="11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7" y="9"/>
                    <a:pt x="7" y="8"/>
                  </a:cubicBezTo>
                  <a:cubicBezTo>
                    <a:pt x="8" y="7"/>
                    <a:pt x="8" y="6"/>
                    <a:pt x="8" y="5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57" name="任意多边形: 形状 156">
              <a:extLst>
                <a:ext uri="{FF2B5EF4-FFF2-40B4-BE49-F238E27FC236}">
                  <a16:creationId xmlns:a16="http://schemas.microsoft.com/office/drawing/2014/main" id="{E099377F-40EC-4DA9-AC45-A49E06B7FEE5}"/>
                </a:ext>
              </a:extLst>
            </p:cNvPr>
            <p:cNvSpPr/>
            <p:nvPr/>
          </p:nvSpPr>
          <p:spPr bwMode="auto">
            <a:xfrm>
              <a:off x="10605067" y="2496564"/>
              <a:ext cx="30306" cy="14494"/>
            </a:xfrm>
            <a:custGeom>
              <a:avLst/>
              <a:gdLst>
                <a:gd name="T0" fmla="*/ 3 w 8"/>
                <a:gd name="T1" fmla="*/ 1 h 4"/>
                <a:gd name="T2" fmla="*/ 0 w 8"/>
                <a:gd name="T3" fmla="*/ 1 h 4"/>
                <a:gd name="T4" fmla="*/ 6 w 8"/>
                <a:gd name="T5" fmla="*/ 3 h 4"/>
                <a:gd name="T6" fmla="*/ 8 w 8"/>
                <a:gd name="T7" fmla="*/ 3 h 4"/>
                <a:gd name="T8" fmla="*/ 3 w 8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">
                  <a:moveTo>
                    <a:pt x="3" y="1"/>
                  </a:move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4" y="3"/>
                    <a:pt x="6" y="3"/>
                  </a:cubicBezTo>
                  <a:cubicBezTo>
                    <a:pt x="7" y="3"/>
                    <a:pt x="8" y="4"/>
                    <a:pt x="8" y="3"/>
                  </a:cubicBezTo>
                  <a:cubicBezTo>
                    <a:pt x="8" y="3"/>
                    <a:pt x="4" y="1"/>
                    <a:pt x="3" y="1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58" name="任意多边形: 形状 157">
              <a:extLst>
                <a:ext uri="{FF2B5EF4-FFF2-40B4-BE49-F238E27FC236}">
                  <a16:creationId xmlns:a16="http://schemas.microsoft.com/office/drawing/2014/main" id="{6F72AB00-C278-4117-B12B-D4D3C8C20108}"/>
                </a:ext>
              </a:extLst>
            </p:cNvPr>
            <p:cNvSpPr/>
            <p:nvPr/>
          </p:nvSpPr>
          <p:spPr bwMode="auto">
            <a:xfrm>
              <a:off x="10641961" y="2375342"/>
              <a:ext cx="7906" cy="14494"/>
            </a:xfrm>
            <a:custGeom>
              <a:avLst/>
              <a:gdLst>
                <a:gd name="T0" fmla="*/ 2 w 2"/>
                <a:gd name="T1" fmla="*/ 3 h 4"/>
                <a:gd name="T2" fmla="*/ 1 w 2"/>
                <a:gd name="T3" fmla="*/ 1 h 4"/>
                <a:gd name="T4" fmla="*/ 1 w 2"/>
                <a:gd name="T5" fmla="*/ 3 h 4"/>
                <a:gd name="T6" fmla="*/ 2 w 2"/>
                <a:gd name="T7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2" y="3"/>
                  </a:moveTo>
                  <a:cubicBezTo>
                    <a:pt x="2" y="3"/>
                    <a:pt x="1" y="0"/>
                    <a:pt x="1" y="1"/>
                  </a:cubicBezTo>
                  <a:cubicBezTo>
                    <a:pt x="0" y="1"/>
                    <a:pt x="1" y="3"/>
                    <a:pt x="1" y="3"/>
                  </a:cubicBezTo>
                  <a:cubicBezTo>
                    <a:pt x="1" y="4"/>
                    <a:pt x="1" y="4"/>
                    <a:pt x="2" y="3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59" name="任意多边形: 形状 158">
              <a:extLst>
                <a:ext uri="{FF2B5EF4-FFF2-40B4-BE49-F238E27FC236}">
                  <a16:creationId xmlns:a16="http://schemas.microsoft.com/office/drawing/2014/main" id="{B3A98D97-65EA-4D2B-9E8C-BED933219820}"/>
                </a:ext>
              </a:extLst>
            </p:cNvPr>
            <p:cNvSpPr/>
            <p:nvPr/>
          </p:nvSpPr>
          <p:spPr bwMode="auto">
            <a:xfrm>
              <a:off x="10649867" y="2401694"/>
              <a:ext cx="11859" cy="11858"/>
            </a:xfrm>
            <a:custGeom>
              <a:avLst/>
              <a:gdLst>
                <a:gd name="T0" fmla="*/ 3 w 3"/>
                <a:gd name="T1" fmla="*/ 1 h 3"/>
                <a:gd name="T2" fmla="*/ 1 w 3"/>
                <a:gd name="T3" fmla="*/ 0 h 3"/>
                <a:gd name="T4" fmla="*/ 1 w 3"/>
                <a:gd name="T5" fmla="*/ 3 h 3"/>
                <a:gd name="T6" fmla="*/ 3 w 3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3" y="1"/>
                  </a:moveTo>
                  <a:cubicBezTo>
                    <a:pt x="3" y="1"/>
                    <a:pt x="2" y="0"/>
                    <a:pt x="1" y="0"/>
                  </a:cubicBezTo>
                  <a:cubicBezTo>
                    <a:pt x="0" y="0"/>
                    <a:pt x="0" y="3"/>
                    <a:pt x="1" y="3"/>
                  </a:cubicBezTo>
                  <a:cubicBezTo>
                    <a:pt x="1" y="3"/>
                    <a:pt x="2" y="2"/>
                    <a:pt x="3" y="1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60" name="任意多边形: 形状 159">
              <a:extLst>
                <a:ext uri="{FF2B5EF4-FFF2-40B4-BE49-F238E27FC236}">
                  <a16:creationId xmlns:a16="http://schemas.microsoft.com/office/drawing/2014/main" id="{BAE4E70D-7906-4B37-82E8-C3686F3E25EC}"/>
                </a:ext>
              </a:extLst>
            </p:cNvPr>
            <p:cNvSpPr/>
            <p:nvPr/>
          </p:nvSpPr>
          <p:spPr bwMode="auto">
            <a:xfrm>
              <a:off x="10680172" y="2470212"/>
              <a:ext cx="14494" cy="6588"/>
            </a:xfrm>
            <a:custGeom>
              <a:avLst/>
              <a:gdLst>
                <a:gd name="T0" fmla="*/ 0 w 4"/>
                <a:gd name="T1" fmla="*/ 2 h 2"/>
                <a:gd name="T2" fmla="*/ 4 w 4"/>
                <a:gd name="T3" fmla="*/ 0 h 2"/>
                <a:gd name="T4" fmla="*/ 0 w 4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cubicBezTo>
                    <a:pt x="1" y="2"/>
                    <a:pt x="3" y="2"/>
                    <a:pt x="4" y="0"/>
                  </a:cubicBezTo>
                  <a:cubicBezTo>
                    <a:pt x="2" y="0"/>
                    <a:pt x="0" y="0"/>
                    <a:pt x="0" y="2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61" name="任意多边形: 形状 160">
              <a:extLst>
                <a:ext uri="{FF2B5EF4-FFF2-40B4-BE49-F238E27FC236}">
                  <a16:creationId xmlns:a16="http://schemas.microsoft.com/office/drawing/2014/main" id="{F7D1178B-A29E-4DCD-82DF-F1F8C7A27A3E}"/>
                </a:ext>
              </a:extLst>
            </p:cNvPr>
            <p:cNvSpPr/>
            <p:nvPr/>
          </p:nvSpPr>
          <p:spPr bwMode="auto">
            <a:xfrm>
              <a:off x="10672266" y="2326590"/>
              <a:ext cx="22400" cy="26353"/>
            </a:xfrm>
            <a:custGeom>
              <a:avLst/>
              <a:gdLst>
                <a:gd name="T0" fmla="*/ 1 w 6"/>
                <a:gd name="T1" fmla="*/ 3 h 7"/>
                <a:gd name="T2" fmla="*/ 0 w 6"/>
                <a:gd name="T3" fmla="*/ 5 h 7"/>
                <a:gd name="T4" fmla="*/ 0 w 6"/>
                <a:gd name="T5" fmla="*/ 5 h 7"/>
                <a:gd name="T6" fmla="*/ 0 w 6"/>
                <a:gd name="T7" fmla="*/ 7 h 7"/>
                <a:gd name="T8" fmla="*/ 2 w 6"/>
                <a:gd name="T9" fmla="*/ 5 h 7"/>
                <a:gd name="T10" fmla="*/ 4 w 6"/>
                <a:gd name="T11" fmla="*/ 5 h 7"/>
                <a:gd name="T12" fmla="*/ 6 w 6"/>
                <a:gd name="T13" fmla="*/ 4 h 7"/>
                <a:gd name="T14" fmla="*/ 6 w 6"/>
                <a:gd name="T15" fmla="*/ 3 h 7"/>
                <a:gd name="T16" fmla="*/ 6 w 6"/>
                <a:gd name="T17" fmla="*/ 0 h 7"/>
                <a:gd name="T18" fmla="*/ 4 w 6"/>
                <a:gd name="T19" fmla="*/ 1 h 7"/>
                <a:gd name="T20" fmla="*/ 1 w 6"/>
                <a:gd name="T21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7">
                  <a:moveTo>
                    <a:pt x="1" y="3"/>
                  </a:moveTo>
                  <a:cubicBezTo>
                    <a:pt x="1" y="4"/>
                    <a:pt x="0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1" y="7"/>
                    <a:pt x="2" y="6"/>
                    <a:pt x="2" y="5"/>
                  </a:cubicBezTo>
                  <a:cubicBezTo>
                    <a:pt x="3" y="5"/>
                    <a:pt x="4" y="5"/>
                    <a:pt x="4" y="5"/>
                  </a:cubicBezTo>
                  <a:cubicBezTo>
                    <a:pt x="4" y="5"/>
                    <a:pt x="5" y="5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6" y="1"/>
                    <a:pt x="6" y="0"/>
                  </a:cubicBezTo>
                  <a:cubicBezTo>
                    <a:pt x="5" y="0"/>
                    <a:pt x="5" y="1"/>
                    <a:pt x="4" y="1"/>
                  </a:cubicBezTo>
                  <a:cubicBezTo>
                    <a:pt x="4" y="2"/>
                    <a:pt x="2" y="3"/>
                    <a:pt x="1" y="3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62" name="任意多边形: 形状 161">
              <a:extLst>
                <a:ext uri="{FF2B5EF4-FFF2-40B4-BE49-F238E27FC236}">
                  <a16:creationId xmlns:a16="http://schemas.microsoft.com/office/drawing/2014/main" id="{1977EC50-F77B-48B0-8517-66AC50F39EEB}"/>
                </a:ext>
              </a:extLst>
            </p:cNvPr>
            <p:cNvSpPr/>
            <p:nvPr/>
          </p:nvSpPr>
          <p:spPr bwMode="auto">
            <a:xfrm>
              <a:off x="10574761" y="245835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63" name="任意多边形: 形状 162">
              <a:extLst>
                <a:ext uri="{FF2B5EF4-FFF2-40B4-BE49-F238E27FC236}">
                  <a16:creationId xmlns:a16="http://schemas.microsoft.com/office/drawing/2014/main" id="{5C050558-DA79-429C-8416-FB5B2A360EE9}"/>
                </a:ext>
              </a:extLst>
            </p:cNvPr>
            <p:cNvSpPr/>
            <p:nvPr/>
          </p:nvSpPr>
          <p:spPr bwMode="auto">
            <a:xfrm>
              <a:off x="10574761" y="2454400"/>
              <a:ext cx="30306" cy="38211"/>
            </a:xfrm>
            <a:custGeom>
              <a:avLst/>
              <a:gdLst>
                <a:gd name="T0" fmla="*/ 7 w 8"/>
                <a:gd name="T1" fmla="*/ 7 h 10"/>
                <a:gd name="T2" fmla="*/ 4 w 8"/>
                <a:gd name="T3" fmla="*/ 4 h 10"/>
                <a:gd name="T4" fmla="*/ 4 w 8"/>
                <a:gd name="T5" fmla="*/ 3 h 10"/>
                <a:gd name="T6" fmla="*/ 3 w 8"/>
                <a:gd name="T7" fmla="*/ 2 h 10"/>
                <a:gd name="T8" fmla="*/ 1 w 8"/>
                <a:gd name="T9" fmla="*/ 0 h 10"/>
                <a:gd name="T10" fmla="*/ 0 w 8"/>
                <a:gd name="T11" fmla="*/ 1 h 10"/>
                <a:gd name="T12" fmla="*/ 2 w 8"/>
                <a:gd name="T13" fmla="*/ 2 h 10"/>
                <a:gd name="T14" fmla="*/ 6 w 8"/>
                <a:gd name="T15" fmla="*/ 10 h 10"/>
                <a:gd name="T16" fmla="*/ 7 w 8"/>
                <a:gd name="T17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0">
                  <a:moveTo>
                    <a:pt x="7" y="7"/>
                  </a:moveTo>
                  <a:cubicBezTo>
                    <a:pt x="7" y="6"/>
                    <a:pt x="6" y="5"/>
                    <a:pt x="4" y="4"/>
                  </a:cubicBezTo>
                  <a:cubicBezTo>
                    <a:pt x="4" y="4"/>
                    <a:pt x="4" y="4"/>
                    <a:pt x="4" y="3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1"/>
                    <a:pt x="1" y="0"/>
                    <a:pt x="1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0" y="1"/>
                    <a:pt x="1" y="1"/>
                    <a:pt x="2" y="2"/>
                  </a:cubicBezTo>
                  <a:cubicBezTo>
                    <a:pt x="3" y="3"/>
                    <a:pt x="6" y="9"/>
                    <a:pt x="6" y="10"/>
                  </a:cubicBezTo>
                  <a:cubicBezTo>
                    <a:pt x="7" y="10"/>
                    <a:pt x="8" y="8"/>
                    <a:pt x="7" y="7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64" name="任意多边形: 形状 163">
              <a:extLst>
                <a:ext uri="{FF2B5EF4-FFF2-40B4-BE49-F238E27FC236}">
                  <a16:creationId xmlns:a16="http://schemas.microsoft.com/office/drawing/2014/main" id="{5F2CAA47-A765-4285-9955-62CC8493ED26}"/>
                </a:ext>
              </a:extLst>
            </p:cNvPr>
            <p:cNvSpPr/>
            <p:nvPr/>
          </p:nvSpPr>
          <p:spPr bwMode="auto">
            <a:xfrm>
              <a:off x="10522055" y="2439906"/>
              <a:ext cx="10541" cy="10541"/>
            </a:xfrm>
            <a:custGeom>
              <a:avLst/>
              <a:gdLst>
                <a:gd name="T0" fmla="*/ 1 w 3"/>
                <a:gd name="T1" fmla="*/ 1 h 3"/>
                <a:gd name="T2" fmla="*/ 3 w 3"/>
                <a:gd name="T3" fmla="*/ 3 h 3"/>
                <a:gd name="T4" fmla="*/ 2 w 3"/>
                <a:gd name="T5" fmla="*/ 0 h 3"/>
                <a:gd name="T6" fmla="*/ 1 w 3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1" y="1"/>
                  </a:moveTo>
                  <a:cubicBezTo>
                    <a:pt x="0" y="1"/>
                    <a:pt x="2" y="3"/>
                    <a:pt x="3" y="3"/>
                  </a:cubicBezTo>
                  <a:cubicBezTo>
                    <a:pt x="3" y="2"/>
                    <a:pt x="2" y="0"/>
                    <a:pt x="2" y="0"/>
                  </a:cubicBezTo>
                  <a:cubicBezTo>
                    <a:pt x="2" y="0"/>
                    <a:pt x="1" y="0"/>
                    <a:pt x="1" y="1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65" name="任意多边形: 形状 164">
              <a:extLst>
                <a:ext uri="{FF2B5EF4-FFF2-40B4-BE49-F238E27FC236}">
                  <a16:creationId xmlns:a16="http://schemas.microsoft.com/office/drawing/2014/main" id="{089E21A1-ED62-4218-9BEB-3EED6079FBCA}"/>
                </a:ext>
              </a:extLst>
            </p:cNvPr>
            <p:cNvSpPr/>
            <p:nvPr/>
          </p:nvSpPr>
          <p:spPr bwMode="auto">
            <a:xfrm>
              <a:off x="10404786" y="2522917"/>
              <a:ext cx="22400" cy="56658"/>
            </a:xfrm>
            <a:custGeom>
              <a:avLst/>
              <a:gdLst>
                <a:gd name="T0" fmla="*/ 1 w 6"/>
                <a:gd name="T1" fmla="*/ 14 h 15"/>
                <a:gd name="T2" fmla="*/ 3 w 6"/>
                <a:gd name="T3" fmla="*/ 15 h 15"/>
                <a:gd name="T4" fmla="*/ 5 w 6"/>
                <a:gd name="T5" fmla="*/ 12 h 15"/>
                <a:gd name="T6" fmla="*/ 5 w 6"/>
                <a:gd name="T7" fmla="*/ 10 h 15"/>
                <a:gd name="T8" fmla="*/ 6 w 6"/>
                <a:gd name="T9" fmla="*/ 8 h 15"/>
                <a:gd name="T10" fmla="*/ 6 w 6"/>
                <a:gd name="T11" fmla="*/ 7 h 15"/>
                <a:gd name="T12" fmla="*/ 5 w 6"/>
                <a:gd name="T13" fmla="*/ 1 h 15"/>
                <a:gd name="T14" fmla="*/ 4 w 6"/>
                <a:gd name="T15" fmla="*/ 2 h 15"/>
                <a:gd name="T16" fmla="*/ 1 w 6"/>
                <a:gd name="T17" fmla="*/ 5 h 15"/>
                <a:gd name="T18" fmla="*/ 1 w 6"/>
                <a:gd name="T19" fmla="*/ 8 h 15"/>
                <a:gd name="T20" fmla="*/ 0 w 6"/>
                <a:gd name="T21" fmla="*/ 10 h 15"/>
                <a:gd name="T22" fmla="*/ 1 w 6"/>
                <a:gd name="T23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15">
                  <a:moveTo>
                    <a:pt x="1" y="14"/>
                  </a:moveTo>
                  <a:cubicBezTo>
                    <a:pt x="1" y="15"/>
                    <a:pt x="3" y="15"/>
                    <a:pt x="3" y="15"/>
                  </a:cubicBezTo>
                  <a:cubicBezTo>
                    <a:pt x="3" y="15"/>
                    <a:pt x="5" y="13"/>
                    <a:pt x="5" y="12"/>
                  </a:cubicBezTo>
                  <a:cubicBezTo>
                    <a:pt x="5" y="11"/>
                    <a:pt x="5" y="10"/>
                    <a:pt x="5" y="10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7"/>
                    <a:pt x="6" y="7"/>
                  </a:cubicBezTo>
                  <a:cubicBezTo>
                    <a:pt x="6" y="6"/>
                    <a:pt x="5" y="1"/>
                    <a:pt x="5" y="1"/>
                  </a:cubicBezTo>
                  <a:cubicBezTo>
                    <a:pt x="5" y="0"/>
                    <a:pt x="4" y="1"/>
                    <a:pt x="4" y="2"/>
                  </a:cubicBezTo>
                  <a:cubicBezTo>
                    <a:pt x="4" y="3"/>
                    <a:pt x="2" y="4"/>
                    <a:pt x="1" y="5"/>
                  </a:cubicBezTo>
                  <a:cubicBezTo>
                    <a:pt x="1" y="5"/>
                    <a:pt x="1" y="8"/>
                    <a:pt x="1" y="8"/>
                  </a:cubicBezTo>
                  <a:cubicBezTo>
                    <a:pt x="1" y="8"/>
                    <a:pt x="1" y="10"/>
                    <a:pt x="0" y="10"/>
                  </a:cubicBezTo>
                  <a:cubicBezTo>
                    <a:pt x="0" y="11"/>
                    <a:pt x="1" y="13"/>
                    <a:pt x="1" y="14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66" name="任意多边形: 形状 165">
              <a:extLst>
                <a:ext uri="{FF2B5EF4-FFF2-40B4-BE49-F238E27FC236}">
                  <a16:creationId xmlns:a16="http://schemas.microsoft.com/office/drawing/2014/main" id="{C7E7C611-F71D-4277-AEF9-2FAF1C159D39}"/>
                </a:ext>
              </a:extLst>
            </p:cNvPr>
            <p:cNvSpPr/>
            <p:nvPr/>
          </p:nvSpPr>
          <p:spPr bwMode="auto">
            <a:xfrm>
              <a:off x="10125446" y="2677081"/>
              <a:ext cx="7906" cy="7906"/>
            </a:xfrm>
            <a:custGeom>
              <a:avLst/>
              <a:gdLst>
                <a:gd name="T0" fmla="*/ 0 w 2"/>
                <a:gd name="T1" fmla="*/ 2 h 2"/>
                <a:gd name="T2" fmla="*/ 1 w 2"/>
                <a:gd name="T3" fmla="*/ 2 h 2"/>
                <a:gd name="T4" fmla="*/ 0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2"/>
                    <a:pt x="1" y="2"/>
                    <a:pt x="1" y="2"/>
                  </a:cubicBezTo>
                  <a:cubicBezTo>
                    <a:pt x="2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67" name="任意多边形: 形状 166">
              <a:extLst>
                <a:ext uri="{FF2B5EF4-FFF2-40B4-BE49-F238E27FC236}">
                  <a16:creationId xmlns:a16="http://schemas.microsoft.com/office/drawing/2014/main" id="{28EE0399-B269-437A-98EC-197DA4DE9DE4}"/>
                </a:ext>
              </a:extLst>
            </p:cNvPr>
            <p:cNvSpPr/>
            <p:nvPr/>
          </p:nvSpPr>
          <p:spPr bwMode="auto">
            <a:xfrm>
              <a:off x="10106999" y="2073603"/>
              <a:ext cx="162070" cy="146257"/>
            </a:xfrm>
            <a:custGeom>
              <a:avLst/>
              <a:gdLst>
                <a:gd name="T0" fmla="*/ 42 w 43"/>
                <a:gd name="T1" fmla="*/ 5 h 39"/>
                <a:gd name="T2" fmla="*/ 40 w 43"/>
                <a:gd name="T3" fmla="*/ 4 h 39"/>
                <a:gd name="T4" fmla="*/ 37 w 43"/>
                <a:gd name="T5" fmla="*/ 4 h 39"/>
                <a:gd name="T6" fmla="*/ 37 w 43"/>
                <a:gd name="T7" fmla="*/ 2 h 39"/>
                <a:gd name="T8" fmla="*/ 37 w 43"/>
                <a:gd name="T9" fmla="*/ 1 h 39"/>
                <a:gd name="T10" fmla="*/ 33 w 43"/>
                <a:gd name="T11" fmla="*/ 0 h 39"/>
                <a:gd name="T12" fmla="*/ 31 w 43"/>
                <a:gd name="T13" fmla="*/ 0 h 39"/>
                <a:gd name="T14" fmla="*/ 26 w 43"/>
                <a:gd name="T15" fmla="*/ 1 h 39"/>
                <a:gd name="T16" fmla="*/ 20 w 43"/>
                <a:gd name="T17" fmla="*/ 1 h 39"/>
                <a:gd name="T18" fmla="*/ 19 w 43"/>
                <a:gd name="T19" fmla="*/ 3 h 39"/>
                <a:gd name="T20" fmla="*/ 15 w 43"/>
                <a:gd name="T21" fmla="*/ 4 h 39"/>
                <a:gd name="T22" fmla="*/ 7 w 43"/>
                <a:gd name="T23" fmla="*/ 6 h 39"/>
                <a:gd name="T24" fmla="*/ 5 w 43"/>
                <a:gd name="T25" fmla="*/ 9 h 39"/>
                <a:gd name="T26" fmla="*/ 3 w 43"/>
                <a:gd name="T27" fmla="*/ 10 h 39"/>
                <a:gd name="T28" fmla="*/ 0 w 43"/>
                <a:gd name="T29" fmla="*/ 11 h 39"/>
                <a:gd name="T30" fmla="*/ 1 w 43"/>
                <a:gd name="T31" fmla="*/ 12 h 39"/>
                <a:gd name="T32" fmla="*/ 2 w 43"/>
                <a:gd name="T33" fmla="*/ 12 h 39"/>
                <a:gd name="T34" fmla="*/ 5 w 43"/>
                <a:gd name="T35" fmla="*/ 13 h 39"/>
                <a:gd name="T36" fmla="*/ 2 w 43"/>
                <a:gd name="T37" fmla="*/ 13 h 39"/>
                <a:gd name="T38" fmla="*/ 2 w 43"/>
                <a:gd name="T39" fmla="*/ 15 h 39"/>
                <a:gd name="T40" fmla="*/ 5 w 43"/>
                <a:gd name="T41" fmla="*/ 15 h 39"/>
                <a:gd name="T42" fmla="*/ 8 w 43"/>
                <a:gd name="T43" fmla="*/ 16 h 39"/>
                <a:gd name="T44" fmla="*/ 10 w 43"/>
                <a:gd name="T45" fmla="*/ 19 h 39"/>
                <a:gd name="T46" fmla="*/ 10 w 43"/>
                <a:gd name="T47" fmla="*/ 21 h 39"/>
                <a:gd name="T48" fmla="*/ 12 w 43"/>
                <a:gd name="T49" fmla="*/ 22 h 39"/>
                <a:gd name="T50" fmla="*/ 11 w 43"/>
                <a:gd name="T51" fmla="*/ 23 h 39"/>
                <a:gd name="T52" fmla="*/ 12 w 43"/>
                <a:gd name="T53" fmla="*/ 25 h 39"/>
                <a:gd name="T54" fmla="*/ 12 w 43"/>
                <a:gd name="T55" fmla="*/ 27 h 39"/>
                <a:gd name="T56" fmla="*/ 11 w 43"/>
                <a:gd name="T57" fmla="*/ 29 h 39"/>
                <a:gd name="T58" fmla="*/ 13 w 43"/>
                <a:gd name="T59" fmla="*/ 35 h 39"/>
                <a:gd name="T60" fmla="*/ 14 w 43"/>
                <a:gd name="T61" fmla="*/ 38 h 39"/>
                <a:gd name="T62" fmla="*/ 17 w 43"/>
                <a:gd name="T63" fmla="*/ 39 h 39"/>
                <a:gd name="T64" fmla="*/ 18 w 43"/>
                <a:gd name="T65" fmla="*/ 38 h 39"/>
                <a:gd name="T66" fmla="*/ 19 w 43"/>
                <a:gd name="T67" fmla="*/ 36 h 39"/>
                <a:gd name="T68" fmla="*/ 21 w 43"/>
                <a:gd name="T69" fmla="*/ 31 h 39"/>
                <a:gd name="T70" fmla="*/ 23 w 43"/>
                <a:gd name="T71" fmla="*/ 31 h 39"/>
                <a:gd name="T72" fmla="*/ 25 w 43"/>
                <a:gd name="T73" fmla="*/ 29 h 39"/>
                <a:gd name="T74" fmla="*/ 29 w 43"/>
                <a:gd name="T75" fmla="*/ 28 h 39"/>
                <a:gd name="T76" fmla="*/ 31 w 43"/>
                <a:gd name="T77" fmla="*/ 24 h 39"/>
                <a:gd name="T78" fmla="*/ 30 w 43"/>
                <a:gd name="T79" fmla="*/ 24 h 39"/>
                <a:gd name="T80" fmla="*/ 30 w 43"/>
                <a:gd name="T81" fmla="*/ 22 h 39"/>
                <a:gd name="T82" fmla="*/ 33 w 43"/>
                <a:gd name="T83" fmla="*/ 23 h 39"/>
                <a:gd name="T84" fmla="*/ 35 w 43"/>
                <a:gd name="T85" fmla="*/ 22 h 39"/>
                <a:gd name="T86" fmla="*/ 35 w 43"/>
                <a:gd name="T87" fmla="*/ 22 h 39"/>
                <a:gd name="T88" fmla="*/ 35 w 43"/>
                <a:gd name="T89" fmla="*/ 20 h 39"/>
                <a:gd name="T90" fmla="*/ 37 w 43"/>
                <a:gd name="T91" fmla="*/ 17 h 39"/>
                <a:gd name="T92" fmla="*/ 38 w 43"/>
                <a:gd name="T93" fmla="*/ 13 h 39"/>
                <a:gd name="T94" fmla="*/ 38 w 43"/>
                <a:gd name="T95" fmla="*/ 11 h 39"/>
                <a:gd name="T96" fmla="*/ 38 w 43"/>
                <a:gd name="T97" fmla="*/ 11 h 39"/>
                <a:gd name="T98" fmla="*/ 38 w 43"/>
                <a:gd name="T99" fmla="*/ 9 h 39"/>
                <a:gd name="T100" fmla="*/ 40 w 43"/>
                <a:gd name="T101" fmla="*/ 7 h 39"/>
                <a:gd name="T102" fmla="*/ 42 w 43"/>
                <a:gd name="T103" fmla="*/ 6 h 39"/>
                <a:gd name="T104" fmla="*/ 42 w 43"/>
                <a:gd name="T105" fmla="*/ 5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3" h="39">
                  <a:moveTo>
                    <a:pt x="42" y="5"/>
                  </a:moveTo>
                  <a:cubicBezTo>
                    <a:pt x="42" y="5"/>
                    <a:pt x="40" y="5"/>
                    <a:pt x="40" y="4"/>
                  </a:cubicBezTo>
                  <a:cubicBezTo>
                    <a:pt x="40" y="4"/>
                    <a:pt x="37" y="4"/>
                    <a:pt x="37" y="4"/>
                  </a:cubicBezTo>
                  <a:cubicBezTo>
                    <a:pt x="36" y="4"/>
                    <a:pt x="36" y="2"/>
                    <a:pt x="37" y="2"/>
                  </a:cubicBezTo>
                  <a:cubicBezTo>
                    <a:pt x="38" y="2"/>
                    <a:pt x="38" y="1"/>
                    <a:pt x="37" y="1"/>
                  </a:cubicBezTo>
                  <a:cubicBezTo>
                    <a:pt x="36" y="1"/>
                    <a:pt x="33" y="0"/>
                    <a:pt x="33" y="0"/>
                  </a:cubicBezTo>
                  <a:cubicBezTo>
                    <a:pt x="32" y="1"/>
                    <a:pt x="31" y="0"/>
                    <a:pt x="31" y="0"/>
                  </a:cubicBezTo>
                  <a:cubicBezTo>
                    <a:pt x="30" y="0"/>
                    <a:pt x="27" y="1"/>
                    <a:pt x="26" y="1"/>
                  </a:cubicBezTo>
                  <a:cubicBezTo>
                    <a:pt x="25" y="1"/>
                    <a:pt x="21" y="1"/>
                    <a:pt x="20" y="1"/>
                  </a:cubicBezTo>
                  <a:cubicBezTo>
                    <a:pt x="20" y="1"/>
                    <a:pt x="19" y="3"/>
                    <a:pt x="19" y="3"/>
                  </a:cubicBezTo>
                  <a:cubicBezTo>
                    <a:pt x="19" y="4"/>
                    <a:pt x="16" y="4"/>
                    <a:pt x="15" y="4"/>
                  </a:cubicBezTo>
                  <a:cubicBezTo>
                    <a:pt x="14" y="4"/>
                    <a:pt x="8" y="5"/>
                    <a:pt x="7" y="6"/>
                  </a:cubicBezTo>
                  <a:cubicBezTo>
                    <a:pt x="5" y="7"/>
                    <a:pt x="4" y="9"/>
                    <a:pt x="5" y="9"/>
                  </a:cubicBezTo>
                  <a:cubicBezTo>
                    <a:pt x="5" y="9"/>
                    <a:pt x="4" y="10"/>
                    <a:pt x="3" y="10"/>
                  </a:cubicBezTo>
                  <a:cubicBezTo>
                    <a:pt x="2" y="10"/>
                    <a:pt x="1" y="11"/>
                    <a:pt x="0" y="11"/>
                  </a:cubicBezTo>
                  <a:cubicBezTo>
                    <a:pt x="0" y="11"/>
                    <a:pt x="1" y="12"/>
                    <a:pt x="1" y="12"/>
                  </a:cubicBezTo>
                  <a:cubicBezTo>
                    <a:pt x="1" y="12"/>
                    <a:pt x="1" y="12"/>
                    <a:pt x="2" y="12"/>
                  </a:cubicBezTo>
                  <a:cubicBezTo>
                    <a:pt x="2" y="12"/>
                    <a:pt x="4" y="12"/>
                    <a:pt x="5" y="13"/>
                  </a:cubicBezTo>
                  <a:cubicBezTo>
                    <a:pt x="5" y="13"/>
                    <a:pt x="3" y="13"/>
                    <a:pt x="2" y="13"/>
                  </a:cubicBezTo>
                  <a:cubicBezTo>
                    <a:pt x="1" y="13"/>
                    <a:pt x="2" y="15"/>
                    <a:pt x="2" y="15"/>
                  </a:cubicBezTo>
                  <a:cubicBezTo>
                    <a:pt x="3" y="15"/>
                    <a:pt x="5" y="16"/>
                    <a:pt x="5" y="15"/>
                  </a:cubicBezTo>
                  <a:cubicBezTo>
                    <a:pt x="5" y="15"/>
                    <a:pt x="7" y="16"/>
                    <a:pt x="8" y="16"/>
                  </a:cubicBezTo>
                  <a:cubicBezTo>
                    <a:pt x="9" y="16"/>
                    <a:pt x="10" y="18"/>
                    <a:pt x="10" y="19"/>
                  </a:cubicBezTo>
                  <a:cubicBezTo>
                    <a:pt x="10" y="19"/>
                    <a:pt x="10" y="21"/>
                    <a:pt x="10" y="21"/>
                  </a:cubicBezTo>
                  <a:cubicBezTo>
                    <a:pt x="10" y="22"/>
                    <a:pt x="12" y="23"/>
                    <a:pt x="12" y="22"/>
                  </a:cubicBezTo>
                  <a:cubicBezTo>
                    <a:pt x="12" y="22"/>
                    <a:pt x="12" y="23"/>
                    <a:pt x="11" y="23"/>
                  </a:cubicBezTo>
                  <a:cubicBezTo>
                    <a:pt x="11" y="23"/>
                    <a:pt x="11" y="25"/>
                    <a:pt x="12" y="25"/>
                  </a:cubicBezTo>
                  <a:cubicBezTo>
                    <a:pt x="13" y="25"/>
                    <a:pt x="12" y="26"/>
                    <a:pt x="12" y="27"/>
                  </a:cubicBezTo>
                  <a:cubicBezTo>
                    <a:pt x="11" y="27"/>
                    <a:pt x="12" y="28"/>
                    <a:pt x="11" y="29"/>
                  </a:cubicBezTo>
                  <a:cubicBezTo>
                    <a:pt x="11" y="29"/>
                    <a:pt x="13" y="33"/>
                    <a:pt x="13" y="35"/>
                  </a:cubicBezTo>
                  <a:cubicBezTo>
                    <a:pt x="13" y="36"/>
                    <a:pt x="14" y="38"/>
                    <a:pt x="14" y="38"/>
                  </a:cubicBezTo>
                  <a:cubicBezTo>
                    <a:pt x="15" y="38"/>
                    <a:pt x="16" y="38"/>
                    <a:pt x="17" y="39"/>
                  </a:cubicBezTo>
                  <a:cubicBezTo>
                    <a:pt x="17" y="39"/>
                    <a:pt x="18" y="39"/>
                    <a:pt x="18" y="38"/>
                  </a:cubicBezTo>
                  <a:cubicBezTo>
                    <a:pt x="18" y="38"/>
                    <a:pt x="19" y="37"/>
                    <a:pt x="19" y="36"/>
                  </a:cubicBezTo>
                  <a:cubicBezTo>
                    <a:pt x="20" y="35"/>
                    <a:pt x="21" y="32"/>
                    <a:pt x="21" y="31"/>
                  </a:cubicBezTo>
                  <a:cubicBezTo>
                    <a:pt x="21" y="31"/>
                    <a:pt x="23" y="31"/>
                    <a:pt x="23" y="31"/>
                  </a:cubicBezTo>
                  <a:cubicBezTo>
                    <a:pt x="24" y="31"/>
                    <a:pt x="25" y="30"/>
                    <a:pt x="25" y="29"/>
                  </a:cubicBezTo>
                  <a:cubicBezTo>
                    <a:pt x="26" y="29"/>
                    <a:pt x="28" y="28"/>
                    <a:pt x="29" y="28"/>
                  </a:cubicBezTo>
                  <a:cubicBezTo>
                    <a:pt x="30" y="27"/>
                    <a:pt x="31" y="25"/>
                    <a:pt x="31" y="24"/>
                  </a:cubicBezTo>
                  <a:cubicBezTo>
                    <a:pt x="32" y="24"/>
                    <a:pt x="31" y="24"/>
                    <a:pt x="30" y="24"/>
                  </a:cubicBezTo>
                  <a:cubicBezTo>
                    <a:pt x="30" y="23"/>
                    <a:pt x="30" y="23"/>
                    <a:pt x="30" y="22"/>
                  </a:cubicBezTo>
                  <a:cubicBezTo>
                    <a:pt x="30" y="22"/>
                    <a:pt x="32" y="23"/>
                    <a:pt x="33" y="23"/>
                  </a:cubicBezTo>
                  <a:cubicBezTo>
                    <a:pt x="34" y="23"/>
                    <a:pt x="35" y="22"/>
                    <a:pt x="35" y="22"/>
                  </a:cubicBezTo>
                  <a:cubicBezTo>
                    <a:pt x="34" y="22"/>
                    <a:pt x="34" y="22"/>
                    <a:pt x="35" y="22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20"/>
                    <a:pt x="37" y="18"/>
                    <a:pt x="37" y="17"/>
                  </a:cubicBezTo>
                  <a:cubicBezTo>
                    <a:pt x="36" y="15"/>
                    <a:pt x="37" y="13"/>
                    <a:pt x="38" y="13"/>
                  </a:cubicBezTo>
                  <a:cubicBezTo>
                    <a:pt x="39" y="13"/>
                    <a:pt x="38" y="11"/>
                    <a:pt x="38" y="11"/>
                  </a:cubicBezTo>
                  <a:cubicBezTo>
                    <a:pt x="37" y="11"/>
                    <a:pt x="38" y="11"/>
                    <a:pt x="38" y="11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8"/>
                    <a:pt x="39" y="8"/>
                    <a:pt x="40" y="7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2" y="5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68" name="任意多边形: 形状 167">
              <a:extLst>
                <a:ext uri="{FF2B5EF4-FFF2-40B4-BE49-F238E27FC236}">
                  <a16:creationId xmlns:a16="http://schemas.microsoft.com/office/drawing/2014/main" id="{C32D73B8-BAC4-4B63-92FD-49A6C0DED765}"/>
                </a:ext>
              </a:extLst>
            </p:cNvPr>
            <p:cNvSpPr/>
            <p:nvPr/>
          </p:nvSpPr>
          <p:spPr bwMode="auto">
            <a:xfrm>
              <a:off x="10295422" y="2096003"/>
              <a:ext cx="44800" cy="38211"/>
            </a:xfrm>
            <a:custGeom>
              <a:avLst/>
              <a:gdLst>
                <a:gd name="T0" fmla="*/ 5 w 12"/>
                <a:gd name="T1" fmla="*/ 0 h 10"/>
                <a:gd name="T2" fmla="*/ 3 w 12"/>
                <a:gd name="T3" fmla="*/ 1 h 10"/>
                <a:gd name="T4" fmla="*/ 1 w 12"/>
                <a:gd name="T5" fmla="*/ 1 h 10"/>
                <a:gd name="T6" fmla="*/ 0 w 12"/>
                <a:gd name="T7" fmla="*/ 3 h 10"/>
                <a:gd name="T8" fmla="*/ 1 w 12"/>
                <a:gd name="T9" fmla="*/ 5 h 10"/>
                <a:gd name="T10" fmla="*/ 4 w 12"/>
                <a:gd name="T11" fmla="*/ 5 h 10"/>
                <a:gd name="T12" fmla="*/ 4 w 12"/>
                <a:gd name="T13" fmla="*/ 7 h 10"/>
                <a:gd name="T14" fmla="*/ 4 w 12"/>
                <a:gd name="T15" fmla="*/ 8 h 10"/>
                <a:gd name="T16" fmla="*/ 6 w 12"/>
                <a:gd name="T17" fmla="*/ 10 h 10"/>
                <a:gd name="T18" fmla="*/ 8 w 12"/>
                <a:gd name="T19" fmla="*/ 7 h 10"/>
                <a:gd name="T20" fmla="*/ 10 w 12"/>
                <a:gd name="T21" fmla="*/ 7 h 10"/>
                <a:gd name="T22" fmla="*/ 11 w 12"/>
                <a:gd name="T23" fmla="*/ 4 h 10"/>
                <a:gd name="T24" fmla="*/ 8 w 12"/>
                <a:gd name="T25" fmla="*/ 3 h 10"/>
                <a:gd name="T26" fmla="*/ 7 w 12"/>
                <a:gd name="T27" fmla="*/ 2 h 10"/>
                <a:gd name="T28" fmla="*/ 5 w 12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10">
                  <a:moveTo>
                    <a:pt x="5" y="0"/>
                  </a:moveTo>
                  <a:cubicBezTo>
                    <a:pt x="5" y="0"/>
                    <a:pt x="3" y="1"/>
                    <a:pt x="3" y="1"/>
                  </a:cubicBezTo>
                  <a:cubicBezTo>
                    <a:pt x="4" y="2"/>
                    <a:pt x="2" y="1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1" y="6"/>
                    <a:pt x="3" y="5"/>
                    <a:pt x="4" y="5"/>
                  </a:cubicBezTo>
                  <a:cubicBezTo>
                    <a:pt x="4" y="5"/>
                    <a:pt x="4" y="6"/>
                    <a:pt x="4" y="7"/>
                  </a:cubicBezTo>
                  <a:cubicBezTo>
                    <a:pt x="3" y="7"/>
                    <a:pt x="4" y="8"/>
                    <a:pt x="4" y="8"/>
                  </a:cubicBezTo>
                  <a:cubicBezTo>
                    <a:pt x="5" y="8"/>
                    <a:pt x="5" y="10"/>
                    <a:pt x="6" y="10"/>
                  </a:cubicBezTo>
                  <a:cubicBezTo>
                    <a:pt x="7" y="10"/>
                    <a:pt x="7" y="8"/>
                    <a:pt x="8" y="7"/>
                  </a:cubicBezTo>
                  <a:cubicBezTo>
                    <a:pt x="8" y="6"/>
                    <a:pt x="10" y="7"/>
                    <a:pt x="10" y="7"/>
                  </a:cubicBezTo>
                  <a:cubicBezTo>
                    <a:pt x="11" y="7"/>
                    <a:pt x="12" y="4"/>
                    <a:pt x="11" y="4"/>
                  </a:cubicBezTo>
                  <a:cubicBezTo>
                    <a:pt x="10" y="3"/>
                    <a:pt x="9" y="3"/>
                    <a:pt x="8" y="3"/>
                  </a:cubicBezTo>
                  <a:cubicBezTo>
                    <a:pt x="8" y="3"/>
                    <a:pt x="7" y="2"/>
                    <a:pt x="7" y="2"/>
                  </a:cubicBezTo>
                  <a:cubicBezTo>
                    <a:pt x="7" y="2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69" name="任意多边形: 形状 168">
              <a:extLst>
                <a:ext uri="{FF2B5EF4-FFF2-40B4-BE49-F238E27FC236}">
                  <a16:creationId xmlns:a16="http://schemas.microsoft.com/office/drawing/2014/main" id="{D9392E8C-2437-4E30-8F01-59DB60CB0CEC}"/>
                </a:ext>
              </a:extLst>
            </p:cNvPr>
            <p:cNvSpPr/>
            <p:nvPr/>
          </p:nvSpPr>
          <p:spPr bwMode="auto">
            <a:xfrm>
              <a:off x="10321774" y="2092050"/>
              <a:ext cx="34259" cy="11858"/>
            </a:xfrm>
            <a:custGeom>
              <a:avLst/>
              <a:gdLst>
                <a:gd name="T0" fmla="*/ 6 w 9"/>
                <a:gd name="T1" fmla="*/ 3 h 3"/>
                <a:gd name="T2" fmla="*/ 9 w 9"/>
                <a:gd name="T3" fmla="*/ 1 h 3"/>
                <a:gd name="T4" fmla="*/ 3 w 9"/>
                <a:gd name="T5" fmla="*/ 0 h 3"/>
                <a:gd name="T6" fmla="*/ 0 w 9"/>
                <a:gd name="T7" fmla="*/ 1 h 3"/>
                <a:gd name="T8" fmla="*/ 6 w 9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3">
                  <a:moveTo>
                    <a:pt x="6" y="3"/>
                  </a:moveTo>
                  <a:cubicBezTo>
                    <a:pt x="7" y="3"/>
                    <a:pt x="9" y="2"/>
                    <a:pt x="9" y="1"/>
                  </a:cubicBezTo>
                  <a:cubicBezTo>
                    <a:pt x="9" y="1"/>
                    <a:pt x="5" y="0"/>
                    <a:pt x="3" y="0"/>
                  </a:cubicBezTo>
                  <a:cubicBezTo>
                    <a:pt x="2" y="0"/>
                    <a:pt x="0" y="0"/>
                    <a:pt x="0" y="1"/>
                  </a:cubicBezTo>
                  <a:cubicBezTo>
                    <a:pt x="0" y="1"/>
                    <a:pt x="4" y="2"/>
                    <a:pt x="6" y="3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70" name="任意多边形: 形状 169">
              <a:extLst>
                <a:ext uri="{FF2B5EF4-FFF2-40B4-BE49-F238E27FC236}">
                  <a16:creationId xmlns:a16="http://schemas.microsoft.com/office/drawing/2014/main" id="{B4F93FE7-5760-485C-8CE0-AED0EB2A135A}"/>
                </a:ext>
              </a:extLst>
            </p:cNvPr>
            <p:cNvSpPr/>
            <p:nvPr/>
          </p:nvSpPr>
          <p:spPr bwMode="auto">
            <a:xfrm>
              <a:off x="10242716" y="2243578"/>
              <a:ext cx="10541" cy="14494"/>
            </a:xfrm>
            <a:custGeom>
              <a:avLst/>
              <a:gdLst>
                <a:gd name="T0" fmla="*/ 0 w 3"/>
                <a:gd name="T1" fmla="*/ 1 h 4"/>
                <a:gd name="T2" fmla="*/ 0 w 3"/>
                <a:gd name="T3" fmla="*/ 3 h 4"/>
                <a:gd name="T4" fmla="*/ 2 w 3"/>
                <a:gd name="T5" fmla="*/ 4 h 4"/>
                <a:gd name="T6" fmla="*/ 3 w 3"/>
                <a:gd name="T7" fmla="*/ 2 h 4"/>
                <a:gd name="T8" fmla="*/ 2 w 3"/>
                <a:gd name="T9" fmla="*/ 0 h 4"/>
                <a:gd name="T10" fmla="*/ 0 w 3"/>
                <a:gd name="T1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0" y="1"/>
                  </a:moveTo>
                  <a:cubicBezTo>
                    <a:pt x="0" y="1"/>
                    <a:pt x="0" y="3"/>
                    <a:pt x="0" y="3"/>
                  </a:cubicBezTo>
                  <a:cubicBezTo>
                    <a:pt x="0" y="4"/>
                    <a:pt x="1" y="4"/>
                    <a:pt x="2" y="4"/>
                  </a:cubicBezTo>
                  <a:cubicBezTo>
                    <a:pt x="2" y="3"/>
                    <a:pt x="3" y="3"/>
                    <a:pt x="3" y="2"/>
                  </a:cubicBezTo>
                  <a:cubicBezTo>
                    <a:pt x="3" y="2"/>
                    <a:pt x="2" y="0"/>
                    <a:pt x="2" y="0"/>
                  </a:cubicBezTo>
                  <a:cubicBezTo>
                    <a:pt x="1" y="0"/>
                    <a:pt x="1" y="1"/>
                    <a:pt x="0" y="1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71" name="任意多边形: 形状 170">
              <a:extLst>
                <a:ext uri="{FF2B5EF4-FFF2-40B4-BE49-F238E27FC236}">
                  <a16:creationId xmlns:a16="http://schemas.microsoft.com/office/drawing/2014/main" id="{1593A486-38D8-4AF3-B39A-8B5B1AA4C30D}"/>
                </a:ext>
              </a:extLst>
            </p:cNvPr>
            <p:cNvSpPr/>
            <p:nvPr/>
          </p:nvSpPr>
          <p:spPr bwMode="auto">
            <a:xfrm>
              <a:off x="10230857" y="2179014"/>
              <a:ext cx="30306" cy="22399"/>
            </a:xfrm>
            <a:custGeom>
              <a:avLst/>
              <a:gdLst>
                <a:gd name="T0" fmla="*/ 8 w 8"/>
                <a:gd name="T1" fmla="*/ 2 h 6"/>
                <a:gd name="T2" fmla="*/ 5 w 8"/>
                <a:gd name="T3" fmla="*/ 1 h 6"/>
                <a:gd name="T4" fmla="*/ 2 w 8"/>
                <a:gd name="T5" fmla="*/ 0 h 6"/>
                <a:gd name="T6" fmla="*/ 1 w 8"/>
                <a:gd name="T7" fmla="*/ 2 h 6"/>
                <a:gd name="T8" fmla="*/ 1 w 8"/>
                <a:gd name="T9" fmla="*/ 2 h 6"/>
                <a:gd name="T10" fmla="*/ 1 w 8"/>
                <a:gd name="T11" fmla="*/ 4 h 6"/>
                <a:gd name="T12" fmla="*/ 3 w 8"/>
                <a:gd name="T13" fmla="*/ 5 h 6"/>
                <a:gd name="T14" fmla="*/ 4 w 8"/>
                <a:gd name="T15" fmla="*/ 6 h 6"/>
                <a:gd name="T16" fmla="*/ 7 w 8"/>
                <a:gd name="T17" fmla="*/ 5 h 6"/>
                <a:gd name="T18" fmla="*/ 8 w 8"/>
                <a:gd name="T19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6">
                  <a:moveTo>
                    <a:pt x="8" y="2"/>
                  </a:moveTo>
                  <a:cubicBezTo>
                    <a:pt x="7" y="1"/>
                    <a:pt x="5" y="1"/>
                    <a:pt x="5" y="1"/>
                  </a:cubicBezTo>
                  <a:cubicBezTo>
                    <a:pt x="4" y="1"/>
                    <a:pt x="2" y="1"/>
                    <a:pt x="2" y="0"/>
                  </a:cubicBezTo>
                  <a:cubicBezTo>
                    <a:pt x="2" y="0"/>
                    <a:pt x="1" y="2"/>
                    <a:pt x="1" y="2"/>
                  </a:cubicBezTo>
                  <a:cubicBezTo>
                    <a:pt x="0" y="2"/>
                    <a:pt x="1" y="3"/>
                    <a:pt x="1" y="2"/>
                  </a:cubicBezTo>
                  <a:cubicBezTo>
                    <a:pt x="2" y="2"/>
                    <a:pt x="1" y="3"/>
                    <a:pt x="1" y="4"/>
                  </a:cubicBezTo>
                  <a:cubicBezTo>
                    <a:pt x="1" y="4"/>
                    <a:pt x="3" y="4"/>
                    <a:pt x="3" y="5"/>
                  </a:cubicBezTo>
                  <a:cubicBezTo>
                    <a:pt x="3" y="5"/>
                    <a:pt x="4" y="6"/>
                    <a:pt x="4" y="6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7" y="5"/>
                    <a:pt x="8" y="2"/>
                    <a:pt x="8" y="2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72" name="任意多边形: 形状 171">
              <a:extLst>
                <a:ext uri="{FF2B5EF4-FFF2-40B4-BE49-F238E27FC236}">
                  <a16:creationId xmlns:a16="http://schemas.microsoft.com/office/drawing/2014/main" id="{E8FFA0AB-599C-48EF-8E31-A9D5286C0DF8}"/>
                </a:ext>
              </a:extLst>
            </p:cNvPr>
            <p:cNvSpPr/>
            <p:nvPr/>
          </p:nvSpPr>
          <p:spPr bwMode="auto">
            <a:xfrm>
              <a:off x="10412692" y="2122355"/>
              <a:ext cx="40847" cy="40846"/>
            </a:xfrm>
            <a:custGeom>
              <a:avLst/>
              <a:gdLst>
                <a:gd name="T0" fmla="*/ 7 w 11"/>
                <a:gd name="T1" fmla="*/ 4 h 11"/>
                <a:gd name="T2" fmla="*/ 11 w 11"/>
                <a:gd name="T3" fmla="*/ 1 h 11"/>
                <a:gd name="T4" fmla="*/ 11 w 11"/>
                <a:gd name="T5" fmla="*/ 0 h 11"/>
                <a:gd name="T6" fmla="*/ 10 w 11"/>
                <a:gd name="T7" fmla="*/ 0 h 11"/>
                <a:gd name="T8" fmla="*/ 5 w 11"/>
                <a:gd name="T9" fmla="*/ 2 h 11"/>
                <a:gd name="T10" fmla="*/ 2 w 11"/>
                <a:gd name="T11" fmla="*/ 4 h 11"/>
                <a:gd name="T12" fmla="*/ 1 w 11"/>
                <a:gd name="T13" fmla="*/ 8 h 11"/>
                <a:gd name="T14" fmla="*/ 2 w 11"/>
                <a:gd name="T15" fmla="*/ 11 h 11"/>
                <a:gd name="T16" fmla="*/ 4 w 11"/>
                <a:gd name="T17" fmla="*/ 11 h 11"/>
                <a:gd name="T18" fmla="*/ 4 w 11"/>
                <a:gd name="T19" fmla="*/ 7 h 11"/>
                <a:gd name="T20" fmla="*/ 7 w 11"/>
                <a:gd name="T2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1">
                  <a:moveTo>
                    <a:pt x="7" y="4"/>
                  </a:moveTo>
                  <a:cubicBezTo>
                    <a:pt x="8" y="3"/>
                    <a:pt x="11" y="2"/>
                    <a:pt x="11" y="1"/>
                  </a:cubicBezTo>
                  <a:cubicBezTo>
                    <a:pt x="11" y="1"/>
                    <a:pt x="11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1"/>
                    <a:pt x="6" y="1"/>
                    <a:pt x="5" y="2"/>
                  </a:cubicBezTo>
                  <a:cubicBezTo>
                    <a:pt x="4" y="3"/>
                    <a:pt x="3" y="3"/>
                    <a:pt x="2" y="4"/>
                  </a:cubicBezTo>
                  <a:cubicBezTo>
                    <a:pt x="2" y="4"/>
                    <a:pt x="1" y="8"/>
                    <a:pt x="1" y="8"/>
                  </a:cubicBezTo>
                  <a:cubicBezTo>
                    <a:pt x="0" y="9"/>
                    <a:pt x="2" y="10"/>
                    <a:pt x="2" y="11"/>
                  </a:cubicBezTo>
                  <a:cubicBezTo>
                    <a:pt x="3" y="11"/>
                    <a:pt x="4" y="11"/>
                    <a:pt x="4" y="11"/>
                  </a:cubicBezTo>
                  <a:cubicBezTo>
                    <a:pt x="4" y="11"/>
                    <a:pt x="4" y="8"/>
                    <a:pt x="4" y="7"/>
                  </a:cubicBezTo>
                  <a:cubicBezTo>
                    <a:pt x="3" y="6"/>
                    <a:pt x="6" y="5"/>
                    <a:pt x="7" y="4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73" name="任意多边形: 形状 172">
              <a:extLst>
                <a:ext uri="{FF2B5EF4-FFF2-40B4-BE49-F238E27FC236}">
                  <a16:creationId xmlns:a16="http://schemas.microsoft.com/office/drawing/2014/main" id="{8C192B81-4D15-4E6C-AC8E-DAB17AA7F37D}"/>
                </a:ext>
              </a:extLst>
            </p:cNvPr>
            <p:cNvSpPr/>
            <p:nvPr/>
          </p:nvSpPr>
          <p:spPr bwMode="auto">
            <a:xfrm>
              <a:off x="10423233" y="2092050"/>
              <a:ext cx="11859" cy="15812"/>
            </a:xfrm>
            <a:custGeom>
              <a:avLst/>
              <a:gdLst>
                <a:gd name="T0" fmla="*/ 0 w 3"/>
                <a:gd name="T1" fmla="*/ 3 h 4"/>
                <a:gd name="T2" fmla="*/ 3 w 3"/>
                <a:gd name="T3" fmla="*/ 2 h 4"/>
                <a:gd name="T4" fmla="*/ 0 w 3"/>
                <a:gd name="T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0" y="3"/>
                  </a:moveTo>
                  <a:cubicBezTo>
                    <a:pt x="1" y="4"/>
                    <a:pt x="2" y="2"/>
                    <a:pt x="3" y="2"/>
                  </a:cubicBezTo>
                  <a:cubicBezTo>
                    <a:pt x="3" y="0"/>
                    <a:pt x="0" y="1"/>
                    <a:pt x="0" y="3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74" name="任意多边形: 形状 173">
              <a:extLst>
                <a:ext uri="{FF2B5EF4-FFF2-40B4-BE49-F238E27FC236}">
                  <a16:creationId xmlns:a16="http://schemas.microsoft.com/office/drawing/2014/main" id="{95FDD6E4-FDB3-4FB4-B1C9-0719EF8853CD}"/>
                </a:ext>
              </a:extLst>
            </p:cNvPr>
            <p:cNvSpPr/>
            <p:nvPr/>
          </p:nvSpPr>
          <p:spPr bwMode="auto">
            <a:xfrm>
              <a:off x="10510197" y="2099956"/>
              <a:ext cx="22400" cy="7906"/>
            </a:xfrm>
            <a:custGeom>
              <a:avLst/>
              <a:gdLst>
                <a:gd name="T0" fmla="*/ 0 w 6"/>
                <a:gd name="T1" fmla="*/ 1 h 2"/>
                <a:gd name="T2" fmla="*/ 5 w 6"/>
                <a:gd name="T3" fmla="*/ 2 h 2"/>
                <a:gd name="T4" fmla="*/ 3 w 6"/>
                <a:gd name="T5" fmla="*/ 0 h 2"/>
                <a:gd name="T6" fmla="*/ 0 w 6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0" y="1"/>
                  </a:moveTo>
                  <a:cubicBezTo>
                    <a:pt x="0" y="1"/>
                    <a:pt x="4" y="2"/>
                    <a:pt x="5" y="2"/>
                  </a:cubicBezTo>
                  <a:cubicBezTo>
                    <a:pt x="6" y="1"/>
                    <a:pt x="4" y="0"/>
                    <a:pt x="3" y="0"/>
                  </a:cubicBezTo>
                  <a:cubicBezTo>
                    <a:pt x="1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75" name="任意多边形: 形状 174">
              <a:extLst>
                <a:ext uri="{FF2B5EF4-FFF2-40B4-BE49-F238E27FC236}">
                  <a16:creationId xmlns:a16="http://schemas.microsoft.com/office/drawing/2014/main" id="{7DE1CB55-5507-42F6-B2F2-26E8DFE4C094}"/>
                </a:ext>
              </a:extLst>
            </p:cNvPr>
            <p:cNvSpPr/>
            <p:nvPr/>
          </p:nvSpPr>
          <p:spPr bwMode="auto">
            <a:xfrm>
              <a:off x="10050341" y="2193508"/>
              <a:ext cx="18447" cy="11858"/>
            </a:xfrm>
            <a:custGeom>
              <a:avLst/>
              <a:gdLst>
                <a:gd name="T0" fmla="*/ 1 w 5"/>
                <a:gd name="T1" fmla="*/ 1 h 3"/>
                <a:gd name="T2" fmla="*/ 1 w 5"/>
                <a:gd name="T3" fmla="*/ 3 h 3"/>
                <a:gd name="T4" fmla="*/ 4 w 5"/>
                <a:gd name="T5" fmla="*/ 1 h 3"/>
                <a:gd name="T6" fmla="*/ 5 w 5"/>
                <a:gd name="T7" fmla="*/ 1 h 3"/>
                <a:gd name="T8" fmla="*/ 2 w 5"/>
                <a:gd name="T9" fmla="*/ 0 h 3"/>
                <a:gd name="T10" fmla="*/ 1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1" y="1"/>
                  </a:moveTo>
                  <a:cubicBezTo>
                    <a:pt x="0" y="1"/>
                    <a:pt x="1" y="3"/>
                    <a:pt x="1" y="3"/>
                  </a:cubicBezTo>
                  <a:cubicBezTo>
                    <a:pt x="2" y="3"/>
                    <a:pt x="3" y="0"/>
                    <a:pt x="4" y="1"/>
                  </a:cubicBezTo>
                  <a:cubicBezTo>
                    <a:pt x="5" y="1"/>
                    <a:pt x="5" y="2"/>
                    <a:pt x="5" y="1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1" y="1"/>
                  </a:ln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76" name="任意多边形: 形状 175">
              <a:extLst>
                <a:ext uri="{FF2B5EF4-FFF2-40B4-BE49-F238E27FC236}">
                  <a16:creationId xmlns:a16="http://schemas.microsoft.com/office/drawing/2014/main" id="{233DC462-74DC-4266-B8E7-13F434202810}"/>
                </a:ext>
              </a:extLst>
            </p:cNvPr>
            <p:cNvSpPr/>
            <p:nvPr/>
          </p:nvSpPr>
          <p:spPr bwMode="auto">
            <a:xfrm>
              <a:off x="10084600" y="2405648"/>
              <a:ext cx="6589" cy="3952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2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1"/>
                    <a:pt x="2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77" name="任意多边形: 形状 176">
              <a:extLst>
                <a:ext uri="{FF2B5EF4-FFF2-40B4-BE49-F238E27FC236}">
                  <a16:creationId xmlns:a16="http://schemas.microsoft.com/office/drawing/2014/main" id="{DCDF0213-9D35-4EA8-8DE2-2721146BBF6B}"/>
                </a:ext>
              </a:extLst>
            </p:cNvPr>
            <p:cNvSpPr/>
            <p:nvPr/>
          </p:nvSpPr>
          <p:spPr bwMode="auto">
            <a:xfrm>
              <a:off x="10030576" y="2385883"/>
              <a:ext cx="50070" cy="23717"/>
            </a:xfrm>
            <a:custGeom>
              <a:avLst/>
              <a:gdLst>
                <a:gd name="T0" fmla="*/ 8 w 13"/>
                <a:gd name="T1" fmla="*/ 3 h 6"/>
                <a:gd name="T2" fmla="*/ 8 w 13"/>
                <a:gd name="T3" fmla="*/ 5 h 6"/>
                <a:gd name="T4" fmla="*/ 11 w 13"/>
                <a:gd name="T5" fmla="*/ 6 h 6"/>
                <a:gd name="T6" fmla="*/ 12 w 13"/>
                <a:gd name="T7" fmla="*/ 5 h 6"/>
                <a:gd name="T8" fmla="*/ 11 w 13"/>
                <a:gd name="T9" fmla="*/ 3 h 6"/>
                <a:gd name="T10" fmla="*/ 9 w 13"/>
                <a:gd name="T11" fmla="*/ 2 h 6"/>
                <a:gd name="T12" fmla="*/ 7 w 13"/>
                <a:gd name="T13" fmla="*/ 1 h 6"/>
                <a:gd name="T14" fmla="*/ 3 w 13"/>
                <a:gd name="T15" fmla="*/ 0 h 6"/>
                <a:gd name="T16" fmla="*/ 0 w 13"/>
                <a:gd name="T17" fmla="*/ 1 h 6"/>
                <a:gd name="T18" fmla="*/ 2 w 13"/>
                <a:gd name="T19" fmla="*/ 2 h 6"/>
                <a:gd name="T20" fmla="*/ 6 w 13"/>
                <a:gd name="T21" fmla="*/ 2 h 6"/>
                <a:gd name="T22" fmla="*/ 8 w 13"/>
                <a:gd name="T2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6">
                  <a:moveTo>
                    <a:pt x="8" y="3"/>
                  </a:moveTo>
                  <a:cubicBezTo>
                    <a:pt x="9" y="3"/>
                    <a:pt x="8" y="4"/>
                    <a:pt x="8" y="5"/>
                  </a:cubicBezTo>
                  <a:cubicBezTo>
                    <a:pt x="9" y="5"/>
                    <a:pt x="10" y="5"/>
                    <a:pt x="11" y="6"/>
                  </a:cubicBezTo>
                  <a:cubicBezTo>
                    <a:pt x="11" y="6"/>
                    <a:pt x="12" y="5"/>
                    <a:pt x="12" y="5"/>
                  </a:cubicBezTo>
                  <a:cubicBezTo>
                    <a:pt x="13" y="5"/>
                    <a:pt x="12" y="3"/>
                    <a:pt x="11" y="3"/>
                  </a:cubicBezTo>
                  <a:cubicBezTo>
                    <a:pt x="10" y="3"/>
                    <a:pt x="9" y="2"/>
                    <a:pt x="9" y="2"/>
                  </a:cubicBezTo>
                  <a:cubicBezTo>
                    <a:pt x="9" y="2"/>
                    <a:pt x="7" y="1"/>
                    <a:pt x="7" y="1"/>
                  </a:cubicBezTo>
                  <a:cubicBezTo>
                    <a:pt x="6" y="0"/>
                    <a:pt x="4" y="0"/>
                    <a:pt x="3" y="0"/>
                  </a:cubicBezTo>
                  <a:cubicBezTo>
                    <a:pt x="2" y="0"/>
                    <a:pt x="1" y="1"/>
                    <a:pt x="0" y="1"/>
                  </a:cubicBezTo>
                  <a:cubicBezTo>
                    <a:pt x="0" y="2"/>
                    <a:pt x="2" y="2"/>
                    <a:pt x="2" y="2"/>
                  </a:cubicBezTo>
                  <a:cubicBezTo>
                    <a:pt x="3" y="1"/>
                    <a:pt x="5" y="2"/>
                    <a:pt x="6" y="2"/>
                  </a:cubicBezTo>
                  <a:cubicBezTo>
                    <a:pt x="6" y="3"/>
                    <a:pt x="7" y="3"/>
                    <a:pt x="8" y="3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78" name="任意多边形: 形状 177">
              <a:extLst>
                <a:ext uri="{FF2B5EF4-FFF2-40B4-BE49-F238E27FC236}">
                  <a16:creationId xmlns:a16="http://schemas.microsoft.com/office/drawing/2014/main" id="{69B3BC80-4487-4ADB-B964-A3B8B5D23DA6}"/>
                </a:ext>
              </a:extLst>
            </p:cNvPr>
            <p:cNvSpPr/>
            <p:nvPr/>
          </p:nvSpPr>
          <p:spPr bwMode="auto">
            <a:xfrm>
              <a:off x="10050341" y="2405648"/>
              <a:ext cx="6589" cy="3952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2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79" name="任意多边形: 形状 178">
              <a:extLst>
                <a:ext uri="{FF2B5EF4-FFF2-40B4-BE49-F238E27FC236}">
                  <a16:creationId xmlns:a16="http://schemas.microsoft.com/office/drawing/2014/main" id="{AFA03784-F64D-4400-88BB-113AA9D35119}"/>
                </a:ext>
              </a:extLst>
            </p:cNvPr>
            <p:cNvSpPr/>
            <p:nvPr/>
          </p:nvSpPr>
          <p:spPr bwMode="auto">
            <a:xfrm>
              <a:off x="10050341" y="2379295"/>
              <a:ext cx="3953" cy="3952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80" name="任意多边形: 形状 179">
              <a:extLst>
                <a:ext uri="{FF2B5EF4-FFF2-40B4-BE49-F238E27FC236}">
                  <a16:creationId xmlns:a16="http://schemas.microsoft.com/office/drawing/2014/main" id="{20FFBFDA-3DAC-42C3-AC49-26A86214C037}"/>
                </a:ext>
              </a:extLst>
            </p:cNvPr>
            <p:cNvSpPr/>
            <p:nvPr/>
          </p:nvSpPr>
          <p:spPr bwMode="auto">
            <a:xfrm>
              <a:off x="10060882" y="2379295"/>
              <a:ext cx="3953" cy="3952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81" name="任意多边形: 形状 180">
              <a:extLst>
                <a:ext uri="{FF2B5EF4-FFF2-40B4-BE49-F238E27FC236}">
                  <a16:creationId xmlns:a16="http://schemas.microsoft.com/office/drawing/2014/main" id="{0966F968-1AF3-47F7-8081-E63E13276D05}"/>
                </a:ext>
              </a:extLst>
            </p:cNvPr>
            <p:cNvSpPr/>
            <p:nvPr/>
          </p:nvSpPr>
          <p:spPr bwMode="auto">
            <a:xfrm>
              <a:off x="10064835" y="2383248"/>
              <a:ext cx="11859" cy="10541"/>
            </a:xfrm>
            <a:custGeom>
              <a:avLst/>
              <a:gdLst>
                <a:gd name="T0" fmla="*/ 2 w 3"/>
                <a:gd name="T1" fmla="*/ 3 h 3"/>
                <a:gd name="T2" fmla="*/ 2 w 3"/>
                <a:gd name="T3" fmla="*/ 2 h 3"/>
                <a:gd name="T4" fmla="*/ 1 w 3"/>
                <a:gd name="T5" fmla="*/ 1 h 3"/>
                <a:gd name="T6" fmla="*/ 0 w 3"/>
                <a:gd name="T7" fmla="*/ 2 h 3"/>
                <a:gd name="T8" fmla="*/ 1 w 3"/>
                <a:gd name="T9" fmla="*/ 2 h 3"/>
                <a:gd name="T10" fmla="*/ 2 w 3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3" y="2"/>
                    <a:pt x="3" y="2"/>
                    <a:pt x="2" y="2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3"/>
                    <a:pt x="2" y="3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82" name="任意多边形: 形状 181">
              <a:extLst>
                <a:ext uri="{FF2B5EF4-FFF2-40B4-BE49-F238E27FC236}">
                  <a16:creationId xmlns:a16="http://schemas.microsoft.com/office/drawing/2014/main" id="{7A93C318-EE2C-4175-AE2C-BAD149538ADE}"/>
                </a:ext>
              </a:extLst>
            </p:cNvPr>
            <p:cNvSpPr/>
            <p:nvPr/>
          </p:nvSpPr>
          <p:spPr bwMode="auto">
            <a:xfrm>
              <a:off x="10684125" y="2476800"/>
              <a:ext cx="14494" cy="15812"/>
            </a:xfrm>
            <a:custGeom>
              <a:avLst/>
              <a:gdLst>
                <a:gd name="T0" fmla="*/ 3 w 4"/>
                <a:gd name="T1" fmla="*/ 1 h 4"/>
                <a:gd name="T2" fmla="*/ 1 w 4"/>
                <a:gd name="T3" fmla="*/ 1 h 4"/>
                <a:gd name="T4" fmla="*/ 0 w 4"/>
                <a:gd name="T5" fmla="*/ 2 h 4"/>
                <a:gd name="T6" fmla="*/ 1 w 4"/>
                <a:gd name="T7" fmla="*/ 2 h 4"/>
                <a:gd name="T8" fmla="*/ 3 w 4"/>
                <a:gd name="T9" fmla="*/ 4 h 4"/>
                <a:gd name="T10" fmla="*/ 4 w 4"/>
                <a:gd name="T11" fmla="*/ 0 h 4"/>
                <a:gd name="T12" fmla="*/ 3 w 4"/>
                <a:gd name="T13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4">
                  <a:moveTo>
                    <a:pt x="3" y="1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1" y="2"/>
                  </a:cubicBezTo>
                  <a:cubicBezTo>
                    <a:pt x="1" y="2"/>
                    <a:pt x="2" y="3"/>
                    <a:pt x="3" y="4"/>
                  </a:cubicBezTo>
                  <a:cubicBezTo>
                    <a:pt x="4" y="3"/>
                    <a:pt x="4" y="1"/>
                    <a:pt x="4" y="0"/>
                  </a:cubicBezTo>
                  <a:cubicBezTo>
                    <a:pt x="4" y="0"/>
                    <a:pt x="3" y="1"/>
                    <a:pt x="3" y="1"/>
                  </a:cubicBezTo>
                  <a:close/>
                </a:path>
              </a:pathLst>
            </a:custGeom>
            <a:solidFill>
              <a:srgbClr val="7AC2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83" name="任意多边形: 形状 182">
              <a:extLst>
                <a:ext uri="{FF2B5EF4-FFF2-40B4-BE49-F238E27FC236}">
                  <a16:creationId xmlns:a16="http://schemas.microsoft.com/office/drawing/2014/main" id="{CDF39DA1-DE4C-4618-85E7-9CC8394CC892}"/>
                </a:ext>
              </a:extLst>
            </p:cNvPr>
            <p:cNvSpPr/>
            <p:nvPr/>
          </p:nvSpPr>
          <p:spPr bwMode="auto">
            <a:xfrm>
              <a:off x="9940977" y="2140802"/>
              <a:ext cx="245081" cy="566584"/>
            </a:xfrm>
            <a:custGeom>
              <a:avLst/>
              <a:gdLst>
                <a:gd name="T0" fmla="*/ 35 w 65"/>
                <a:gd name="T1" fmla="*/ 110 h 150"/>
                <a:gd name="T2" fmla="*/ 35 w 65"/>
                <a:gd name="T3" fmla="*/ 120 h 150"/>
                <a:gd name="T4" fmla="*/ 35 w 65"/>
                <a:gd name="T5" fmla="*/ 132 h 150"/>
                <a:gd name="T6" fmla="*/ 35 w 65"/>
                <a:gd name="T7" fmla="*/ 142 h 150"/>
                <a:gd name="T8" fmla="*/ 38 w 65"/>
                <a:gd name="T9" fmla="*/ 149 h 150"/>
                <a:gd name="T10" fmla="*/ 42 w 65"/>
                <a:gd name="T11" fmla="*/ 148 h 150"/>
                <a:gd name="T12" fmla="*/ 43 w 65"/>
                <a:gd name="T13" fmla="*/ 142 h 150"/>
                <a:gd name="T14" fmla="*/ 45 w 65"/>
                <a:gd name="T15" fmla="*/ 132 h 150"/>
                <a:gd name="T16" fmla="*/ 50 w 65"/>
                <a:gd name="T17" fmla="*/ 125 h 150"/>
                <a:gd name="T18" fmla="*/ 54 w 65"/>
                <a:gd name="T19" fmla="*/ 120 h 150"/>
                <a:gd name="T20" fmla="*/ 59 w 65"/>
                <a:gd name="T21" fmla="*/ 113 h 150"/>
                <a:gd name="T22" fmla="*/ 62 w 65"/>
                <a:gd name="T23" fmla="*/ 104 h 150"/>
                <a:gd name="T24" fmla="*/ 65 w 65"/>
                <a:gd name="T25" fmla="*/ 97 h 150"/>
                <a:gd name="T26" fmla="*/ 63 w 65"/>
                <a:gd name="T27" fmla="*/ 93 h 150"/>
                <a:gd name="T28" fmla="*/ 55 w 65"/>
                <a:gd name="T29" fmla="*/ 89 h 150"/>
                <a:gd name="T30" fmla="*/ 46 w 65"/>
                <a:gd name="T31" fmla="*/ 81 h 150"/>
                <a:gd name="T32" fmla="*/ 38 w 65"/>
                <a:gd name="T33" fmla="*/ 76 h 150"/>
                <a:gd name="T34" fmla="*/ 33 w 65"/>
                <a:gd name="T35" fmla="*/ 76 h 150"/>
                <a:gd name="T36" fmla="*/ 26 w 65"/>
                <a:gd name="T37" fmla="*/ 79 h 150"/>
                <a:gd name="T38" fmla="*/ 22 w 65"/>
                <a:gd name="T39" fmla="*/ 68 h 150"/>
                <a:gd name="T40" fmla="*/ 13 w 65"/>
                <a:gd name="T41" fmla="*/ 65 h 150"/>
                <a:gd name="T42" fmla="*/ 22 w 65"/>
                <a:gd name="T43" fmla="*/ 59 h 150"/>
                <a:gd name="T44" fmla="*/ 29 w 65"/>
                <a:gd name="T45" fmla="*/ 60 h 150"/>
                <a:gd name="T46" fmla="*/ 32 w 65"/>
                <a:gd name="T47" fmla="*/ 51 h 150"/>
                <a:gd name="T48" fmla="*/ 37 w 65"/>
                <a:gd name="T49" fmla="*/ 45 h 150"/>
                <a:gd name="T50" fmla="*/ 42 w 65"/>
                <a:gd name="T51" fmla="*/ 41 h 150"/>
                <a:gd name="T52" fmla="*/ 44 w 65"/>
                <a:gd name="T53" fmla="*/ 36 h 150"/>
                <a:gd name="T54" fmla="*/ 48 w 65"/>
                <a:gd name="T55" fmla="*/ 36 h 150"/>
                <a:gd name="T56" fmla="*/ 51 w 65"/>
                <a:gd name="T57" fmla="*/ 39 h 150"/>
                <a:gd name="T58" fmla="*/ 50 w 65"/>
                <a:gd name="T59" fmla="*/ 30 h 150"/>
                <a:gd name="T60" fmla="*/ 47 w 65"/>
                <a:gd name="T61" fmla="*/ 25 h 150"/>
                <a:gd name="T62" fmla="*/ 42 w 65"/>
                <a:gd name="T63" fmla="*/ 22 h 150"/>
                <a:gd name="T64" fmla="*/ 37 w 65"/>
                <a:gd name="T65" fmla="*/ 17 h 150"/>
                <a:gd name="T66" fmla="*/ 33 w 65"/>
                <a:gd name="T67" fmla="*/ 26 h 150"/>
                <a:gd name="T68" fmla="*/ 31 w 65"/>
                <a:gd name="T69" fmla="*/ 28 h 150"/>
                <a:gd name="T70" fmla="*/ 25 w 65"/>
                <a:gd name="T71" fmla="*/ 25 h 150"/>
                <a:gd name="T72" fmla="*/ 25 w 65"/>
                <a:gd name="T73" fmla="*/ 18 h 150"/>
                <a:gd name="T74" fmla="*/ 33 w 65"/>
                <a:gd name="T75" fmla="*/ 12 h 150"/>
                <a:gd name="T76" fmla="*/ 35 w 65"/>
                <a:gd name="T77" fmla="*/ 7 h 150"/>
                <a:gd name="T78" fmla="*/ 40 w 65"/>
                <a:gd name="T79" fmla="*/ 10 h 150"/>
                <a:gd name="T80" fmla="*/ 44 w 65"/>
                <a:gd name="T81" fmla="*/ 18 h 150"/>
                <a:gd name="T82" fmla="*/ 47 w 65"/>
                <a:gd name="T83" fmla="*/ 13 h 150"/>
                <a:gd name="T84" fmla="*/ 48 w 65"/>
                <a:gd name="T85" fmla="*/ 10 h 150"/>
                <a:gd name="T86" fmla="*/ 45 w 65"/>
                <a:gd name="T87" fmla="*/ 5 h 150"/>
                <a:gd name="T88" fmla="*/ 38 w 65"/>
                <a:gd name="T89" fmla="*/ 2 h 150"/>
                <a:gd name="T90" fmla="*/ 30 w 65"/>
                <a:gd name="T91" fmla="*/ 4 h 150"/>
                <a:gd name="T92" fmla="*/ 30 w 65"/>
                <a:gd name="T93" fmla="*/ 8 h 150"/>
                <a:gd name="T94" fmla="*/ 25 w 65"/>
                <a:gd name="T95" fmla="*/ 6 h 150"/>
                <a:gd name="T96" fmla="*/ 23 w 65"/>
                <a:gd name="T97" fmla="*/ 8 h 150"/>
                <a:gd name="T98" fmla="*/ 19 w 65"/>
                <a:gd name="T99" fmla="*/ 13 h 150"/>
                <a:gd name="T100" fmla="*/ 15 w 65"/>
                <a:gd name="T101" fmla="*/ 20 h 150"/>
                <a:gd name="T102" fmla="*/ 11 w 65"/>
                <a:gd name="T103" fmla="*/ 26 h 150"/>
                <a:gd name="T104" fmla="*/ 8 w 65"/>
                <a:gd name="T105" fmla="*/ 32 h 150"/>
                <a:gd name="T106" fmla="*/ 5 w 65"/>
                <a:gd name="T107" fmla="*/ 39 h 150"/>
                <a:gd name="T108" fmla="*/ 2 w 65"/>
                <a:gd name="T109" fmla="*/ 50 h 150"/>
                <a:gd name="T110" fmla="*/ 1 w 65"/>
                <a:gd name="T111" fmla="*/ 63 h 150"/>
                <a:gd name="T112" fmla="*/ 4 w 65"/>
                <a:gd name="T113" fmla="*/ 62 h 150"/>
                <a:gd name="T114" fmla="*/ 14 w 65"/>
                <a:gd name="T115" fmla="*/ 72 h 150"/>
                <a:gd name="T116" fmla="*/ 22 w 65"/>
                <a:gd name="T117" fmla="*/ 77 h 150"/>
                <a:gd name="T118" fmla="*/ 27 w 65"/>
                <a:gd name="T119" fmla="*/ 81 h 150"/>
                <a:gd name="T120" fmla="*/ 27 w 65"/>
                <a:gd name="T121" fmla="*/ 88 h 150"/>
                <a:gd name="T122" fmla="*/ 28 w 65"/>
                <a:gd name="T123" fmla="*/ 97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5" h="150">
                  <a:moveTo>
                    <a:pt x="30" y="103"/>
                  </a:moveTo>
                  <a:cubicBezTo>
                    <a:pt x="30" y="103"/>
                    <a:pt x="32" y="105"/>
                    <a:pt x="33" y="106"/>
                  </a:cubicBezTo>
                  <a:cubicBezTo>
                    <a:pt x="34" y="106"/>
                    <a:pt x="35" y="109"/>
                    <a:pt x="35" y="110"/>
                  </a:cubicBezTo>
                  <a:cubicBezTo>
                    <a:pt x="36" y="111"/>
                    <a:pt x="35" y="113"/>
                    <a:pt x="35" y="113"/>
                  </a:cubicBezTo>
                  <a:cubicBezTo>
                    <a:pt x="35" y="114"/>
                    <a:pt x="36" y="115"/>
                    <a:pt x="36" y="115"/>
                  </a:cubicBezTo>
                  <a:cubicBezTo>
                    <a:pt x="36" y="115"/>
                    <a:pt x="35" y="118"/>
                    <a:pt x="35" y="120"/>
                  </a:cubicBezTo>
                  <a:cubicBezTo>
                    <a:pt x="36" y="121"/>
                    <a:pt x="34" y="125"/>
                    <a:pt x="34" y="126"/>
                  </a:cubicBezTo>
                  <a:cubicBezTo>
                    <a:pt x="34" y="128"/>
                    <a:pt x="35" y="131"/>
                    <a:pt x="35" y="130"/>
                  </a:cubicBezTo>
                  <a:cubicBezTo>
                    <a:pt x="36" y="130"/>
                    <a:pt x="36" y="132"/>
                    <a:pt x="35" y="132"/>
                  </a:cubicBezTo>
                  <a:cubicBezTo>
                    <a:pt x="35" y="133"/>
                    <a:pt x="34" y="134"/>
                    <a:pt x="34" y="134"/>
                  </a:cubicBezTo>
                  <a:cubicBezTo>
                    <a:pt x="35" y="134"/>
                    <a:pt x="34" y="136"/>
                    <a:pt x="34" y="136"/>
                  </a:cubicBezTo>
                  <a:cubicBezTo>
                    <a:pt x="34" y="137"/>
                    <a:pt x="35" y="141"/>
                    <a:pt x="35" y="142"/>
                  </a:cubicBezTo>
                  <a:cubicBezTo>
                    <a:pt x="35" y="143"/>
                    <a:pt x="36" y="145"/>
                    <a:pt x="37" y="146"/>
                  </a:cubicBezTo>
                  <a:cubicBezTo>
                    <a:pt x="37" y="147"/>
                    <a:pt x="37" y="148"/>
                    <a:pt x="37" y="148"/>
                  </a:cubicBezTo>
                  <a:cubicBezTo>
                    <a:pt x="38" y="149"/>
                    <a:pt x="38" y="149"/>
                    <a:pt x="38" y="149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9" y="150"/>
                    <a:pt x="42" y="150"/>
                    <a:pt x="42" y="149"/>
                  </a:cubicBezTo>
                  <a:cubicBezTo>
                    <a:pt x="43" y="149"/>
                    <a:pt x="42" y="149"/>
                    <a:pt x="42" y="148"/>
                  </a:cubicBezTo>
                  <a:cubicBezTo>
                    <a:pt x="42" y="148"/>
                    <a:pt x="42" y="146"/>
                    <a:pt x="41" y="146"/>
                  </a:cubicBezTo>
                  <a:cubicBezTo>
                    <a:pt x="41" y="146"/>
                    <a:pt x="41" y="144"/>
                    <a:pt x="41" y="143"/>
                  </a:cubicBezTo>
                  <a:cubicBezTo>
                    <a:pt x="41" y="143"/>
                    <a:pt x="43" y="142"/>
                    <a:pt x="43" y="142"/>
                  </a:cubicBezTo>
                  <a:cubicBezTo>
                    <a:pt x="43" y="141"/>
                    <a:pt x="43" y="139"/>
                    <a:pt x="43" y="139"/>
                  </a:cubicBezTo>
                  <a:cubicBezTo>
                    <a:pt x="42" y="139"/>
                    <a:pt x="43" y="136"/>
                    <a:pt x="42" y="135"/>
                  </a:cubicBezTo>
                  <a:cubicBezTo>
                    <a:pt x="42" y="134"/>
                    <a:pt x="44" y="133"/>
                    <a:pt x="45" y="132"/>
                  </a:cubicBezTo>
                  <a:cubicBezTo>
                    <a:pt x="45" y="131"/>
                    <a:pt x="47" y="130"/>
                    <a:pt x="48" y="130"/>
                  </a:cubicBezTo>
                  <a:cubicBezTo>
                    <a:pt x="48" y="129"/>
                    <a:pt x="49" y="127"/>
                    <a:pt x="48" y="126"/>
                  </a:cubicBezTo>
                  <a:cubicBezTo>
                    <a:pt x="48" y="126"/>
                    <a:pt x="49" y="125"/>
                    <a:pt x="50" y="125"/>
                  </a:cubicBezTo>
                  <a:cubicBezTo>
                    <a:pt x="50" y="125"/>
                    <a:pt x="51" y="125"/>
                    <a:pt x="51" y="125"/>
                  </a:cubicBezTo>
                  <a:cubicBezTo>
                    <a:pt x="52" y="123"/>
                    <a:pt x="52" y="123"/>
                    <a:pt x="52" y="123"/>
                  </a:cubicBezTo>
                  <a:cubicBezTo>
                    <a:pt x="53" y="123"/>
                    <a:pt x="53" y="120"/>
                    <a:pt x="54" y="120"/>
                  </a:cubicBezTo>
                  <a:cubicBezTo>
                    <a:pt x="55" y="119"/>
                    <a:pt x="55" y="118"/>
                    <a:pt x="55" y="117"/>
                  </a:cubicBezTo>
                  <a:cubicBezTo>
                    <a:pt x="55" y="117"/>
                    <a:pt x="56" y="115"/>
                    <a:pt x="56" y="115"/>
                  </a:cubicBezTo>
                  <a:cubicBezTo>
                    <a:pt x="57" y="115"/>
                    <a:pt x="59" y="113"/>
                    <a:pt x="59" y="113"/>
                  </a:cubicBezTo>
                  <a:cubicBezTo>
                    <a:pt x="60" y="113"/>
                    <a:pt x="60" y="109"/>
                    <a:pt x="60" y="108"/>
                  </a:cubicBezTo>
                  <a:cubicBezTo>
                    <a:pt x="61" y="107"/>
                    <a:pt x="61" y="105"/>
                    <a:pt x="61" y="105"/>
                  </a:cubicBezTo>
                  <a:cubicBezTo>
                    <a:pt x="61" y="104"/>
                    <a:pt x="62" y="104"/>
                    <a:pt x="62" y="104"/>
                  </a:cubicBezTo>
                  <a:cubicBezTo>
                    <a:pt x="62" y="104"/>
                    <a:pt x="63" y="102"/>
                    <a:pt x="63" y="102"/>
                  </a:cubicBezTo>
                  <a:cubicBezTo>
                    <a:pt x="64" y="101"/>
                    <a:pt x="65" y="100"/>
                    <a:pt x="65" y="99"/>
                  </a:cubicBezTo>
                  <a:cubicBezTo>
                    <a:pt x="65" y="99"/>
                    <a:pt x="65" y="98"/>
                    <a:pt x="65" y="97"/>
                  </a:cubicBezTo>
                  <a:cubicBezTo>
                    <a:pt x="65" y="97"/>
                    <a:pt x="65" y="97"/>
                    <a:pt x="65" y="96"/>
                  </a:cubicBezTo>
                  <a:cubicBezTo>
                    <a:pt x="65" y="95"/>
                    <a:pt x="65" y="95"/>
                    <a:pt x="65" y="95"/>
                  </a:cubicBezTo>
                  <a:cubicBezTo>
                    <a:pt x="65" y="94"/>
                    <a:pt x="64" y="92"/>
                    <a:pt x="63" y="93"/>
                  </a:cubicBezTo>
                  <a:cubicBezTo>
                    <a:pt x="63" y="93"/>
                    <a:pt x="62" y="92"/>
                    <a:pt x="61" y="91"/>
                  </a:cubicBezTo>
                  <a:cubicBezTo>
                    <a:pt x="60" y="91"/>
                    <a:pt x="58" y="91"/>
                    <a:pt x="58" y="91"/>
                  </a:cubicBezTo>
                  <a:cubicBezTo>
                    <a:pt x="58" y="91"/>
                    <a:pt x="56" y="90"/>
                    <a:pt x="55" y="89"/>
                  </a:cubicBezTo>
                  <a:cubicBezTo>
                    <a:pt x="55" y="89"/>
                    <a:pt x="53" y="89"/>
                    <a:pt x="52" y="89"/>
                  </a:cubicBezTo>
                  <a:cubicBezTo>
                    <a:pt x="52" y="88"/>
                    <a:pt x="52" y="86"/>
                    <a:pt x="50" y="85"/>
                  </a:cubicBezTo>
                  <a:cubicBezTo>
                    <a:pt x="49" y="84"/>
                    <a:pt x="46" y="82"/>
                    <a:pt x="46" y="81"/>
                  </a:cubicBezTo>
                  <a:cubicBezTo>
                    <a:pt x="46" y="80"/>
                    <a:pt x="43" y="79"/>
                    <a:pt x="42" y="78"/>
                  </a:cubicBezTo>
                  <a:cubicBezTo>
                    <a:pt x="41" y="78"/>
                    <a:pt x="40" y="78"/>
                    <a:pt x="40" y="78"/>
                  </a:cubicBezTo>
                  <a:cubicBezTo>
                    <a:pt x="40" y="78"/>
                    <a:pt x="38" y="77"/>
                    <a:pt x="38" y="76"/>
                  </a:cubicBezTo>
                  <a:cubicBezTo>
                    <a:pt x="37" y="76"/>
                    <a:pt x="36" y="75"/>
                    <a:pt x="36" y="76"/>
                  </a:cubicBezTo>
                  <a:cubicBezTo>
                    <a:pt x="36" y="76"/>
                    <a:pt x="34" y="76"/>
                    <a:pt x="34" y="76"/>
                  </a:cubicBezTo>
                  <a:cubicBezTo>
                    <a:pt x="34" y="75"/>
                    <a:pt x="33" y="76"/>
                    <a:pt x="33" y="76"/>
                  </a:cubicBezTo>
                  <a:cubicBezTo>
                    <a:pt x="32" y="76"/>
                    <a:pt x="31" y="78"/>
                    <a:pt x="30" y="79"/>
                  </a:cubicBezTo>
                  <a:cubicBezTo>
                    <a:pt x="30" y="79"/>
                    <a:pt x="29" y="78"/>
                    <a:pt x="28" y="78"/>
                  </a:cubicBezTo>
                  <a:cubicBezTo>
                    <a:pt x="28" y="78"/>
                    <a:pt x="26" y="78"/>
                    <a:pt x="26" y="79"/>
                  </a:cubicBezTo>
                  <a:cubicBezTo>
                    <a:pt x="26" y="79"/>
                    <a:pt x="25" y="76"/>
                    <a:pt x="25" y="75"/>
                  </a:cubicBezTo>
                  <a:cubicBezTo>
                    <a:pt x="25" y="74"/>
                    <a:pt x="24" y="72"/>
                    <a:pt x="23" y="72"/>
                  </a:cubicBezTo>
                  <a:cubicBezTo>
                    <a:pt x="22" y="72"/>
                    <a:pt x="21" y="69"/>
                    <a:pt x="22" y="68"/>
                  </a:cubicBezTo>
                  <a:cubicBezTo>
                    <a:pt x="22" y="67"/>
                    <a:pt x="20" y="67"/>
                    <a:pt x="19" y="67"/>
                  </a:cubicBezTo>
                  <a:cubicBezTo>
                    <a:pt x="19" y="67"/>
                    <a:pt x="18" y="68"/>
                    <a:pt x="17" y="68"/>
                  </a:cubicBezTo>
                  <a:cubicBezTo>
                    <a:pt x="17" y="69"/>
                    <a:pt x="13" y="68"/>
                    <a:pt x="13" y="65"/>
                  </a:cubicBezTo>
                  <a:cubicBezTo>
                    <a:pt x="14" y="62"/>
                    <a:pt x="16" y="59"/>
                    <a:pt x="16" y="59"/>
                  </a:cubicBezTo>
                  <a:cubicBezTo>
                    <a:pt x="17" y="59"/>
                    <a:pt x="20" y="59"/>
                    <a:pt x="21" y="59"/>
                  </a:cubicBezTo>
                  <a:cubicBezTo>
                    <a:pt x="21" y="59"/>
                    <a:pt x="22" y="59"/>
                    <a:pt x="22" y="59"/>
                  </a:cubicBezTo>
                  <a:cubicBezTo>
                    <a:pt x="22" y="59"/>
                    <a:pt x="24" y="59"/>
                    <a:pt x="25" y="59"/>
                  </a:cubicBezTo>
                  <a:cubicBezTo>
                    <a:pt x="26" y="59"/>
                    <a:pt x="27" y="62"/>
                    <a:pt x="27" y="62"/>
                  </a:cubicBezTo>
                  <a:cubicBezTo>
                    <a:pt x="28" y="63"/>
                    <a:pt x="28" y="61"/>
                    <a:pt x="29" y="60"/>
                  </a:cubicBezTo>
                  <a:cubicBezTo>
                    <a:pt x="29" y="60"/>
                    <a:pt x="28" y="58"/>
                    <a:pt x="28" y="58"/>
                  </a:cubicBezTo>
                  <a:cubicBezTo>
                    <a:pt x="28" y="58"/>
                    <a:pt x="29" y="54"/>
                    <a:pt x="30" y="54"/>
                  </a:cubicBezTo>
                  <a:cubicBezTo>
                    <a:pt x="31" y="53"/>
                    <a:pt x="33" y="51"/>
                    <a:pt x="32" y="51"/>
                  </a:cubicBezTo>
                  <a:cubicBezTo>
                    <a:pt x="34" y="50"/>
                    <a:pt x="34" y="50"/>
                    <a:pt x="34" y="50"/>
                  </a:cubicBezTo>
                  <a:cubicBezTo>
                    <a:pt x="34" y="50"/>
                    <a:pt x="34" y="48"/>
                    <a:pt x="34" y="47"/>
                  </a:cubicBezTo>
                  <a:cubicBezTo>
                    <a:pt x="34" y="46"/>
                    <a:pt x="37" y="45"/>
                    <a:pt x="37" y="45"/>
                  </a:cubicBezTo>
                  <a:cubicBezTo>
                    <a:pt x="38" y="45"/>
                    <a:pt x="38" y="43"/>
                    <a:pt x="38" y="43"/>
                  </a:cubicBezTo>
                  <a:cubicBezTo>
                    <a:pt x="38" y="42"/>
                    <a:pt x="40" y="41"/>
                    <a:pt x="41" y="40"/>
                  </a:cubicBezTo>
                  <a:cubicBezTo>
                    <a:pt x="42" y="40"/>
                    <a:pt x="43" y="41"/>
                    <a:pt x="42" y="41"/>
                  </a:cubicBezTo>
                  <a:cubicBezTo>
                    <a:pt x="43" y="41"/>
                    <a:pt x="44" y="40"/>
                    <a:pt x="45" y="40"/>
                  </a:cubicBezTo>
                  <a:cubicBezTo>
                    <a:pt x="45" y="39"/>
                    <a:pt x="45" y="38"/>
                    <a:pt x="44" y="38"/>
                  </a:cubicBezTo>
                  <a:cubicBezTo>
                    <a:pt x="44" y="37"/>
                    <a:pt x="44" y="36"/>
                    <a:pt x="44" y="36"/>
                  </a:cubicBezTo>
                  <a:cubicBezTo>
                    <a:pt x="45" y="36"/>
                    <a:pt x="45" y="35"/>
                    <a:pt x="45" y="34"/>
                  </a:cubicBezTo>
                  <a:cubicBezTo>
                    <a:pt x="45" y="34"/>
                    <a:pt x="48" y="34"/>
                    <a:pt x="48" y="34"/>
                  </a:cubicBezTo>
                  <a:cubicBezTo>
                    <a:pt x="49" y="33"/>
                    <a:pt x="49" y="35"/>
                    <a:pt x="48" y="36"/>
                  </a:cubicBezTo>
                  <a:cubicBezTo>
                    <a:pt x="47" y="37"/>
                    <a:pt x="49" y="38"/>
                    <a:pt x="49" y="38"/>
                  </a:cubicBezTo>
                  <a:cubicBezTo>
                    <a:pt x="49" y="38"/>
                    <a:pt x="50" y="38"/>
                    <a:pt x="50" y="39"/>
                  </a:cubicBezTo>
                  <a:cubicBezTo>
                    <a:pt x="50" y="39"/>
                    <a:pt x="51" y="38"/>
                    <a:pt x="51" y="39"/>
                  </a:cubicBezTo>
                  <a:cubicBezTo>
                    <a:pt x="52" y="39"/>
                    <a:pt x="52" y="38"/>
                    <a:pt x="52" y="37"/>
                  </a:cubicBezTo>
                  <a:cubicBezTo>
                    <a:pt x="53" y="37"/>
                    <a:pt x="51" y="36"/>
                    <a:pt x="51" y="35"/>
                  </a:cubicBezTo>
                  <a:cubicBezTo>
                    <a:pt x="51" y="35"/>
                    <a:pt x="50" y="31"/>
                    <a:pt x="50" y="30"/>
                  </a:cubicBezTo>
                  <a:cubicBezTo>
                    <a:pt x="50" y="30"/>
                    <a:pt x="49" y="29"/>
                    <a:pt x="49" y="29"/>
                  </a:cubicBezTo>
                  <a:cubicBezTo>
                    <a:pt x="49" y="29"/>
                    <a:pt x="48" y="27"/>
                    <a:pt x="48" y="27"/>
                  </a:cubicBezTo>
                  <a:cubicBezTo>
                    <a:pt x="47" y="26"/>
                    <a:pt x="47" y="25"/>
                    <a:pt x="47" y="25"/>
                  </a:cubicBezTo>
                  <a:cubicBezTo>
                    <a:pt x="47" y="25"/>
                    <a:pt x="46" y="23"/>
                    <a:pt x="45" y="22"/>
                  </a:cubicBezTo>
                  <a:cubicBezTo>
                    <a:pt x="45" y="21"/>
                    <a:pt x="44" y="21"/>
                    <a:pt x="44" y="22"/>
                  </a:cubicBezTo>
                  <a:cubicBezTo>
                    <a:pt x="44" y="22"/>
                    <a:pt x="43" y="22"/>
                    <a:pt x="42" y="22"/>
                  </a:cubicBezTo>
                  <a:cubicBezTo>
                    <a:pt x="42" y="22"/>
                    <a:pt x="42" y="20"/>
                    <a:pt x="42" y="19"/>
                  </a:cubicBezTo>
                  <a:cubicBezTo>
                    <a:pt x="42" y="19"/>
                    <a:pt x="39" y="19"/>
                    <a:pt x="39" y="18"/>
                  </a:cubicBezTo>
                  <a:cubicBezTo>
                    <a:pt x="39" y="17"/>
                    <a:pt x="37" y="18"/>
                    <a:pt x="37" y="17"/>
                  </a:cubicBezTo>
                  <a:cubicBezTo>
                    <a:pt x="37" y="17"/>
                    <a:pt x="36" y="17"/>
                    <a:pt x="35" y="17"/>
                  </a:cubicBezTo>
                  <a:cubicBezTo>
                    <a:pt x="35" y="17"/>
                    <a:pt x="35" y="22"/>
                    <a:pt x="35" y="23"/>
                  </a:cubicBezTo>
                  <a:cubicBezTo>
                    <a:pt x="35" y="25"/>
                    <a:pt x="34" y="26"/>
                    <a:pt x="33" y="26"/>
                  </a:cubicBezTo>
                  <a:cubicBezTo>
                    <a:pt x="33" y="26"/>
                    <a:pt x="33" y="27"/>
                    <a:pt x="33" y="27"/>
                  </a:cubicBezTo>
                  <a:cubicBezTo>
                    <a:pt x="33" y="27"/>
                    <a:pt x="32" y="28"/>
                    <a:pt x="32" y="29"/>
                  </a:cubicBezTo>
                  <a:cubicBezTo>
                    <a:pt x="32" y="30"/>
                    <a:pt x="31" y="29"/>
                    <a:pt x="31" y="28"/>
                  </a:cubicBezTo>
                  <a:cubicBezTo>
                    <a:pt x="31" y="27"/>
                    <a:pt x="30" y="26"/>
                    <a:pt x="29" y="26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8" y="26"/>
                    <a:pt x="26" y="25"/>
                    <a:pt x="25" y="25"/>
                  </a:cubicBezTo>
                  <a:cubicBezTo>
                    <a:pt x="24" y="24"/>
                    <a:pt x="24" y="22"/>
                    <a:pt x="24" y="22"/>
                  </a:cubicBezTo>
                  <a:cubicBezTo>
                    <a:pt x="23" y="21"/>
                    <a:pt x="24" y="21"/>
                    <a:pt x="23" y="21"/>
                  </a:cubicBezTo>
                  <a:cubicBezTo>
                    <a:pt x="23" y="20"/>
                    <a:pt x="25" y="19"/>
                    <a:pt x="25" y="18"/>
                  </a:cubicBezTo>
                  <a:cubicBezTo>
                    <a:pt x="26" y="18"/>
                    <a:pt x="28" y="16"/>
                    <a:pt x="28" y="15"/>
                  </a:cubicBezTo>
                  <a:cubicBezTo>
                    <a:pt x="29" y="15"/>
                    <a:pt x="29" y="13"/>
                    <a:pt x="29" y="13"/>
                  </a:cubicBezTo>
                  <a:cubicBezTo>
                    <a:pt x="29" y="13"/>
                    <a:pt x="32" y="12"/>
                    <a:pt x="33" y="12"/>
                  </a:cubicBezTo>
                  <a:cubicBezTo>
                    <a:pt x="34" y="12"/>
                    <a:pt x="34" y="9"/>
                    <a:pt x="35" y="9"/>
                  </a:cubicBezTo>
                  <a:cubicBezTo>
                    <a:pt x="35" y="8"/>
                    <a:pt x="34" y="7"/>
                    <a:pt x="34" y="7"/>
                  </a:cubicBezTo>
                  <a:cubicBezTo>
                    <a:pt x="33" y="6"/>
                    <a:pt x="35" y="6"/>
                    <a:pt x="35" y="7"/>
                  </a:cubicBezTo>
                  <a:cubicBezTo>
                    <a:pt x="36" y="7"/>
                    <a:pt x="37" y="6"/>
                    <a:pt x="38" y="7"/>
                  </a:cubicBezTo>
                  <a:cubicBezTo>
                    <a:pt x="39" y="7"/>
                    <a:pt x="40" y="8"/>
                    <a:pt x="41" y="8"/>
                  </a:cubicBezTo>
                  <a:cubicBezTo>
                    <a:pt x="41" y="8"/>
                    <a:pt x="41" y="8"/>
                    <a:pt x="40" y="10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38" y="14"/>
                    <a:pt x="37" y="15"/>
                    <a:pt x="38" y="15"/>
                  </a:cubicBezTo>
                  <a:cubicBezTo>
                    <a:pt x="39" y="15"/>
                    <a:pt x="42" y="17"/>
                    <a:pt x="44" y="18"/>
                  </a:cubicBezTo>
                  <a:cubicBezTo>
                    <a:pt x="45" y="18"/>
                    <a:pt x="45" y="16"/>
                    <a:pt x="45" y="16"/>
                  </a:cubicBezTo>
                  <a:cubicBezTo>
                    <a:pt x="46" y="15"/>
                    <a:pt x="45" y="13"/>
                    <a:pt x="45" y="13"/>
                  </a:cubicBezTo>
                  <a:cubicBezTo>
                    <a:pt x="45" y="13"/>
                    <a:pt x="46" y="13"/>
                    <a:pt x="47" y="13"/>
                  </a:cubicBezTo>
                  <a:cubicBezTo>
                    <a:pt x="47" y="14"/>
                    <a:pt x="48" y="13"/>
                    <a:pt x="48" y="13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0"/>
                    <a:pt x="48" y="10"/>
                    <a:pt x="48" y="10"/>
                  </a:cubicBezTo>
                  <a:cubicBezTo>
                    <a:pt x="48" y="9"/>
                    <a:pt x="46" y="9"/>
                    <a:pt x="46" y="8"/>
                  </a:cubicBezTo>
                  <a:cubicBezTo>
                    <a:pt x="45" y="8"/>
                    <a:pt x="45" y="7"/>
                    <a:pt x="45" y="7"/>
                  </a:cubicBezTo>
                  <a:cubicBezTo>
                    <a:pt x="46" y="7"/>
                    <a:pt x="45" y="5"/>
                    <a:pt x="45" y="5"/>
                  </a:cubicBezTo>
                  <a:cubicBezTo>
                    <a:pt x="45" y="4"/>
                    <a:pt x="43" y="4"/>
                    <a:pt x="42" y="4"/>
                  </a:cubicBezTo>
                  <a:cubicBezTo>
                    <a:pt x="42" y="4"/>
                    <a:pt x="41" y="2"/>
                    <a:pt x="41" y="2"/>
                  </a:cubicBezTo>
                  <a:cubicBezTo>
                    <a:pt x="40" y="2"/>
                    <a:pt x="38" y="2"/>
                    <a:pt x="38" y="2"/>
                  </a:cubicBezTo>
                  <a:cubicBezTo>
                    <a:pt x="37" y="2"/>
                    <a:pt x="36" y="0"/>
                    <a:pt x="35" y="1"/>
                  </a:cubicBezTo>
                  <a:cubicBezTo>
                    <a:pt x="34" y="1"/>
                    <a:pt x="33" y="0"/>
                    <a:pt x="33" y="0"/>
                  </a:cubicBezTo>
                  <a:cubicBezTo>
                    <a:pt x="32" y="0"/>
                    <a:pt x="30" y="2"/>
                    <a:pt x="30" y="4"/>
                  </a:cubicBezTo>
                  <a:cubicBezTo>
                    <a:pt x="30" y="5"/>
                    <a:pt x="31" y="7"/>
                    <a:pt x="31" y="7"/>
                  </a:cubicBezTo>
                  <a:cubicBezTo>
                    <a:pt x="32" y="7"/>
                    <a:pt x="31" y="9"/>
                    <a:pt x="31" y="9"/>
                  </a:cubicBezTo>
                  <a:cubicBezTo>
                    <a:pt x="31" y="9"/>
                    <a:pt x="30" y="9"/>
                    <a:pt x="30" y="8"/>
                  </a:cubicBezTo>
                  <a:cubicBezTo>
                    <a:pt x="30" y="8"/>
                    <a:pt x="29" y="6"/>
                    <a:pt x="29" y="5"/>
                  </a:cubicBezTo>
                  <a:cubicBezTo>
                    <a:pt x="28" y="5"/>
                    <a:pt x="27" y="4"/>
                    <a:pt x="26" y="4"/>
                  </a:cubicBezTo>
                  <a:cubicBezTo>
                    <a:pt x="26" y="5"/>
                    <a:pt x="25" y="5"/>
                    <a:pt x="25" y="6"/>
                  </a:cubicBezTo>
                  <a:cubicBezTo>
                    <a:pt x="25" y="6"/>
                    <a:pt x="25" y="7"/>
                    <a:pt x="25" y="8"/>
                  </a:cubicBezTo>
                  <a:cubicBezTo>
                    <a:pt x="25" y="9"/>
                    <a:pt x="24" y="9"/>
                    <a:pt x="24" y="8"/>
                  </a:cubicBezTo>
                  <a:cubicBezTo>
                    <a:pt x="24" y="8"/>
                    <a:pt x="23" y="8"/>
                    <a:pt x="23" y="8"/>
                  </a:cubicBezTo>
                  <a:cubicBezTo>
                    <a:pt x="23" y="8"/>
                    <a:pt x="22" y="9"/>
                    <a:pt x="22" y="10"/>
                  </a:cubicBezTo>
                  <a:cubicBezTo>
                    <a:pt x="21" y="10"/>
                    <a:pt x="21" y="11"/>
                    <a:pt x="20" y="11"/>
                  </a:cubicBezTo>
                  <a:cubicBezTo>
                    <a:pt x="20" y="12"/>
                    <a:pt x="19" y="12"/>
                    <a:pt x="19" y="13"/>
                  </a:cubicBezTo>
                  <a:cubicBezTo>
                    <a:pt x="19" y="14"/>
                    <a:pt x="18" y="14"/>
                    <a:pt x="18" y="15"/>
                  </a:cubicBezTo>
                  <a:cubicBezTo>
                    <a:pt x="17" y="15"/>
                    <a:pt x="17" y="16"/>
                    <a:pt x="16" y="17"/>
                  </a:cubicBezTo>
                  <a:cubicBezTo>
                    <a:pt x="16" y="18"/>
                    <a:pt x="15" y="19"/>
                    <a:pt x="15" y="20"/>
                  </a:cubicBezTo>
                  <a:cubicBezTo>
                    <a:pt x="14" y="20"/>
                    <a:pt x="14" y="21"/>
                    <a:pt x="13" y="22"/>
                  </a:cubicBezTo>
                  <a:cubicBezTo>
                    <a:pt x="13" y="22"/>
                    <a:pt x="13" y="23"/>
                    <a:pt x="12" y="23"/>
                  </a:cubicBezTo>
                  <a:cubicBezTo>
                    <a:pt x="12" y="24"/>
                    <a:pt x="12" y="25"/>
                    <a:pt x="11" y="26"/>
                  </a:cubicBezTo>
                  <a:cubicBezTo>
                    <a:pt x="11" y="26"/>
                    <a:pt x="11" y="26"/>
                    <a:pt x="10" y="27"/>
                  </a:cubicBezTo>
                  <a:cubicBezTo>
                    <a:pt x="10" y="29"/>
                    <a:pt x="9" y="30"/>
                    <a:pt x="8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7" y="33"/>
                    <a:pt x="7" y="34"/>
                    <a:pt x="7" y="35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6" y="37"/>
                    <a:pt x="6" y="38"/>
                    <a:pt x="5" y="39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4" y="43"/>
                    <a:pt x="3" y="46"/>
                    <a:pt x="2" y="50"/>
                  </a:cubicBezTo>
                  <a:cubicBezTo>
                    <a:pt x="2" y="50"/>
                    <a:pt x="2" y="50"/>
                    <a:pt x="2" y="50"/>
                  </a:cubicBezTo>
                  <a:cubicBezTo>
                    <a:pt x="1" y="54"/>
                    <a:pt x="1" y="57"/>
                    <a:pt x="0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1" y="61"/>
                    <a:pt x="1" y="62"/>
                    <a:pt x="1" y="63"/>
                  </a:cubicBezTo>
                  <a:cubicBezTo>
                    <a:pt x="2" y="64"/>
                    <a:pt x="3" y="64"/>
                    <a:pt x="3" y="64"/>
                  </a:cubicBezTo>
                  <a:cubicBezTo>
                    <a:pt x="4" y="64"/>
                    <a:pt x="4" y="63"/>
                    <a:pt x="4" y="62"/>
                  </a:cubicBezTo>
                  <a:cubicBezTo>
                    <a:pt x="3" y="62"/>
                    <a:pt x="4" y="61"/>
                    <a:pt x="4" y="62"/>
                  </a:cubicBezTo>
                  <a:cubicBezTo>
                    <a:pt x="4" y="62"/>
                    <a:pt x="5" y="64"/>
                    <a:pt x="6" y="64"/>
                  </a:cubicBezTo>
                  <a:cubicBezTo>
                    <a:pt x="6" y="65"/>
                    <a:pt x="7" y="69"/>
                    <a:pt x="7" y="70"/>
                  </a:cubicBezTo>
                  <a:cubicBezTo>
                    <a:pt x="8" y="70"/>
                    <a:pt x="12" y="72"/>
                    <a:pt x="14" y="72"/>
                  </a:cubicBezTo>
                  <a:cubicBezTo>
                    <a:pt x="15" y="73"/>
                    <a:pt x="17" y="74"/>
                    <a:pt x="17" y="75"/>
                  </a:cubicBezTo>
                  <a:cubicBezTo>
                    <a:pt x="18" y="75"/>
                    <a:pt x="19" y="76"/>
                    <a:pt x="20" y="76"/>
                  </a:cubicBezTo>
                  <a:cubicBezTo>
                    <a:pt x="20" y="76"/>
                    <a:pt x="21" y="77"/>
                    <a:pt x="22" y="77"/>
                  </a:cubicBezTo>
                  <a:cubicBezTo>
                    <a:pt x="22" y="78"/>
                    <a:pt x="22" y="78"/>
                    <a:pt x="22" y="79"/>
                  </a:cubicBezTo>
                  <a:cubicBezTo>
                    <a:pt x="22" y="79"/>
                    <a:pt x="25" y="80"/>
                    <a:pt x="26" y="81"/>
                  </a:cubicBezTo>
                  <a:cubicBezTo>
                    <a:pt x="26" y="81"/>
                    <a:pt x="27" y="81"/>
                    <a:pt x="27" y="81"/>
                  </a:cubicBezTo>
                  <a:cubicBezTo>
                    <a:pt x="28" y="80"/>
                    <a:pt x="28" y="82"/>
                    <a:pt x="28" y="83"/>
                  </a:cubicBezTo>
                  <a:cubicBezTo>
                    <a:pt x="29" y="83"/>
                    <a:pt x="29" y="85"/>
                    <a:pt x="28" y="85"/>
                  </a:cubicBezTo>
                  <a:cubicBezTo>
                    <a:pt x="28" y="85"/>
                    <a:pt x="28" y="88"/>
                    <a:pt x="27" y="88"/>
                  </a:cubicBezTo>
                  <a:cubicBezTo>
                    <a:pt x="27" y="89"/>
                    <a:pt x="26" y="92"/>
                    <a:pt x="26" y="93"/>
                  </a:cubicBezTo>
                  <a:cubicBezTo>
                    <a:pt x="27" y="94"/>
                    <a:pt x="28" y="95"/>
                    <a:pt x="28" y="95"/>
                  </a:cubicBezTo>
                  <a:cubicBezTo>
                    <a:pt x="29" y="96"/>
                    <a:pt x="29" y="96"/>
                    <a:pt x="28" y="97"/>
                  </a:cubicBezTo>
                  <a:cubicBezTo>
                    <a:pt x="28" y="97"/>
                    <a:pt x="28" y="100"/>
                    <a:pt x="29" y="101"/>
                  </a:cubicBezTo>
                  <a:cubicBezTo>
                    <a:pt x="30" y="101"/>
                    <a:pt x="31" y="103"/>
                    <a:pt x="30" y="103"/>
                  </a:cubicBezTo>
                  <a:close/>
                </a:path>
              </a:pathLst>
            </a:custGeom>
            <a:solidFill>
              <a:srgbClr val="AFD7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184" name="直接连接符 183">
              <a:extLst>
                <a:ext uri="{FF2B5EF4-FFF2-40B4-BE49-F238E27FC236}">
                  <a16:creationId xmlns:a16="http://schemas.microsoft.com/office/drawing/2014/main" id="{AE61DB8C-37E5-4D2C-A5CE-21CEC5D47073}"/>
                </a:ext>
              </a:extLst>
            </p:cNvPr>
            <p:cNvSpPr/>
            <p:nvPr/>
          </p:nvSpPr>
          <p:spPr bwMode="auto">
            <a:xfrm>
              <a:off x="10099093" y="2296284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85" name="直接连接符 184">
              <a:extLst>
                <a:ext uri="{FF2B5EF4-FFF2-40B4-BE49-F238E27FC236}">
                  <a16:creationId xmlns:a16="http://schemas.microsoft.com/office/drawing/2014/main" id="{540381C3-1727-4DD7-ADA1-DB9389C35E05}"/>
                </a:ext>
              </a:extLst>
            </p:cNvPr>
            <p:cNvSpPr/>
            <p:nvPr/>
          </p:nvSpPr>
          <p:spPr bwMode="auto">
            <a:xfrm>
              <a:off x="10099093" y="2296284"/>
              <a:ext cx="0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86" name="任意多边形: 形状 185">
              <a:extLst>
                <a:ext uri="{FF2B5EF4-FFF2-40B4-BE49-F238E27FC236}">
                  <a16:creationId xmlns:a16="http://schemas.microsoft.com/office/drawing/2014/main" id="{F7A785D9-0BA9-4145-9F37-3C4F1DDC59B4}"/>
                </a:ext>
              </a:extLst>
            </p:cNvPr>
            <p:cNvSpPr/>
            <p:nvPr/>
          </p:nvSpPr>
          <p:spPr bwMode="auto">
            <a:xfrm>
              <a:off x="10060882" y="2080191"/>
              <a:ext cx="79058" cy="56658"/>
            </a:xfrm>
            <a:custGeom>
              <a:avLst/>
              <a:gdLst>
                <a:gd name="T0" fmla="*/ 3 w 21"/>
                <a:gd name="T1" fmla="*/ 14 h 15"/>
                <a:gd name="T2" fmla="*/ 7 w 21"/>
                <a:gd name="T3" fmla="*/ 13 h 15"/>
                <a:gd name="T4" fmla="*/ 7 w 21"/>
                <a:gd name="T5" fmla="*/ 12 h 15"/>
                <a:gd name="T6" fmla="*/ 7 w 21"/>
                <a:gd name="T7" fmla="*/ 12 h 15"/>
                <a:gd name="T8" fmla="*/ 9 w 21"/>
                <a:gd name="T9" fmla="*/ 9 h 15"/>
                <a:gd name="T10" fmla="*/ 13 w 21"/>
                <a:gd name="T11" fmla="*/ 7 h 15"/>
                <a:gd name="T12" fmla="*/ 16 w 21"/>
                <a:gd name="T13" fmla="*/ 5 h 15"/>
                <a:gd name="T14" fmla="*/ 17 w 21"/>
                <a:gd name="T15" fmla="*/ 3 h 15"/>
                <a:gd name="T16" fmla="*/ 19 w 21"/>
                <a:gd name="T17" fmla="*/ 2 h 15"/>
                <a:gd name="T18" fmla="*/ 20 w 21"/>
                <a:gd name="T19" fmla="*/ 0 h 15"/>
                <a:gd name="T20" fmla="*/ 12 w 21"/>
                <a:gd name="T21" fmla="*/ 5 h 15"/>
                <a:gd name="T22" fmla="*/ 12 w 21"/>
                <a:gd name="T23" fmla="*/ 5 h 15"/>
                <a:gd name="T24" fmla="*/ 9 w 21"/>
                <a:gd name="T25" fmla="*/ 7 h 15"/>
                <a:gd name="T26" fmla="*/ 6 w 21"/>
                <a:gd name="T27" fmla="*/ 9 h 15"/>
                <a:gd name="T28" fmla="*/ 5 w 21"/>
                <a:gd name="T29" fmla="*/ 10 h 15"/>
                <a:gd name="T30" fmla="*/ 3 w 21"/>
                <a:gd name="T31" fmla="*/ 12 h 15"/>
                <a:gd name="T32" fmla="*/ 2 w 21"/>
                <a:gd name="T33" fmla="*/ 12 h 15"/>
                <a:gd name="T34" fmla="*/ 0 w 21"/>
                <a:gd name="T35" fmla="*/ 15 h 15"/>
                <a:gd name="T36" fmla="*/ 3 w 21"/>
                <a:gd name="T3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" h="15">
                  <a:moveTo>
                    <a:pt x="3" y="14"/>
                  </a:moveTo>
                  <a:cubicBezTo>
                    <a:pt x="5" y="14"/>
                    <a:pt x="7" y="14"/>
                    <a:pt x="7" y="13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8" y="12"/>
                    <a:pt x="9" y="10"/>
                    <a:pt x="9" y="9"/>
                  </a:cubicBezTo>
                  <a:cubicBezTo>
                    <a:pt x="10" y="8"/>
                    <a:pt x="12" y="7"/>
                    <a:pt x="13" y="7"/>
                  </a:cubicBezTo>
                  <a:cubicBezTo>
                    <a:pt x="14" y="7"/>
                    <a:pt x="15" y="5"/>
                    <a:pt x="16" y="5"/>
                  </a:cubicBezTo>
                  <a:cubicBezTo>
                    <a:pt x="16" y="5"/>
                    <a:pt x="17" y="4"/>
                    <a:pt x="17" y="3"/>
                  </a:cubicBezTo>
                  <a:cubicBezTo>
                    <a:pt x="17" y="3"/>
                    <a:pt x="19" y="2"/>
                    <a:pt x="19" y="2"/>
                  </a:cubicBezTo>
                  <a:cubicBezTo>
                    <a:pt x="20" y="1"/>
                    <a:pt x="21" y="0"/>
                    <a:pt x="20" y="0"/>
                  </a:cubicBezTo>
                  <a:cubicBezTo>
                    <a:pt x="20" y="0"/>
                    <a:pt x="16" y="3"/>
                    <a:pt x="12" y="5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1" y="6"/>
                    <a:pt x="10" y="6"/>
                    <a:pt x="9" y="7"/>
                  </a:cubicBezTo>
                  <a:cubicBezTo>
                    <a:pt x="8" y="8"/>
                    <a:pt x="7" y="8"/>
                    <a:pt x="6" y="9"/>
                  </a:cubicBezTo>
                  <a:cubicBezTo>
                    <a:pt x="6" y="9"/>
                    <a:pt x="6" y="9"/>
                    <a:pt x="5" y="10"/>
                  </a:cubicBezTo>
                  <a:cubicBezTo>
                    <a:pt x="5" y="10"/>
                    <a:pt x="4" y="11"/>
                    <a:pt x="3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1" y="13"/>
                    <a:pt x="0" y="14"/>
                    <a:pt x="0" y="15"/>
                  </a:cubicBezTo>
                  <a:cubicBezTo>
                    <a:pt x="1" y="15"/>
                    <a:pt x="3" y="14"/>
                    <a:pt x="3" y="14"/>
                  </a:cubicBezTo>
                  <a:close/>
                </a:path>
              </a:pathLst>
            </a:custGeom>
            <a:solidFill>
              <a:srgbClr val="AFD7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87" name="任意多边形: 形状 186">
              <a:extLst>
                <a:ext uri="{FF2B5EF4-FFF2-40B4-BE49-F238E27FC236}">
                  <a16:creationId xmlns:a16="http://schemas.microsoft.com/office/drawing/2014/main" id="{6665BB66-C6AA-4DC3-B096-EC4A49030241}"/>
                </a:ext>
              </a:extLst>
            </p:cNvPr>
            <p:cNvSpPr/>
            <p:nvPr/>
          </p:nvSpPr>
          <p:spPr bwMode="auto">
            <a:xfrm>
              <a:off x="10242716" y="2167155"/>
              <a:ext cx="79058" cy="163387"/>
            </a:xfrm>
            <a:custGeom>
              <a:avLst/>
              <a:gdLst>
                <a:gd name="T0" fmla="*/ 20 w 21"/>
                <a:gd name="T1" fmla="*/ 41 h 43"/>
                <a:gd name="T2" fmla="*/ 20 w 21"/>
                <a:gd name="T3" fmla="*/ 42 h 43"/>
                <a:gd name="T4" fmla="*/ 21 w 21"/>
                <a:gd name="T5" fmla="*/ 41 h 43"/>
                <a:gd name="T6" fmla="*/ 21 w 21"/>
                <a:gd name="T7" fmla="*/ 35 h 43"/>
                <a:gd name="T8" fmla="*/ 21 w 21"/>
                <a:gd name="T9" fmla="*/ 35 h 43"/>
                <a:gd name="T10" fmla="*/ 21 w 21"/>
                <a:gd name="T11" fmla="*/ 35 h 43"/>
                <a:gd name="T12" fmla="*/ 21 w 21"/>
                <a:gd name="T13" fmla="*/ 0 h 43"/>
                <a:gd name="T14" fmla="*/ 20 w 21"/>
                <a:gd name="T15" fmla="*/ 2 h 43"/>
                <a:gd name="T16" fmla="*/ 17 w 21"/>
                <a:gd name="T17" fmla="*/ 6 h 43"/>
                <a:gd name="T18" fmla="*/ 15 w 21"/>
                <a:gd name="T19" fmla="*/ 7 h 43"/>
                <a:gd name="T20" fmla="*/ 15 w 21"/>
                <a:gd name="T21" fmla="*/ 8 h 43"/>
                <a:gd name="T22" fmla="*/ 12 w 21"/>
                <a:gd name="T23" fmla="*/ 10 h 43"/>
                <a:gd name="T24" fmla="*/ 12 w 21"/>
                <a:gd name="T25" fmla="*/ 15 h 43"/>
                <a:gd name="T26" fmla="*/ 14 w 21"/>
                <a:gd name="T27" fmla="*/ 18 h 43"/>
                <a:gd name="T28" fmla="*/ 14 w 21"/>
                <a:gd name="T29" fmla="*/ 20 h 43"/>
                <a:gd name="T30" fmla="*/ 15 w 21"/>
                <a:gd name="T31" fmla="*/ 21 h 43"/>
                <a:gd name="T32" fmla="*/ 12 w 21"/>
                <a:gd name="T33" fmla="*/ 22 h 43"/>
                <a:gd name="T34" fmla="*/ 11 w 21"/>
                <a:gd name="T35" fmla="*/ 24 h 43"/>
                <a:gd name="T36" fmla="*/ 9 w 21"/>
                <a:gd name="T37" fmla="*/ 25 h 43"/>
                <a:gd name="T38" fmla="*/ 9 w 21"/>
                <a:gd name="T39" fmla="*/ 24 h 43"/>
                <a:gd name="T40" fmla="*/ 9 w 21"/>
                <a:gd name="T41" fmla="*/ 22 h 43"/>
                <a:gd name="T42" fmla="*/ 8 w 21"/>
                <a:gd name="T43" fmla="*/ 18 h 43"/>
                <a:gd name="T44" fmla="*/ 6 w 21"/>
                <a:gd name="T45" fmla="*/ 16 h 43"/>
                <a:gd name="T46" fmla="*/ 7 w 21"/>
                <a:gd name="T47" fmla="*/ 15 h 43"/>
                <a:gd name="T48" fmla="*/ 5 w 21"/>
                <a:gd name="T49" fmla="*/ 15 h 43"/>
                <a:gd name="T50" fmla="*/ 4 w 21"/>
                <a:gd name="T51" fmla="*/ 18 h 43"/>
                <a:gd name="T52" fmla="*/ 5 w 21"/>
                <a:gd name="T53" fmla="*/ 21 h 43"/>
                <a:gd name="T54" fmla="*/ 5 w 21"/>
                <a:gd name="T55" fmla="*/ 22 h 43"/>
                <a:gd name="T56" fmla="*/ 4 w 21"/>
                <a:gd name="T57" fmla="*/ 25 h 43"/>
                <a:gd name="T58" fmla="*/ 3 w 21"/>
                <a:gd name="T59" fmla="*/ 26 h 43"/>
                <a:gd name="T60" fmla="*/ 6 w 21"/>
                <a:gd name="T61" fmla="*/ 26 h 43"/>
                <a:gd name="T62" fmla="*/ 8 w 21"/>
                <a:gd name="T63" fmla="*/ 27 h 43"/>
                <a:gd name="T64" fmla="*/ 6 w 21"/>
                <a:gd name="T65" fmla="*/ 28 h 43"/>
                <a:gd name="T66" fmla="*/ 4 w 21"/>
                <a:gd name="T67" fmla="*/ 30 h 43"/>
                <a:gd name="T68" fmla="*/ 5 w 21"/>
                <a:gd name="T69" fmla="*/ 31 h 43"/>
                <a:gd name="T70" fmla="*/ 6 w 21"/>
                <a:gd name="T71" fmla="*/ 33 h 43"/>
                <a:gd name="T72" fmla="*/ 6 w 21"/>
                <a:gd name="T73" fmla="*/ 35 h 43"/>
                <a:gd name="T74" fmla="*/ 3 w 21"/>
                <a:gd name="T75" fmla="*/ 35 h 43"/>
                <a:gd name="T76" fmla="*/ 0 w 21"/>
                <a:gd name="T77" fmla="*/ 38 h 43"/>
                <a:gd name="T78" fmla="*/ 1 w 21"/>
                <a:gd name="T79" fmla="*/ 42 h 43"/>
                <a:gd name="T80" fmla="*/ 3 w 21"/>
                <a:gd name="T81" fmla="*/ 43 h 43"/>
                <a:gd name="T82" fmla="*/ 6 w 21"/>
                <a:gd name="T83" fmla="*/ 43 h 43"/>
                <a:gd name="T84" fmla="*/ 8 w 21"/>
                <a:gd name="T85" fmla="*/ 40 h 43"/>
                <a:gd name="T86" fmla="*/ 11 w 21"/>
                <a:gd name="T87" fmla="*/ 36 h 43"/>
                <a:gd name="T88" fmla="*/ 14 w 21"/>
                <a:gd name="T89" fmla="*/ 35 h 43"/>
                <a:gd name="T90" fmla="*/ 15 w 21"/>
                <a:gd name="T91" fmla="*/ 38 h 43"/>
                <a:gd name="T92" fmla="*/ 17 w 21"/>
                <a:gd name="T93" fmla="*/ 38 h 43"/>
                <a:gd name="T94" fmla="*/ 17 w 21"/>
                <a:gd name="T95" fmla="*/ 37 h 43"/>
                <a:gd name="T96" fmla="*/ 20 w 21"/>
                <a:gd name="T97" fmla="*/ 39 h 43"/>
                <a:gd name="T98" fmla="*/ 20 w 21"/>
                <a:gd name="T99" fmla="*/ 4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1" h="43">
                  <a:moveTo>
                    <a:pt x="20" y="41"/>
                  </a:moveTo>
                  <a:cubicBezTo>
                    <a:pt x="19" y="41"/>
                    <a:pt x="19" y="42"/>
                    <a:pt x="20" y="42"/>
                  </a:cubicBezTo>
                  <a:cubicBezTo>
                    <a:pt x="20" y="43"/>
                    <a:pt x="21" y="42"/>
                    <a:pt x="21" y="41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1" y="35"/>
                    <a:pt x="21" y="35"/>
                    <a:pt x="21" y="35"/>
                  </a:cubicBezTo>
                  <a:cubicBezTo>
                    <a:pt x="20" y="35"/>
                    <a:pt x="20" y="35"/>
                    <a:pt x="21" y="35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0" y="1"/>
                    <a:pt x="20" y="1"/>
                    <a:pt x="20" y="2"/>
                  </a:cubicBezTo>
                  <a:cubicBezTo>
                    <a:pt x="19" y="2"/>
                    <a:pt x="17" y="5"/>
                    <a:pt x="17" y="6"/>
                  </a:cubicBezTo>
                  <a:cubicBezTo>
                    <a:pt x="16" y="6"/>
                    <a:pt x="16" y="7"/>
                    <a:pt x="15" y="7"/>
                  </a:cubicBezTo>
                  <a:cubicBezTo>
                    <a:pt x="15" y="8"/>
                    <a:pt x="15" y="8"/>
                    <a:pt x="15" y="8"/>
                  </a:cubicBezTo>
                  <a:cubicBezTo>
                    <a:pt x="15" y="8"/>
                    <a:pt x="12" y="9"/>
                    <a:pt x="12" y="10"/>
                  </a:cubicBezTo>
                  <a:cubicBezTo>
                    <a:pt x="12" y="11"/>
                    <a:pt x="12" y="14"/>
                    <a:pt x="12" y="15"/>
                  </a:cubicBezTo>
                  <a:cubicBezTo>
                    <a:pt x="12" y="16"/>
                    <a:pt x="13" y="18"/>
                    <a:pt x="14" y="18"/>
                  </a:cubicBezTo>
                  <a:cubicBezTo>
                    <a:pt x="15" y="18"/>
                    <a:pt x="14" y="19"/>
                    <a:pt x="14" y="20"/>
                  </a:cubicBezTo>
                  <a:cubicBezTo>
                    <a:pt x="14" y="20"/>
                    <a:pt x="15" y="20"/>
                    <a:pt x="15" y="21"/>
                  </a:cubicBezTo>
                  <a:cubicBezTo>
                    <a:pt x="15" y="21"/>
                    <a:pt x="13" y="22"/>
                    <a:pt x="12" y="22"/>
                  </a:cubicBezTo>
                  <a:cubicBezTo>
                    <a:pt x="12" y="22"/>
                    <a:pt x="11" y="23"/>
                    <a:pt x="11" y="24"/>
                  </a:cubicBezTo>
                  <a:cubicBezTo>
                    <a:pt x="11" y="24"/>
                    <a:pt x="9" y="24"/>
                    <a:pt x="9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3"/>
                    <a:pt x="9" y="22"/>
                    <a:pt x="9" y="22"/>
                  </a:cubicBezTo>
                  <a:cubicBezTo>
                    <a:pt x="8" y="22"/>
                    <a:pt x="8" y="19"/>
                    <a:pt x="8" y="18"/>
                  </a:cubicBezTo>
                  <a:cubicBezTo>
                    <a:pt x="7" y="17"/>
                    <a:pt x="6" y="16"/>
                    <a:pt x="6" y="16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4"/>
                    <a:pt x="5" y="14"/>
                    <a:pt x="5" y="15"/>
                  </a:cubicBezTo>
                  <a:cubicBezTo>
                    <a:pt x="4" y="15"/>
                    <a:pt x="4" y="18"/>
                    <a:pt x="4" y="18"/>
                  </a:cubicBezTo>
                  <a:cubicBezTo>
                    <a:pt x="4" y="19"/>
                    <a:pt x="5" y="21"/>
                    <a:pt x="5" y="21"/>
                  </a:cubicBezTo>
                  <a:cubicBezTo>
                    <a:pt x="5" y="21"/>
                    <a:pt x="5" y="22"/>
                    <a:pt x="5" y="22"/>
                  </a:cubicBezTo>
                  <a:cubicBezTo>
                    <a:pt x="4" y="22"/>
                    <a:pt x="4" y="24"/>
                    <a:pt x="4" y="25"/>
                  </a:cubicBezTo>
                  <a:cubicBezTo>
                    <a:pt x="4" y="25"/>
                    <a:pt x="3" y="26"/>
                    <a:pt x="3" y="26"/>
                  </a:cubicBezTo>
                  <a:cubicBezTo>
                    <a:pt x="3" y="27"/>
                    <a:pt x="5" y="26"/>
                    <a:pt x="6" y="26"/>
                  </a:cubicBezTo>
                  <a:cubicBezTo>
                    <a:pt x="7" y="26"/>
                    <a:pt x="8" y="27"/>
                    <a:pt x="8" y="27"/>
                  </a:cubicBezTo>
                  <a:cubicBezTo>
                    <a:pt x="8" y="27"/>
                    <a:pt x="6" y="27"/>
                    <a:pt x="6" y="28"/>
                  </a:cubicBezTo>
                  <a:cubicBezTo>
                    <a:pt x="5" y="28"/>
                    <a:pt x="4" y="29"/>
                    <a:pt x="4" y="30"/>
                  </a:cubicBezTo>
                  <a:cubicBezTo>
                    <a:pt x="3" y="30"/>
                    <a:pt x="4" y="31"/>
                    <a:pt x="5" y="31"/>
                  </a:cubicBezTo>
                  <a:cubicBezTo>
                    <a:pt x="5" y="31"/>
                    <a:pt x="6" y="33"/>
                    <a:pt x="6" y="33"/>
                  </a:cubicBezTo>
                  <a:cubicBezTo>
                    <a:pt x="7" y="33"/>
                    <a:pt x="7" y="34"/>
                    <a:pt x="6" y="35"/>
                  </a:cubicBezTo>
                  <a:cubicBezTo>
                    <a:pt x="6" y="35"/>
                    <a:pt x="4" y="34"/>
                    <a:pt x="3" y="35"/>
                  </a:cubicBezTo>
                  <a:cubicBezTo>
                    <a:pt x="2" y="35"/>
                    <a:pt x="0" y="37"/>
                    <a:pt x="0" y="38"/>
                  </a:cubicBezTo>
                  <a:cubicBezTo>
                    <a:pt x="0" y="39"/>
                    <a:pt x="0" y="41"/>
                    <a:pt x="1" y="42"/>
                  </a:cubicBezTo>
                  <a:cubicBezTo>
                    <a:pt x="1" y="42"/>
                    <a:pt x="3" y="43"/>
                    <a:pt x="3" y="43"/>
                  </a:cubicBezTo>
                  <a:cubicBezTo>
                    <a:pt x="4" y="43"/>
                    <a:pt x="6" y="43"/>
                    <a:pt x="6" y="43"/>
                  </a:cubicBezTo>
                  <a:cubicBezTo>
                    <a:pt x="6" y="43"/>
                    <a:pt x="8" y="41"/>
                    <a:pt x="8" y="40"/>
                  </a:cubicBezTo>
                  <a:cubicBezTo>
                    <a:pt x="8" y="39"/>
                    <a:pt x="10" y="37"/>
                    <a:pt x="11" y="36"/>
                  </a:cubicBezTo>
                  <a:cubicBezTo>
                    <a:pt x="11" y="36"/>
                    <a:pt x="14" y="36"/>
                    <a:pt x="14" y="35"/>
                  </a:cubicBezTo>
                  <a:cubicBezTo>
                    <a:pt x="15" y="35"/>
                    <a:pt x="15" y="37"/>
                    <a:pt x="15" y="38"/>
                  </a:cubicBezTo>
                  <a:cubicBezTo>
                    <a:pt x="15" y="40"/>
                    <a:pt x="17" y="39"/>
                    <a:pt x="17" y="38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7"/>
                    <a:pt x="19" y="38"/>
                    <a:pt x="20" y="39"/>
                  </a:cubicBezTo>
                  <a:cubicBezTo>
                    <a:pt x="20" y="40"/>
                    <a:pt x="20" y="41"/>
                    <a:pt x="20" y="41"/>
                  </a:cubicBezTo>
                  <a:close/>
                </a:path>
              </a:pathLst>
            </a:custGeom>
            <a:solidFill>
              <a:srgbClr val="AFD7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88" name="任意多边形: 形状 187">
              <a:extLst>
                <a:ext uri="{FF2B5EF4-FFF2-40B4-BE49-F238E27FC236}">
                  <a16:creationId xmlns:a16="http://schemas.microsoft.com/office/drawing/2014/main" id="{0CE5FD90-7ADC-44A2-86AC-7ECF011E726D}"/>
                </a:ext>
              </a:extLst>
            </p:cNvPr>
            <p:cNvSpPr/>
            <p:nvPr/>
          </p:nvSpPr>
          <p:spPr bwMode="auto">
            <a:xfrm>
              <a:off x="10220316" y="2330542"/>
              <a:ext cx="101459" cy="263527"/>
            </a:xfrm>
            <a:custGeom>
              <a:avLst/>
              <a:gdLst>
                <a:gd name="T0" fmla="*/ 27 w 27"/>
                <a:gd name="T1" fmla="*/ 5 h 70"/>
                <a:gd name="T2" fmla="*/ 26 w 27"/>
                <a:gd name="T3" fmla="*/ 4 h 70"/>
                <a:gd name="T4" fmla="*/ 23 w 27"/>
                <a:gd name="T5" fmla="*/ 1 h 70"/>
                <a:gd name="T6" fmla="*/ 23 w 27"/>
                <a:gd name="T7" fmla="*/ 0 h 70"/>
                <a:gd name="T8" fmla="*/ 19 w 27"/>
                <a:gd name="T9" fmla="*/ 0 h 70"/>
                <a:gd name="T10" fmla="*/ 13 w 27"/>
                <a:gd name="T11" fmla="*/ 1 h 70"/>
                <a:gd name="T12" fmla="*/ 10 w 27"/>
                <a:gd name="T13" fmla="*/ 1 h 70"/>
                <a:gd name="T14" fmla="*/ 7 w 27"/>
                <a:gd name="T15" fmla="*/ 3 h 70"/>
                <a:gd name="T16" fmla="*/ 6 w 27"/>
                <a:gd name="T17" fmla="*/ 7 h 70"/>
                <a:gd name="T18" fmla="*/ 5 w 27"/>
                <a:gd name="T19" fmla="*/ 9 h 70"/>
                <a:gd name="T20" fmla="*/ 4 w 27"/>
                <a:gd name="T21" fmla="*/ 10 h 70"/>
                <a:gd name="T22" fmla="*/ 1 w 27"/>
                <a:gd name="T23" fmla="*/ 16 h 70"/>
                <a:gd name="T24" fmla="*/ 0 w 27"/>
                <a:gd name="T25" fmla="*/ 24 h 70"/>
                <a:gd name="T26" fmla="*/ 2 w 27"/>
                <a:gd name="T27" fmla="*/ 30 h 70"/>
                <a:gd name="T28" fmla="*/ 6 w 27"/>
                <a:gd name="T29" fmla="*/ 34 h 70"/>
                <a:gd name="T30" fmla="*/ 11 w 27"/>
                <a:gd name="T31" fmla="*/ 35 h 70"/>
                <a:gd name="T32" fmla="*/ 13 w 27"/>
                <a:gd name="T33" fmla="*/ 33 h 70"/>
                <a:gd name="T34" fmla="*/ 15 w 27"/>
                <a:gd name="T35" fmla="*/ 33 h 70"/>
                <a:gd name="T36" fmla="*/ 16 w 27"/>
                <a:gd name="T37" fmla="*/ 33 h 70"/>
                <a:gd name="T38" fmla="*/ 18 w 27"/>
                <a:gd name="T39" fmla="*/ 35 h 70"/>
                <a:gd name="T40" fmla="*/ 21 w 27"/>
                <a:gd name="T41" fmla="*/ 35 h 70"/>
                <a:gd name="T42" fmla="*/ 21 w 27"/>
                <a:gd name="T43" fmla="*/ 39 h 70"/>
                <a:gd name="T44" fmla="*/ 22 w 27"/>
                <a:gd name="T45" fmla="*/ 45 h 70"/>
                <a:gd name="T46" fmla="*/ 24 w 27"/>
                <a:gd name="T47" fmla="*/ 51 h 70"/>
                <a:gd name="T48" fmla="*/ 23 w 27"/>
                <a:gd name="T49" fmla="*/ 57 h 70"/>
                <a:gd name="T50" fmla="*/ 25 w 27"/>
                <a:gd name="T51" fmla="*/ 63 h 70"/>
                <a:gd name="T52" fmla="*/ 26 w 27"/>
                <a:gd name="T53" fmla="*/ 68 h 70"/>
                <a:gd name="T54" fmla="*/ 27 w 27"/>
                <a:gd name="T55" fmla="*/ 70 h 70"/>
                <a:gd name="T56" fmla="*/ 27 w 27"/>
                <a:gd name="T57" fmla="*/ 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" h="70">
                  <a:moveTo>
                    <a:pt x="27" y="5"/>
                  </a:moveTo>
                  <a:cubicBezTo>
                    <a:pt x="27" y="5"/>
                    <a:pt x="26" y="4"/>
                    <a:pt x="26" y="4"/>
                  </a:cubicBezTo>
                  <a:cubicBezTo>
                    <a:pt x="24" y="4"/>
                    <a:pt x="23" y="2"/>
                    <a:pt x="23" y="1"/>
                  </a:cubicBezTo>
                  <a:cubicBezTo>
                    <a:pt x="23" y="1"/>
                    <a:pt x="23" y="0"/>
                    <a:pt x="23" y="0"/>
                  </a:cubicBezTo>
                  <a:cubicBezTo>
                    <a:pt x="23" y="0"/>
                    <a:pt x="20" y="0"/>
                    <a:pt x="19" y="0"/>
                  </a:cubicBezTo>
                  <a:cubicBezTo>
                    <a:pt x="18" y="0"/>
                    <a:pt x="14" y="1"/>
                    <a:pt x="13" y="1"/>
                  </a:cubicBezTo>
                  <a:cubicBezTo>
                    <a:pt x="12" y="2"/>
                    <a:pt x="10" y="1"/>
                    <a:pt x="10" y="1"/>
                  </a:cubicBezTo>
                  <a:cubicBezTo>
                    <a:pt x="9" y="1"/>
                    <a:pt x="8" y="2"/>
                    <a:pt x="7" y="3"/>
                  </a:cubicBezTo>
                  <a:cubicBezTo>
                    <a:pt x="7" y="3"/>
                    <a:pt x="6" y="5"/>
                    <a:pt x="6" y="7"/>
                  </a:cubicBezTo>
                  <a:cubicBezTo>
                    <a:pt x="6" y="7"/>
                    <a:pt x="6" y="7"/>
                    <a:pt x="5" y="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3" y="11"/>
                    <a:pt x="1" y="15"/>
                    <a:pt x="1" y="16"/>
                  </a:cubicBezTo>
                  <a:cubicBezTo>
                    <a:pt x="0" y="16"/>
                    <a:pt x="0" y="22"/>
                    <a:pt x="0" y="24"/>
                  </a:cubicBezTo>
                  <a:cubicBezTo>
                    <a:pt x="0" y="25"/>
                    <a:pt x="2" y="29"/>
                    <a:pt x="2" y="30"/>
                  </a:cubicBezTo>
                  <a:cubicBezTo>
                    <a:pt x="2" y="31"/>
                    <a:pt x="5" y="34"/>
                    <a:pt x="6" y="34"/>
                  </a:cubicBezTo>
                  <a:cubicBezTo>
                    <a:pt x="7" y="35"/>
                    <a:pt x="10" y="35"/>
                    <a:pt x="11" y="35"/>
                  </a:cubicBezTo>
                  <a:cubicBezTo>
                    <a:pt x="12" y="35"/>
                    <a:pt x="13" y="34"/>
                    <a:pt x="13" y="33"/>
                  </a:cubicBezTo>
                  <a:cubicBezTo>
                    <a:pt x="13" y="33"/>
                    <a:pt x="13" y="33"/>
                    <a:pt x="15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4"/>
                    <a:pt x="18" y="34"/>
                    <a:pt x="18" y="35"/>
                  </a:cubicBezTo>
                  <a:cubicBezTo>
                    <a:pt x="19" y="35"/>
                    <a:pt x="20" y="35"/>
                    <a:pt x="21" y="35"/>
                  </a:cubicBezTo>
                  <a:cubicBezTo>
                    <a:pt x="21" y="35"/>
                    <a:pt x="21" y="38"/>
                    <a:pt x="21" y="39"/>
                  </a:cubicBezTo>
                  <a:cubicBezTo>
                    <a:pt x="21" y="40"/>
                    <a:pt x="22" y="44"/>
                    <a:pt x="22" y="45"/>
                  </a:cubicBezTo>
                  <a:cubicBezTo>
                    <a:pt x="22" y="46"/>
                    <a:pt x="24" y="50"/>
                    <a:pt x="24" y="51"/>
                  </a:cubicBezTo>
                  <a:cubicBezTo>
                    <a:pt x="24" y="52"/>
                    <a:pt x="23" y="56"/>
                    <a:pt x="23" y="57"/>
                  </a:cubicBezTo>
                  <a:cubicBezTo>
                    <a:pt x="23" y="58"/>
                    <a:pt x="25" y="62"/>
                    <a:pt x="25" y="63"/>
                  </a:cubicBezTo>
                  <a:cubicBezTo>
                    <a:pt x="26" y="64"/>
                    <a:pt x="26" y="67"/>
                    <a:pt x="26" y="68"/>
                  </a:cubicBezTo>
                  <a:cubicBezTo>
                    <a:pt x="26" y="68"/>
                    <a:pt x="26" y="69"/>
                    <a:pt x="27" y="70"/>
                  </a:cubicBezTo>
                  <a:lnTo>
                    <a:pt x="27" y="5"/>
                  </a:lnTo>
                  <a:close/>
                </a:path>
              </a:pathLst>
            </a:custGeom>
            <a:solidFill>
              <a:srgbClr val="AFD7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77500" lnSpcReduction="20000"/>
            </a:bodyPr>
            <a:lstStyle/>
            <a:p>
              <a:endParaRPr lang="zh-CN" altLang="en-US"/>
            </a:p>
          </p:txBody>
        </p:sp>
        <p:sp>
          <p:nvSpPr>
            <p:cNvPr id="189" name="任意多边形: 形状 188">
              <a:extLst>
                <a:ext uri="{FF2B5EF4-FFF2-40B4-BE49-F238E27FC236}">
                  <a16:creationId xmlns:a16="http://schemas.microsoft.com/office/drawing/2014/main" id="{46410649-44DE-4CA1-81E1-633FA8CEFFBE}"/>
                </a:ext>
              </a:extLst>
            </p:cNvPr>
            <p:cNvSpPr/>
            <p:nvPr/>
          </p:nvSpPr>
          <p:spPr bwMode="auto">
            <a:xfrm>
              <a:off x="10125446" y="2677081"/>
              <a:ext cx="7906" cy="7906"/>
            </a:xfrm>
            <a:custGeom>
              <a:avLst/>
              <a:gdLst>
                <a:gd name="T0" fmla="*/ 0 w 2"/>
                <a:gd name="T1" fmla="*/ 2 h 2"/>
                <a:gd name="T2" fmla="*/ 1 w 2"/>
                <a:gd name="T3" fmla="*/ 2 h 2"/>
                <a:gd name="T4" fmla="*/ 0 w 2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cubicBezTo>
                    <a:pt x="0" y="2"/>
                    <a:pt x="1" y="2"/>
                    <a:pt x="1" y="2"/>
                  </a:cubicBezTo>
                  <a:cubicBezTo>
                    <a:pt x="2" y="0"/>
                    <a:pt x="0" y="1"/>
                    <a:pt x="0" y="2"/>
                  </a:cubicBezTo>
                  <a:close/>
                </a:path>
              </a:pathLst>
            </a:custGeom>
            <a:solidFill>
              <a:srgbClr val="AFD7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90" name="任意多边形: 形状 189">
              <a:extLst>
                <a:ext uri="{FF2B5EF4-FFF2-40B4-BE49-F238E27FC236}">
                  <a16:creationId xmlns:a16="http://schemas.microsoft.com/office/drawing/2014/main" id="{C769D2C7-7D9C-4E53-A342-1F0E4DB209D2}"/>
                </a:ext>
              </a:extLst>
            </p:cNvPr>
            <p:cNvSpPr/>
            <p:nvPr/>
          </p:nvSpPr>
          <p:spPr bwMode="auto">
            <a:xfrm>
              <a:off x="10106999" y="2073603"/>
              <a:ext cx="162070" cy="146257"/>
            </a:xfrm>
            <a:custGeom>
              <a:avLst/>
              <a:gdLst>
                <a:gd name="T0" fmla="*/ 33 w 43"/>
                <a:gd name="T1" fmla="*/ 23 h 39"/>
                <a:gd name="T2" fmla="*/ 35 w 43"/>
                <a:gd name="T3" fmla="*/ 22 h 39"/>
                <a:gd name="T4" fmla="*/ 35 w 43"/>
                <a:gd name="T5" fmla="*/ 22 h 39"/>
                <a:gd name="T6" fmla="*/ 35 w 43"/>
                <a:gd name="T7" fmla="*/ 20 h 39"/>
                <a:gd name="T8" fmla="*/ 37 w 43"/>
                <a:gd name="T9" fmla="*/ 17 h 39"/>
                <a:gd name="T10" fmla="*/ 38 w 43"/>
                <a:gd name="T11" fmla="*/ 13 h 39"/>
                <a:gd name="T12" fmla="*/ 38 w 43"/>
                <a:gd name="T13" fmla="*/ 11 h 39"/>
                <a:gd name="T14" fmla="*/ 38 w 43"/>
                <a:gd name="T15" fmla="*/ 11 h 39"/>
                <a:gd name="T16" fmla="*/ 38 w 43"/>
                <a:gd name="T17" fmla="*/ 9 h 39"/>
                <a:gd name="T18" fmla="*/ 40 w 43"/>
                <a:gd name="T19" fmla="*/ 7 h 39"/>
                <a:gd name="T20" fmla="*/ 42 w 43"/>
                <a:gd name="T21" fmla="*/ 6 h 39"/>
                <a:gd name="T22" fmla="*/ 42 w 43"/>
                <a:gd name="T23" fmla="*/ 5 h 39"/>
                <a:gd name="T24" fmla="*/ 40 w 43"/>
                <a:gd name="T25" fmla="*/ 4 h 39"/>
                <a:gd name="T26" fmla="*/ 37 w 43"/>
                <a:gd name="T27" fmla="*/ 4 h 39"/>
                <a:gd name="T28" fmla="*/ 37 w 43"/>
                <a:gd name="T29" fmla="*/ 2 h 39"/>
                <a:gd name="T30" fmla="*/ 37 w 43"/>
                <a:gd name="T31" fmla="*/ 1 h 39"/>
                <a:gd name="T32" fmla="*/ 33 w 43"/>
                <a:gd name="T33" fmla="*/ 0 h 39"/>
                <a:gd name="T34" fmla="*/ 31 w 43"/>
                <a:gd name="T35" fmla="*/ 0 h 39"/>
                <a:gd name="T36" fmla="*/ 26 w 43"/>
                <a:gd name="T37" fmla="*/ 1 h 39"/>
                <a:gd name="T38" fmla="*/ 20 w 43"/>
                <a:gd name="T39" fmla="*/ 1 h 39"/>
                <a:gd name="T40" fmla="*/ 19 w 43"/>
                <a:gd name="T41" fmla="*/ 3 h 39"/>
                <a:gd name="T42" fmla="*/ 15 w 43"/>
                <a:gd name="T43" fmla="*/ 4 h 39"/>
                <a:gd name="T44" fmla="*/ 7 w 43"/>
                <a:gd name="T45" fmla="*/ 6 h 39"/>
                <a:gd name="T46" fmla="*/ 5 w 43"/>
                <a:gd name="T47" fmla="*/ 9 h 39"/>
                <a:gd name="T48" fmla="*/ 3 w 43"/>
                <a:gd name="T49" fmla="*/ 10 h 39"/>
                <a:gd name="T50" fmla="*/ 0 w 43"/>
                <a:gd name="T51" fmla="*/ 11 h 39"/>
                <a:gd name="T52" fmla="*/ 1 w 43"/>
                <a:gd name="T53" fmla="*/ 12 h 39"/>
                <a:gd name="T54" fmla="*/ 2 w 43"/>
                <a:gd name="T55" fmla="*/ 12 h 39"/>
                <a:gd name="T56" fmla="*/ 5 w 43"/>
                <a:gd name="T57" fmla="*/ 13 h 39"/>
                <a:gd name="T58" fmla="*/ 2 w 43"/>
                <a:gd name="T59" fmla="*/ 13 h 39"/>
                <a:gd name="T60" fmla="*/ 2 w 43"/>
                <a:gd name="T61" fmla="*/ 15 h 39"/>
                <a:gd name="T62" fmla="*/ 5 w 43"/>
                <a:gd name="T63" fmla="*/ 15 h 39"/>
                <a:gd name="T64" fmla="*/ 8 w 43"/>
                <a:gd name="T65" fmla="*/ 16 h 39"/>
                <a:gd name="T66" fmla="*/ 10 w 43"/>
                <a:gd name="T67" fmla="*/ 19 h 39"/>
                <a:gd name="T68" fmla="*/ 10 w 43"/>
                <a:gd name="T69" fmla="*/ 21 h 39"/>
                <a:gd name="T70" fmla="*/ 12 w 43"/>
                <a:gd name="T71" fmla="*/ 22 h 39"/>
                <a:gd name="T72" fmla="*/ 11 w 43"/>
                <a:gd name="T73" fmla="*/ 23 h 39"/>
                <a:gd name="T74" fmla="*/ 12 w 43"/>
                <a:gd name="T75" fmla="*/ 25 h 39"/>
                <a:gd name="T76" fmla="*/ 12 w 43"/>
                <a:gd name="T77" fmla="*/ 27 h 39"/>
                <a:gd name="T78" fmla="*/ 11 w 43"/>
                <a:gd name="T79" fmla="*/ 29 h 39"/>
                <a:gd name="T80" fmla="*/ 13 w 43"/>
                <a:gd name="T81" fmla="*/ 35 h 39"/>
                <a:gd name="T82" fmla="*/ 14 w 43"/>
                <a:gd name="T83" fmla="*/ 38 h 39"/>
                <a:gd name="T84" fmla="*/ 17 w 43"/>
                <a:gd name="T85" fmla="*/ 39 h 39"/>
                <a:gd name="T86" fmla="*/ 18 w 43"/>
                <a:gd name="T87" fmla="*/ 38 h 39"/>
                <a:gd name="T88" fmla="*/ 19 w 43"/>
                <a:gd name="T89" fmla="*/ 36 h 39"/>
                <a:gd name="T90" fmla="*/ 21 w 43"/>
                <a:gd name="T91" fmla="*/ 31 h 39"/>
                <a:gd name="T92" fmla="*/ 23 w 43"/>
                <a:gd name="T93" fmla="*/ 31 h 39"/>
                <a:gd name="T94" fmla="*/ 25 w 43"/>
                <a:gd name="T95" fmla="*/ 29 h 39"/>
                <a:gd name="T96" fmla="*/ 29 w 43"/>
                <a:gd name="T97" fmla="*/ 28 h 39"/>
                <a:gd name="T98" fmla="*/ 31 w 43"/>
                <a:gd name="T99" fmla="*/ 24 h 39"/>
                <a:gd name="T100" fmla="*/ 30 w 43"/>
                <a:gd name="T101" fmla="*/ 24 h 39"/>
                <a:gd name="T102" fmla="*/ 30 w 43"/>
                <a:gd name="T103" fmla="*/ 22 h 39"/>
                <a:gd name="T104" fmla="*/ 33 w 43"/>
                <a:gd name="T105" fmla="*/ 2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3" h="39">
                  <a:moveTo>
                    <a:pt x="33" y="23"/>
                  </a:moveTo>
                  <a:cubicBezTo>
                    <a:pt x="34" y="23"/>
                    <a:pt x="35" y="22"/>
                    <a:pt x="35" y="22"/>
                  </a:cubicBezTo>
                  <a:cubicBezTo>
                    <a:pt x="34" y="22"/>
                    <a:pt x="34" y="22"/>
                    <a:pt x="35" y="22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20"/>
                    <a:pt x="37" y="18"/>
                    <a:pt x="37" y="17"/>
                  </a:cubicBezTo>
                  <a:cubicBezTo>
                    <a:pt x="36" y="15"/>
                    <a:pt x="37" y="13"/>
                    <a:pt x="38" y="13"/>
                  </a:cubicBezTo>
                  <a:cubicBezTo>
                    <a:pt x="39" y="13"/>
                    <a:pt x="38" y="11"/>
                    <a:pt x="38" y="11"/>
                  </a:cubicBezTo>
                  <a:cubicBezTo>
                    <a:pt x="37" y="11"/>
                    <a:pt x="38" y="11"/>
                    <a:pt x="38" y="11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8"/>
                    <a:pt x="39" y="8"/>
                    <a:pt x="40" y="7"/>
                  </a:cubicBezTo>
                  <a:cubicBezTo>
                    <a:pt x="40" y="7"/>
                    <a:pt x="41" y="6"/>
                    <a:pt x="42" y="6"/>
                  </a:cubicBezTo>
                  <a:cubicBezTo>
                    <a:pt x="42" y="6"/>
                    <a:pt x="43" y="5"/>
                    <a:pt x="42" y="5"/>
                  </a:cubicBezTo>
                  <a:cubicBezTo>
                    <a:pt x="42" y="5"/>
                    <a:pt x="40" y="5"/>
                    <a:pt x="40" y="4"/>
                  </a:cubicBezTo>
                  <a:cubicBezTo>
                    <a:pt x="40" y="4"/>
                    <a:pt x="37" y="4"/>
                    <a:pt x="37" y="4"/>
                  </a:cubicBezTo>
                  <a:cubicBezTo>
                    <a:pt x="36" y="4"/>
                    <a:pt x="36" y="2"/>
                    <a:pt x="37" y="2"/>
                  </a:cubicBezTo>
                  <a:cubicBezTo>
                    <a:pt x="38" y="2"/>
                    <a:pt x="38" y="1"/>
                    <a:pt x="37" y="1"/>
                  </a:cubicBezTo>
                  <a:cubicBezTo>
                    <a:pt x="36" y="1"/>
                    <a:pt x="33" y="0"/>
                    <a:pt x="33" y="0"/>
                  </a:cubicBezTo>
                  <a:cubicBezTo>
                    <a:pt x="32" y="1"/>
                    <a:pt x="31" y="0"/>
                    <a:pt x="31" y="0"/>
                  </a:cubicBezTo>
                  <a:cubicBezTo>
                    <a:pt x="30" y="0"/>
                    <a:pt x="27" y="1"/>
                    <a:pt x="26" y="1"/>
                  </a:cubicBezTo>
                  <a:cubicBezTo>
                    <a:pt x="25" y="1"/>
                    <a:pt x="21" y="1"/>
                    <a:pt x="20" y="1"/>
                  </a:cubicBezTo>
                  <a:cubicBezTo>
                    <a:pt x="20" y="1"/>
                    <a:pt x="19" y="3"/>
                    <a:pt x="19" y="3"/>
                  </a:cubicBezTo>
                  <a:cubicBezTo>
                    <a:pt x="19" y="4"/>
                    <a:pt x="16" y="4"/>
                    <a:pt x="15" y="4"/>
                  </a:cubicBezTo>
                  <a:cubicBezTo>
                    <a:pt x="14" y="4"/>
                    <a:pt x="8" y="5"/>
                    <a:pt x="7" y="6"/>
                  </a:cubicBezTo>
                  <a:cubicBezTo>
                    <a:pt x="5" y="7"/>
                    <a:pt x="4" y="9"/>
                    <a:pt x="5" y="9"/>
                  </a:cubicBezTo>
                  <a:cubicBezTo>
                    <a:pt x="5" y="9"/>
                    <a:pt x="4" y="10"/>
                    <a:pt x="3" y="10"/>
                  </a:cubicBezTo>
                  <a:cubicBezTo>
                    <a:pt x="2" y="10"/>
                    <a:pt x="1" y="11"/>
                    <a:pt x="0" y="11"/>
                  </a:cubicBezTo>
                  <a:cubicBezTo>
                    <a:pt x="0" y="11"/>
                    <a:pt x="1" y="12"/>
                    <a:pt x="1" y="12"/>
                  </a:cubicBezTo>
                  <a:cubicBezTo>
                    <a:pt x="1" y="12"/>
                    <a:pt x="1" y="12"/>
                    <a:pt x="2" y="12"/>
                  </a:cubicBezTo>
                  <a:cubicBezTo>
                    <a:pt x="2" y="12"/>
                    <a:pt x="4" y="12"/>
                    <a:pt x="5" y="13"/>
                  </a:cubicBezTo>
                  <a:cubicBezTo>
                    <a:pt x="5" y="13"/>
                    <a:pt x="3" y="13"/>
                    <a:pt x="2" y="13"/>
                  </a:cubicBezTo>
                  <a:cubicBezTo>
                    <a:pt x="1" y="13"/>
                    <a:pt x="2" y="15"/>
                    <a:pt x="2" y="15"/>
                  </a:cubicBezTo>
                  <a:cubicBezTo>
                    <a:pt x="3" y="15"/>
                    <a:pt x="5" y="16"/>
                    <a:pt x="5" y="15"/>
                  </a:cubicBezTo>
                  <a:cubicBezTo>
                    <a:pt x="5" y="15"/>
                    <a:pt x="7" y="16"/>
                    <a:pt x="8" y="16"/>
                  </a:cubicBezTo>
                  <a:cubicBezTo>
                    <a:pt x="9" y="16"/>
                    <a:pt x="10" y="18"/>
                    <a:pt x="10" y="19"/>
                  </a:cubicBezTo>
                  <a:cubicBezTo>
                    <a:pt x="10" y="19"/>
                    <a:pt x="10" y="21"/>
                    <a:pt x="10" y="21"/>
                  </a:cubicBezTo>
                  <a:cubicBezTo>
                    <a:pt x="10" y="22"/>
                    <a:pt x="12" y="23"/>
                    <a:pt x="12" y="22"/>
                  </a:cubicBezTo>
                  <a:cubicBezTo>
                    <a:pt x="12" y="22"/>
                    <a:pt x="12" y="23"/>
                    <a:pt x="11" y="23"/>
                  </a:cubicBezTo>
                  <a:cubicBezTo>
                    <a:pt x="11" y="23"/>
                    <a:pt x="11" y="25"/>
                    <a:pt x="12" y="25"/>
                  </a:cubicBezTo>
                  <a:cubicBezTo>
                    <a:pt x="13" y="25"/>
                    <a:pt x="12" y="26"/>
                    <a:pt x="12" y="27"/>
                  </a:cubicBezTo>
                  <a:cubicBezTo>
                    <a:pt x="11" y="27"/>
                    <a:pt x="12" y="28"/>
                    <a:pt x="11" y="29"/>
                  </a:cubicBezTo>
                  <a:cubicBezTo>
                    <a:pt x="11" y="29"/>
                    <a:pt x="13" y="33"/>
                    <a:pt x="13" y="35"/>
                  </a:cubicBezTo>
                  <a:cubicBezTo>
                    <a:pt x="13" y="36"/>
                    <a:pt x="14" y="38"/>
                    <a:pt x="14" y="38"/>
                  </a:cubicBezTo>
                  <a:cubicBezTo>
                    <a:pt x="15" y="38"/>
                    <a:pt x="16" y="38"/>
                    <a:pt x="17" y="39"/>
                  </a:cubicBezTo>
                  <a:cubicBezTo>
                    <a:pt x="17" y="39"/>
                    <a:pt x="18" y="39"/>
                    <a:pt x="18" y="38"/>
                  </a:cubicBezTo>
                  <a:cubicBezTo>
                    <a:pt x="18" y="38"/>
                    <a:pt x="19" y="37"/>
                    <a:pt x="19" y="36"/>
                  </a:cubicBezTo>
                  <a:cubicBezTo>
                    <a:pt x="20" y="35"/>
                    <a:pt x="21" y="32"/>
                    <a:pt x="21" y="31"/>
                  </a:cubicBezTo>
                  <a:cubicBezTo>
                    <a:pt x="21" y="31"/>
                    <a:pt x="23" y="31"/>
                    <a:pt x="23" y="31"/>
                  </a:cubicBezTo>
                  <a:cubicBezTo>
                    <a:pt x="24" y="31"/>
                    <a:pt x="25" y="30"/>
                    <a:pt x="25" y="29"/>
                  </a:cubicBezTo>
                  <a:cubicBezTo>
                    <a:pt x="26" y="29"/>
                    <a:pt x="28" y="28"/>
                    <a:pt x="29" y="28"/>
                  </a:cubicBezTo>
                  <a:cubicBezTo>
                    <a:pt x="30" y="27"/>
                    <a:pt x="31" y="25"/>
                    <a:pt x="31" y="24"/>
                  </a:cubicBezTo>
                  <a:cubicBezTo>
                    <a:pt x="32" y="24"/>
                    <a:pt x="31" y="24"/>
                    <a:pt x="30" y="24"/>
                  </a:cubicBezTo>
                  <a:cubicBezTo>
                    <a:pt x="30" y="23"/>
                    <a:pt x="30" y="23"/>
                    <a:pt x="30" y="22"/>
                  </a:cubicBezTo>
                  <a:cubicBezTo>
                    <a:pt x="30" y="22"/>
                    <a:pt x="32" y="23"/>
                    <a:pt x="33" y="23"/>
                  </a:cubicBezTo>
                  <a:close/>
                </a:path>
              </a:pathLst>
            </a:custGeom>
            <a:solidFill>
              <a:srgbClr val="AFD7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91" name="任意多边形: 形状 190">
              <a:extLst>
                <a:ext uri="{FF2B5EF4-FFF2-40B4-BE49-F238E27FC236}">
                  <a16:creationId xmlns:a16="http://schemas.microsoft.com/office/drawing/2014/main" id="{31FDD2FB-AD6F-43B7-BAC0-01174F5DCDC8}"/>
                </a:ext>
              </a:extLst>
            </p:cNvPr>
            <p:cNvSpPr/>
            <p:nvPr/>
          </p:nvSpPr>
          <p:spPr bwMode="auto">
            <a:xfrm>
              <a:off x="10295422" y="2096003"/>
              <a:ext cx="26353" cy="38211"/>
            </a:xfrm>
            <a:custGeom>
              <a:avLst/>
              <a:gdLst>
                <a:gd name="T0" fmla="*/ 5 w 7"/>
                <a:gd name="T1" fmla="*/ 0 h 10"/>
                <a:gd name="T2" fmla="*/ 3 w 7"/>
                <a:gd name="T3" fmla="*/ 1 h 10"/>
                <a:gd name="T4" fmla="*/ 1 w 7"/>
                <a:gd name="T5" fmla="*/ 1 h 10"/>
                <a:gd name="T6" fmla="*/ 0 w 7"/>
                <a:gd name="T7" fmla="*/ 3 h 10"/>
                <a:gd name="T8" fmla="*/ 1 w 7"/>
                <a:gd name="T9" fmla="*/ 5 h 10"/>
                <a:gd name="T10" fmla="*/ 4 w 7"/>
                <a:gd name="T11" fmla="*/ 5 h 10"/>
                <a:gd name="T12" fmla="*/ 4 w 7"/>
                <a:gd name="T13" fmla="*/ 7 h 10"/>
                <a:gd name="T14" fmla="*/ 4 w 7"/>
                <a:gd name="T15" fmla="*/ 8 h 10"/>
                <a:gd name="T16" fmla="*/ 6 w 7"/>
                <a:gd name="T17" fmla="*/ 10 h 10"/>
                <a:gd name="T18" fmla="*/ 7 w 7"/>
                <a:gd name="T19" fmla="*/ 8 h 10"/>
                <a:gd name="T20" fmla="*/ 7 w 7"/>
                <a:gd name="T21" fmla="*/ 2 h 10"/>
                <a:gd name="T22" fmla="*/ 7 w 7"/>
                <a:gd name="T23" fmla="*/ 2 h 10"/>
                <a:gd name="T24" fmla="*/ 5 w 7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" h="10">
                  <a:moveTo>
                    <a:pt x="5" y="0"/>
                  </a:moveTo>
                  <a:cubicBezTo>
                    <a:pt x="5" y="0"/>
                    <a:pt x="3" y="1"/>
                    <a:pt x="3" y="1"/>
                  </a:cubicBezTo>
                  <a:cubicBezTo>
                    <a:pt x="4" y="2"/>
                    <a:pt x="2" y="1"/>
                    <a:pt x="1" y="1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1" y="6"/>
                    <a:pt x="3" y="5"/>
                    <a:pt x="4" y="5"/>
                  </a:cubicBezTo>
                  <a:cubicBezTo>
                    <a:pt x="4" y="5"/>
                    <a:pt x="4" y="6"/>
                    <a:pt x="4" y="7"/>
                  </a:cubicBezTo>
                  <a:cubicBezTo>
                    <a:pt x="3" y="7"/>
                    <a:pt x="4" y="8"/>
                    <a:pt x="4" y="8"/>
                  </a:cubicBezTo>
                  <a:cubicBezTo>
                    <a:pt x="5" y="8"/>
                    <a:pt x="5" y="10"/>
                    <a:pt x="6" y="10"/>
                  </a:cubicBezTo>
                  <a:cubicBezTo>
                    <a:pt x="6" y="10"/>
                    <a:pt x="7" y="9"/>
                    <a:pt x="7" y="8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6" y="0"/>
                    <a:pt x="5" y="0"/>
                  </a:cubicBezTo>
                  <a:close/>
                </a:path>
              </a:pathLst>
            </a:custGeom>
            <a:solidFill>
              <a:srgbClr val="AFD7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92" name="任意多边形: 形状 191">
              <a:extLst>
                <a:ext uri="{FF2B5EF4-FFF2-40B4-BE49-F238E27FC236}">
                  <a16:creationId xmlns:a16="http://schemas.microsoft.com/office/drawing/2014/main" id="{97736267-2C87-4B31-AD15-DBC8CBF134F8}"/>
                </a:ext>
              </a:extLst>
            </p:cNvPr>
            <p:cNvSpPr/>
            <p:nvPr/>
          </p:nvSpPr>
          <p:spPr bwMode="auto">
            <a:xfrm>
              <a:off x="10242716" y="2243578"/>
              <a:ext cx="10541" cy="14494"/>
            </a:xfrm>
            <a:custGeom>
              <a:avLst/>
              <a:gdLst>
                <a:gd name="T0" fmla="*/ 2 w 3"/>
                <a:gd name="T1" fmla="*/ 4 h 4"/>
                <a:gd name="T2" fmla="*/ 3 w 3"/>
                <a:gd name="T3" fmla="*/ 2 h 4"/>
                <a:gd name="T4" fmla="*/ 2 w 3"/>
                <a:gd name="T5" fmla="*/ 0 h 4"/>
                <a:gd name="T6" fmla="*/ 0 w 3"/>
                <a:gd name="T7" fmla="*/ 1 h 4"/>
                <a:gd name="T8" fmla="*/ 0 w 3"/>
                <a:gd name="T9" fmla="*/ 3 h 4"/>
                <a:gd name="T10" fmla="*/ 2 w 3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2" y="4"/>
                  </a:moveTo>
                  <a:cubicBezTo>
                    <a:pt x="2" y="3"/>
                    <a:pt x="3" y="3"/>
                    <a:pt x="3" y="2"/>
                  </a:cubicBezTo>
                  <a:cubicBezTo>
                    <a:pt x="3" y="2"/>
                    <a:pt x="2" y="0"/>
                    <a:pt x="2" y="0"/>
                  </a:cubicBezTo>
                  <a:cubicBezTo>
                    <a:pt x="1" y="0"/>
                    <a:pt x="1" y="1"/>
                    <a:pt x="0" y="1"/>
                  </a:cubicBezTo>
                  <a:cubicBezTo>
                    <a:pt x="0" y="1"/>
                    <a:pt x="0" y="3"/>
                    <a:pt x="0" y="3"/>
                  </a:cubicBezTo>
                  <a:cubicBezTo>
                    <a:pt x="0" y="4"/>
                    <a:pt x="1" y="4"/>
                    <a:pt x="2" y="4"/>
                  </a:cubicBezTo>
                  <a:close/>
                </a:path>
              </a:pathLst>
            </a:custGeom>
            <a:solidFill>
              <a:srgbClr val="AFD7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93" name="任意多边形: 形状 192">
              <a:extLst>
                <a:ext uri="{FF2B5EF4-FFF2-40B4-BE49-F238E27FC236}">
                  <a16:creationId xmlns:a16="http://schemas.microsoft.com/office/drawing/2014/main" id="{46C97910-9EFD-4672-BEF3-FD2420712D69}"/>
                </a:ext>
              </a:extLst>
            </p:cNvPr>
            <p:cNvSpPr/>
            <p:nvPr/>
          </p:nvSpPr>
          <p:spPr bwMode="auto">
            <a:xfrm>
              <a:off x="10230857" y="2179014"/>
              <a:ext cx="30306" cy="22399"/>
            </a:xfrm>
            <a:custGeom>
              <a:avLst/>
              <a:gdLst>
                <a:gd name="T0" fmla="*/ 3 w 8"/>
                <a:gd name="T1" fmla="*/ 5 h 6"/>
                <a:gd name="T2" fmla="*/ 4 w 8"/>
                <a:gd name="T3" fmla="*/ 6 h 6"/>
                <a:gd name="T4" fmla="*/ 7 w 8"/>
                <a:gd name="T5" fmla="*/ 5 h 6"/>
                <a:gd name="T6" fmla="*/ 8 w 8"/>
                <a:gd name="T7" fmla="*/ 2 h 6"/>
                <a:gd name="T8" fmla="*/ 5 w 8"/>
                <a:gd name="T9" fmla="*/ 1 h 6"/>
                <a:gd name="T10" fmla="*/ 2 w 8"/>
                <a:gd name="T11" fmla="*/ 0 h 6"/>
                <a:gd name="T12" fmla="*/ 1 w 8"/>
                <a:gd name="T13" fmla="*/ 2 h 6"/>
                <a:gd name="T14" fmla="*/ 1 w 8"/>
                <a:gd name="T15" fmla="*/ 2 h 6"/>
                <a:gd name="T16" fmla="*/ 1 w 8"/>
                <a:gd name="T17" fmla="*/ 4 h 6"/>
                <a:gd name="T18" fmla="*/ 3 w 8"/>
                <a:gd name="T1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6">
                  <a:moveTo>
                    <a:pt x="3" y="5"/>
                  </a:moveTo>
                  <a:cubicBezTo>
                    <a:pt x="3" y="5"/>
                    <a:pt x="4" y="6"/>
                    <a:pt x="4" y="6"/>
                  </a:cubicBezTo>
                  <a:cubicBezTo>
                    <a:pt x="5" y="6"/>
                    <a:pt x="6" y="5"/>
                    <a:pt x="7" y="5"/>
                  </a:cubicBezTo>
                  <a:cubicBezTo>
                    <a:pt x="7" y="5"/>
                    <a:pt x="8" y="2"/>
                    <a:pt x="8" y="2"/>
                  </a:cubicBezTo>
                  <a:cubicBezTo>
                    <a:pt x="7" y="1"/>
                    <a:pt x="5" y="1"/>
                    <a:pt x="5" y="1"/>
                  </a:cubicBezTo>
                  <a:cubicBezTo>
                    <a:pt x="4" y="1"/>
                    <a:pt x="2" y="1"/>
                    <a:pt x="2" y="0"/>
                  </a:cubicBezTo>
                  <a:cubicBezTo>
                    <a:pt x="2" y="0"/>
                    <a:pt x="1" y="2"/>
                    <a:pt x="1" y="2"/>
                  </a:cubicBezTo>
                  <a:cubicBezTo>
                    <a:pt x="0" y="2"/>
                    <a:pt x="1" y="3"/>
                    <a:pt x="1" y="2"/>
                  </a:cubicBezTo>
                  <a:cubicBezTo>
                    <a:pt x="2" y="2"/>
                    <a:pt x="1" y="3"/>
                    <a:pt x="1" y="4"/>
                  </a:cubicBezTo>
                  <a:cubicBezTo>
                    <a:pt x="1" y="4"/>
                    <a:pt x="3" y="4"/>
                    <a:pt x="3" y="5"/>
                  </a:cubicBezTo>
                  <a:close/>
                </a:path>
              </a:pathLst>
            </a:custGeom>
            <a:solidFill>
              <a:srgbClr val="AFD7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94" name="任意多边形: 形状 193">
              <a:extLst>
                <a:ext uri="{FF2B5EF4-FFF2-40B4-BE49-F238E27FC236}">
                  <a16:creationId xmlns:a16="http://schemas.microsoft.com/office/drawing/2014/main" id="{308816DF-E833-447E-AB05-0A118BD59487}"/>
                </a:ext>
              </a:extLst>
            </p:cNvPr>
            <p:cNvSpPr/>
            <p:nvPr/>
          </p:nvSpPr>
          <p:spPr bwMode="auto">
            <a:xfrm>
              <a:off x="10050341" y="2193508"/>
              <a:ext cx="18447" cy="11858"/>
            </a:xfrm>
            <a:custGeom>
              <a:avLst/>
              <a:gdLst>
                <a:gd name="T0" fmla="*/ 1 w 5"/>
                <a:gd name="T1" fmla="*/ 1 h 3"/>
                <a:gd name="T2" fmla="*/ 1 w 5"/>
                <a:gd name="T3" fmla="*/ 3 h 3"/>
                <a:gd name="T4" fmla="*/ 4 w 5"/>
                <a:gd name="T5" fmla="*/ 1 h 3"/>
                <a:gd name="T6" fmla="*/ 5 w 5"/>
                <a:gd name="T7" fmla="*/ 1 h 3"/>
                <a:gd name="T8" fmla="*/ 2 w 5"/>
                <a:gd name="T9" fmla="*/ 0 h 3"/>
                <a:gd name="T10" fmla="*/ 1 w 5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3">
                  <a:moveTo>
                    <a:pt x="1" y="1"/>
                  </a:moveTo>
                  <a:cubicBezTo>
                    <a:pt x="0" y="1"/>
                    <a:pt x="1" y="3"/>
                    <a:pt x="1" y="3"/>
                  </a:cubicBezTo>
                  <a:cubicBezTo>
                    <a:pt x="2" y="3"/>
                    <a:pt x="3" y="0"/>
                    <a:pt x="4" y="1"/>
                  </a:cubicBezTo>
                  <a:cubicBezTo>
                    <a:pt x="5" y="1"/>
                    <a:pt x="5" y="2"/>
                    <a:pt x="5" y="1"/>
                  </a:cubicBezTo>
                  <a:cubicBezTo>
                    <a:pt x="2" y="0"/>
                    <a:pt x="2" y="0"/>
                    <a:pt x="2" y="0"/>
                  </a:cubicBezTo>
                  <a:lnTo>
                    <a:pt x="1" y="1"/>
                  </a:lnTo>
                  <a:close/>
                </a:path>
              </a:pathLst>
            </a:custGeom>
            <a:solidFill>
              <a:srgbClr val="AFD7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95" name="任意多边形: 形状 194">
              <a:extLst>
                <a:ext uri="{FF2B5EF4-FFF2-40B4-BE49-F238E27FC236}">
                  <a16:creationId xmlns:a16="http://schemas.microsoft.com/office/drawing/2014/main" id="{75D9FBEE-A194-4D38-897E-AE0450CA88DD}"/>
                </a:ext>
              </a:extLst>
            </p:cNvPr>
            <p:cNvSpPr/>
            <p:nvPr/>
          </p:nvSpPr>
          <p:spPr bwMode="auto">
            <a:xfrm>
              <a:off x="10084600" y="2405648"/>
              <a:ext cx="6589" cy="3952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2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0" y="1"/>
                    <a:pt x="2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AFD7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96" name="任意多边形: 形状 195">
              <a:extLst>
                <a:ext uri="{FF2B5EF4-FFF2-40B4-BE49-F238E27FC236}">
                  <a16:creationId xmlns:a16="http://schemas.microsoft.com/office/drawing/2014/main" id="{D7466D66-2AC1-4D75-B494-BC908CEACF40}"/>
                </a:ext>
              </a:extLst>
            </p:cNvPr>
            <p:cNvSpPr/>
            <p:nvPr/>
          </p:nvSpPr>
          <p:spPr bwMode="auto">
            <a:xfrm>
              <a:off x="10030576" y="2385883"/>
              <a:ext cx="50070" cy="23717"/>
            </a:xfrm>
            <a:custGeom>
              <a:avLst/>
              <a:gdLst>
                <a:gd name="T0" fmla="*/ 8 w 13"/>
                <a:gd name="T1" fmla="*/ 3 h 6"/>
                <a:gd name="T2" fmla="*/ 8 w 13"/>
                <a:gd name="T3" fmla="*/ 5 h 6"/>
                <a:gd name="T4" fmla="*/ 11 w 13"/>
                <a:gd name="T5" fmla="*/ 6 h 6"/>
                <a:gd name="T6" fmla="*/ 12 w 13"/>
                <a:gd name="T7" fmla="*/ 5 h 6"/>
                <a:gd name="T8" fmla="*/ 11 w 13"/>
                <a:gd name="T9" fmla="*/ 3 h 6"/>
                <a:gd name="T10" fmla="*/ 9 w 13"/>
                <a:gd name="T11" fmla="*/ 2 h 6"/>
                <a:gd name="T12" fmla="*/ 7 w 13"/>
                <a:gd name="T13" fmla="*/ 1 h 6"/>
                <a:gd name="T14" fmla="*/ 3 w 13"/>
                <a:gd name="T15" fmla="*/ 0 h 6"/>
                <a:gd name="T16" fmla="*/ 0 w 13"/>
                <a:gd name="T17" fmla="*/ 1 h 6"/>
                <a:gd name="T18" fmla="*/ 2 w 13"/>
                <a:gd name="T19" fmla="*/ 2 h 6"/>
                <a:gd name="T20" fmla="*/ 6 w 13"/>
                <a:gd name="T21" fmla="*/ 2 h 6"/>
                <a:gd name="T22" fmla="*/ 8 w 13"/>
                <a:gd name="T2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6">
                  <a:moveTo>
                    <a:pt x="8" y="3"/>
                  </a:moveTo>
                  <a:cubicBezTo>
                    <a:pt x="9" y="3"/>
                    <a:pt x="8" y="4"/>
                    <a:pt x="8" y="5"/>
                  </a:cubicBezTo>
                  <a:cubicBezTo>
                    <a:pt x="9" y="5"/>
                    <a:pt x="10" y="5"/>
                    <a:pt x="11" y="6"/>
                  </a:cubicBezTo>
                  <a:cubicBezTo>
                    <a:pt x="11" y="6"/>
                    <a:pt x="12" y="5"/>
                    <a:pt x="12" y="5"/>
                  </a:cubicBezTo>
                  <a:cubicBezTo>
                    <a:pt x="13" y="5"/>
                    <a:pt x="12" y="3"/>
                    <a:pt x="11" y="3"/>
                  </a:cubicBezTo>
                  <a:cubicBezTo>
                    <a:pt x="10" y="3"/>
                    <a:pt x="9" y="2"/>
                    <a:pt x="9" y="2"/>
                  </a:cubicBezTo>
                  <a:cubicBezTo>
                    <a:pt x="9" y="2"/>
                    <a:pt x="7" y="1"/>
                    <a:pt x="7" y="1"/>
                  </a:cubicBezTo>
                  <a:cubicBezTo>
                    <a:pt x="6" y="0"/>
                    <a:pt x="4" y="0"/>
                    <a:pt x="3" y="0"/>
                  </a:cubicBezTo>
                  <a:cubicBezTo>
                    <a:pt x="2" y="0"/>
                    <a:pt x="1" y="1"/>
                    <a:pt x="0" y="1"/>
                  </a:cubicBezTo>
                  <a:cubicBezTo>
                    <a:pt x="0" y="2"/>
                    <a:pt x="2" y="2"/>
                    <a:pt x="2" y="2"/>
                  </a:cubicBezTo>
                  <a:cubicBezTo>
                    <a:pt x="3" y="1"/>
                    <a:pt x="5" y="2"/>
                    <a:pt x="6" y="2"/>
                  </a:cubicBezTo>
                  <a:cubicBezTo>
                    <a:pt x="6" y="3"/>
                    <a:pt x="7" y="3"/>
                    <a:pt x="8" y="3"/>
                  </a:cubicBezTo>
                  <a:close/>
                </a:path>
              </a:pathLst>
            </a:custGeom>
            <a:solidFill>
              <a:srgbClr val="AFD7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97" name="任意多边形: 形状 196">
              <a:extLst>
                <a:ext uri="{FF2B5EF4-FFF2-40B4-BE49-F238E27FC236}">
                  <a16:creationId xmlns:a16="http://schemas.microsoft.com/office/drawing/2014/main" id="{E17900B9-8275-4F2A-8D07-D42401179B62}"/>
                </a:ext>
              </a:extLst>
            </p:cNvPr>
            <p:cNvSpPr/>
            <p:nvPr/>
          </p:nvSpPr>
          <p:spPr bwMode="auto">
            <a:xfrm>
              <a:off x="10050341" y="2405648"/>
              <a:ext cx="6589" cy="3952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2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AFD7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98" name="任意多边形: 形状 197">
              <a:extLst>
                <a:ext uri="{FF2B5EF4-FFF2-40B4-BE49-F238E27FC236}">
                  <a16:creationId xmlns:a16="http://schemas.microsoft.com/office/drawing/2014/main" id="{4B4698A7-73F2-413E-AC48-9CED55EB8614}"/>
                </a:ext>
              </a:extLst>
            </p:cNvPr>
            <p:cNvSpPr/>
            <p:nvPr/>
          </p:nvSpPr>
          <p:spPr bwMode="auto">
            <a:xfrm>
              <a:off x="10050341" y="2379295"/>
              <a:ext cx="3953" cy="3952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1" y="0"/>
                  </a:cubicBezTo>
                  <a:close/>
                </a:path>
              </a:pathLst>
            </a:custGeom>
            <a:solidFill>
              <a:srgbClr val="AFD7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199" name="任意多边形: 形状 198">
              <a:extLst>
                <a:ext uri="{FF2B5EF4-FFF2-40B4-BE49-F238E27FC236}">
                  <a16:creationId xmlns:a16="http://schemas.microsoft.com/office/drawing/2014/main" id="{5352776A-EC3D-48CB-A417-7AEBFB5EFEFF}"/>
                </a:ext>
              </a:extLst>
            </p:cNvPr>
            <p:cNvSpPr/>
            <p:nvPr/>
          </p:nvSpPr>
          <p:spPr bwMode="auto">
            <a:xfrm>
              <a:off x="10060882" y="2379295"/>
              <a:ext cx="3953" cy="3952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close/>
                </a:path>
              </a:pathLst>
            </a:custGeom>
            <a:solidFill>
              <a:srgbClr val="AFD7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00" name="任意多边形: 形状 199">
              <a:extLst>
                <a:ext uri="{FF2B5EF4-FFF2-40B4-BE49-F238E27FC236}">
                  <a16:creationId xmlns:a16="http://schemas.microsoft.com/office/drawing/2014/main" id="{A4DD68BF-AD4A-495B-998F-AB024B0C8593}"/>
                </a:ext>
              </a:extLst>
            </p:cNvPr>
            <p:cNvSpPr/>
            <p:nvPr/>
          </p:nvSpPr>
          <p:spPr bwMode="auto">
            <a:xfrm>
              <a:off x="10064835" y="2383248"/>
              <a:ext cx="11859" cy="10541"/>
            </a:xfrm>
            <a:custGeom>
              <a:avLst/>
              <a:gdLst>
                <a:gd name="T0" fmla="*/ 2 w 3"/>
                <a:gd name="T1" fmla="*/ 3 h 3"/>
                <a:gd name="T2" fmla="*/ 2 w 3"/>
                <a:gd name="T3" fmla="*/ 2 h 3"/>
                <a:gd name="T4" fmla="*/ 1 w 3"/>
                <a:gd name="T5" fmla="*/ 1 h 3"/>
                <a:gd name="T6" fmla="*/ 0 w 3"/>
                <a:gd name="T7" fmla="*/ 2 h 3"/>
                <a:gd name="T8" fmla="*/ 1 w 3"/>
                <a:gd name="T9" fmla="*/ 2 h 3"/>
                <a:gd name="T10" fmla="*/ 2 w 3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3">
                  <a:moveTo>
                    <a:pt x="2" y="3"/>
                  </a:moveTo>
                  <a:cubicBezTo>
                    <a:pt x="3" y="2"/>
                    <a:pt x="3" y="2"/>
                    <a:pt x="2" y="2"/>
                  </a:cubicBezTo>
                  <a:cubicBezTo>
                    <a:pt x="2" y="2"/>
                    <a:pt x="1" y="1"/>
                    <a:pt x="1" y="1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2" y="3"/>
                    <a:pt x="2" y="3"/>
                  </a:cubicBezTo>
                  <a:close/>
                </a:path>
              </a:pathLst>
            </a:custGeom>
            <a:solidFill>
              <a:srgbClr val="AFD7A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01" name="任意多边形: 形状 200">
              <a:extLst>
                <a:ext uri="{FF2B5EF4-FFF2-40B4-BE49-F238E27FC236}">
                  <a16:creationId xmlns:a16="http://schemas.microsoft.com/office/drawing/2014/main" id="{213A6911-E146-4E18-86AE-E7365DD3A75C}"/>
                </a:ext>
              </a:extLst>
            </p:cNvPr>
            <p:cNvSpPr/>
            <p:nvPr/>
          </p:nvSpPr>
          <p:spPr bwMode="auto">
            <a:xfrm>
              <a:off x="10084600" y="2126309"/>
              <a:ext cx="2635" cy="3952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3 h 3"/>
                <a:gd name="T4" fmla="*/ 2 w 2"/>
                <a:gd name="T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lnTo>
                    <a:pt x="0" y="3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1EC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02" name="任意多边形: 形状 201">
              <a:extLst>
                <a:ext uri="{FF2B5EF4-FFF2-40B4-BE49-F238E27FC236}">
                  <a16:creationId xmlns:a16="http://schemas.microsoft.com/office/drawing/2014/main" id="{78111D0D-F4FE-4EF0-9953-09F0D6E81FEB}"/>
                </a:ext>
              </a:extLst>
            </p:cNvPr>
            <p:cNvSpPr/>
            <p:nvPr/>
          </p:nvSpPr>
          <p:spPr bwMode="auto">
            <a:xfrm>
              <a:off x="10129399" y="225411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1EC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03" name="任意多边形: 形状 202">
              <a:extLst>
                <a:ext uri="{FF2B5EF4-FFF2-40B4-BE49-F238E27FC236}">
                  <a16:creationId xmlns:a16="http://schemas.microsoft.com/office/drawing/2014/main" id="{2ADCFA00-4E11-42DE-BA53-C8F17028B3F2}"/>
                </a:ext>
              </a:extLst>
            </p:cNvPr>
            <p:cNvSpPr/>
            <p:nvPr/>
          </p:nvSpPr>
          <p:spPr bwMode="auto">
            <a:xfrm>
              <a:off x="9525917" y="1994543"/>
              <a:ext cx="697031" cy="882817"/>
            </a:xfrm>
            <a:custGeom>
              <a:avLst/>
              <a:gdLst>
                <a:gd name="T0" fmla="*/ 117 w 529"/>
                <a:gd name="T1" fmla="*/ 670 h 670"/>
                <a:gd name="T2" fmla="*/ 40 w 529"/>
                <a:gd name="T3" fmla="*/ 366 h 670"/>
                <a:gd name="T4" fmla="*/ 0 w 529"/>
                <a:gd name="T5" fmla="*/ 214 h 670"/>
                <a:gd name="T6" fmla="*/ 80 w 529"/>
                <a:gd name="T7" fmla="*/ 77 h 670"/>
                <a:gd name="T8" fmla="*/ 386 w 529"/>
                <a:gd name="T9" fmla="*/ 0 h 670"/>
                <a:gd name="T10" fmla="*/ 415 w 529"/>
                <a:gd name="T11" fmla="*/ 111 h 670"/>
                <a:gd name="T12" fmla="*/ 452 w 529"/>
                <a:gd name="T13" fmla="*/ 260 h 670"/>
                <a:gd name="T14" fmla="*/ 529 w 529"/>
                <a:gd name="T15" fmla="*/ 564 h 670"/>
                <a:gd name="T16" fmla="*/ 117 w 529"/>
                <a:gd name="T17" fmla="*/ 670 h 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9" h="670">
                  <a:moveTo>
                    <a:pt x="117" y="670"/>
                  </a:moveTo>
                  <a:lnTo>
                    <a:pt x="40" y="366"/>
                  </a:lnTo>
                  <a:lnTo>
                    <a:pt x="0" y="214"/>
                  </a:lnTo>
                  <a:lnTo>
                    <a:pt x="80" y="77"/>
                  </a:lnTo>
                  <a:lnTo>
                    <a:pt x="386" y="0"/>
                  </a:lnTo>
                  <a:lnTo>
                    <a:pt x="415" y="111"/>
                  </a:lnTo>
                  <a:lnTo>
                    <a:pt x="452" y="260"/>
                  </a:lnTo>
                  <a:lnTo>
                    <a:pt x="529" y="564"/>
                  </a:lnTo>
                  <a:lnTo>
                    <a:pt x="117" y="670"/>
                  </a:lnTo>
                  <a:close/>
                </a:path>
              </a:pathLst>
            </a:custGeom>
            <a:solidFill>
              <a:srgbClr val="F36C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204" name="任意多边形: 形状 203">
              <a:extLst>
                <a:ext uri="{FF2B5EF4-FFF2-40B4-BE49-F238E27FC236}">
                  <a16:creationId xmlns:a16="http://schemas.microsoft.com/office/drawing/2014/main" id="{227EC50C-B25B-4BFE-851E-0EBF974F5134}"/>
                </a:ext>
              </a:extLst>
            </p:cNvPr>
            <p:cNvSpPr/>
            <p:nvPr/>
          </p:nvSpPr>
          <p:spPr bwMode="auto">
            <a:xfrm>
              <a:off x="9525917" y="2096002"/>
              <a:ext cx="143623" cy="180516"/>
            </a:xfrm>
            <a:custGeom>
              <a:avLst/>
              <a:gdLst>
                <a:gd name="T0" fmla="*/ 109 w 109"/>
                <a:gd name="T1" fmla="*/ 109 h 137"/>
                <a:gd name="T2" fmla="*/ 0 w 109"/>
                <a:gd name="T3" fmla="*/ 137 h 137"/>
                <a:gd name="T4" fmla="*/ 80 w 109"/>
                <a:gd name="T5" fmla="*/ 0 h 137"/>
                <a:gd name="T6" fmla="*/ 109 w 109"/>
                <a:gd name="T7" fmla="*/ 109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9" h="137">
                  <a:moveTo>
                    <a:pt x="109" y="109"/>
                  </a:moveTo>
                  <a:lnTo>
                    <a:pt x="0" y="137"/>
                  </a:lnTo>
                  <a:lnTo>
                    <a:pt x="80" y="0"/>
                  </a:lnTo>
                  <a:lnTo>
                    <a:pt x="109" y="10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zh-CN" altLang="en-US"/>
            </a:p>
          </p:txBody>
        </p:sp>
        <p:sp>
          <p:nvSpPr>
            <p:cNvPr id="205" name="任意多边形: 形状 204">
              <a:extLst>
                <a:ext uri="{FF2B5EF4-FFF2-40B4-BE49-F238E27FC236}">
                  <a16:creationId xmlns:a16="http://schemas.microsoft.com/office/drawing/2014/main" id="{A96954DC-02DD-4F32-B212-E6D674BF43CB}"/>
                </a:ext>
              </a:extLst>
            </p:cNvPr>
            <p:cNvSpPr/>
            <p:nvPr/>
          </p:nvSpPr>
          <p:spPr bwMode="auto">
            <a:xfrm>
              <a:off x="9525917" y="2239624"/>
              <a:ext cx="143623" cy="180516"/>
            </a:xfrm>
            <a:custGeom>
              <a:avLst/>
              <a:gdLst>
                <a:gd name="T0" fmla="*/ 0 w 109"/>
                <a:gd name="T1" fmla="*/ 28 h 137"/>
                <a:gd name="T2" fmla="*/ 109 w 109"/>
                <a:gd name="T3" fmla="*/ 0 h 137"/>
                <a:gd name="T4" fmla="*/ 28 w 109"/>
                <a:gd name="T5" fmla="*/ 137 h 137"/>
                <a:gd name="T6" fmla="*/ 0 w 109"/>
                <a:gd name="T7" fmla="*/ 2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9" h="137">
                  <a:moveTo>
                    <a:pt x="0" y="28"/>
                  </a:moveTo>
                  <a:lnTo>
                    <a:pt x="109" y="0"/>
                  </a:lnTo>
                  <a:lnTo>
                    <a:pt x="28" y="137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DC62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40000" lnSpcReduction="20000"/>
            </a:bodyPr>
            <a:lstStyle/>
            <a:p>
              <a:endParaRPr lang="zh-CN" altLang="en-US"/>
            </a:p>
          </p:txBody>
        </p:sp>
        <p:sp>
          <p:nvSpPr>
            <p:cNvPr id="206" name="任意多边形: 形状 205">
              <a:extLst>
                <a:ext uri="{FF2B5EF4-FFF2-40B4-BE49-F238E27FC236}">
                  <a16:creationId xmlns:a16="http://schemas.microsoft.com/office/drawing/2014/main" id="{B31BAE50-4ED2-40E5-8415-B8D8ACF6E73A}"/>
                </a:ext>
              </a:extLst>
            </p:cNvPr>
            <p:cNvSpPr/>
            <p:nvPr/>
          </p:nvSpPr>
          <p:spPr bwMode="auto">
            <a:xfrm>
              <a:off x="9706433" y="2258071"/>
              <a:ext cx="516514" cy="554725"/>
            </a:xfrm>
            <a:custGeom>
              <a:avLst/>
              <a:gdLst>
                <a:gd name="T0" fmla="*/ 112 w 137"/>
                <a:gd name="T1" fmla="*/ 27 h 147"/>
                <a:gd name="T2" fmla="*/ 72 w 137"/>
                <a:gd name="T3" fmla="*/ 4 h 147"/>
                <a:gd name="T4" fmla="*/ 69 w 137"/>
                <a:gd name="T5" fmla="*/ 2 h 147"/>
                <a:gd name="T6" fmla="*/ 68 w 137"/>
                <a:gd name="T7" fmla="*/ 2 h 147"/>
                <a:gd name="T8" fmla="*/ 68 w 137"/>
                <a:gd name="T9" fmla="*/ 2 h 147"/>
                <a:gd name="T10" fmla="*/ 59 w 137"/>
                <a:gd name="T11" fmla="*/ 1 h 147"/>
                <a:gd name="T12" fmla="*/ 57 w 137"/>
                <a:gd name="T13" fmla="*/ 2 h 147"/>
                <a:gd name="T14" fmla="*/ 46 w 137"/>
                <a:gd name="T15" fmla="*/ 14 h 147"/>
                <a:gd name="T16" fmla="*/ 48 w 137"/>
                <a:gd name="T17" fmla="*/ 17 h 147"/>
                <a:gd name="T18" fmla="*/ 48 w 137"/>
                <a:gd name="T19" fmla="*/ 17 h 147"/>
                <a:gd name="T20" fmla="*/ 60 w 137"/>
                <a:gd name="T21" fmla="*/ 24 h 147"/>
                <a:gd name="T22" fmla="*/ 56 w 137"/>
                <a:gd name="T23" fmla="*/ 26 h 147"/>
                <a:gd name="T24" fmla="*/ 51 w 137"/>
                <a:gd name="T25" fmla="*/ 31 h 147"/>
                <a:gd name="T26" fmla="*/ 50 w 137"/>
                <a:gd name="T27" fmla="*/ 32 h 147"/>
                <a:gd name="T28" fmla="*/ 16 w 137"/>
                <a:gd name="T29" fmla="*/ 11 h 147"/>
                <a:gd name="T30" fmla="*/ 14 w 137"/>
                <a:gd name="T31" fmla="*/ 10 h 147"/>
                <a:gd name="T32" fmla="*/ 12 w 137"/>
                <a:gd name="T33" fmla="*/ 12 h 147"/>
                <a:gd name="T34" fmla="*/ 6 w 137"/>
                <a:gd name="T35" fmla="*/ 108 h 147"/>
                <a:gd name="T36" fmla="*/ 1 w 137"/>
                <a:gd name="T37" fmla="*/ 109 h 147"/>
                <a:gd name="T38" fmla="*/ 0 w 137"/>
                <a:gd name="T39" fmla="*/ 112 h 147"/>
                <a:gd name="T40" fmla="*/ 2 w 137"/>
                <a:gd name="T41" fmla="*/ 113 h 147"/>
                <a:gd name="T42" fmla="*/ 59 w 137"/>
                <a:gd name="T43" fmla="*/ 147 h 147"/>
                <a:gd name="T44" fmla="*/ 137 w 137"/>
                <a:gd name="T45" fmla="*/ 127 h 147"/>
                <a:gd name="T46" fmla="*/ 112 w 137"/>
                <a:gd name="T47" fmla="*/ 27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7" h="147">
                  <a:moveTo>
                    <a:pt x="112" y="27"/>
                  </a:moveTo>
                  <a:cubicBezTo>
                    <a:pt x="72" y="4"/>
                    <a:pt x="72" y="4"/>
                    <a:pt x="72" y="4"/>
                  </a:cubicBezTo>
                  <a:cubicBezTo>
                    <a:pt x="71" y="3"/>
                    <a:pt x="70" y="2"/>
                    <a:pt x="69" y="2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8" y="2"/>
                    <a:pt x="68" y="2"/>
                    <a:pt x="68" y="2"/>
                  </a:cubicBezTo>
                  <a:cubicBezTo>
                    <a:pt x="66" y="1"/>
                    <a:pt x="63" y="0"/>
                    <a:pt x="59" y="1"/>
                  </a:cubicBezTo>
                  <a:cubicBezTo>
                    <a:pt x="57" y="2"/>
                    <a:pt x="57" y="2"/>
                    <a:pt x="57" y="2"/>
                  </a:cubicBezTo>
                  <a:cubicBezTo>
                    <a:pt x="51" y="3"/>
                    <a:pt x="47" y="8"/>
                    <a:pt x="46" y="14"/>
                  </a:cubicBezTo>
                  <a:cubicBezTo>
                    <a:pt x="46" y="16"/>
                    <a:pt x="46" y="17"/>
                    <a:pt x="48" y="17"/>
                  </a:cubicBezTo>
                  <a:cubicBezTo>
                    <a:pt x="48" y="17"/>
                    <a:pt x="48" y="17"/>
                    <a:pt x="48" y="17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58" y="25"/>
                    <a:pt x="57" y="25"/>
                    <a:pt x="56" y="26"/>
                  </a:cubicBezTo>
                  <a:cubicBezTo>
                    <a:pt x="54" y="27"/>
                    <a:pt x="52" y="29"/>
                    <a:pt x="51" y="31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5" y="10"/>
                    <a:pt x="14" y="10"/>
                  </a:cubicBezTo>
                  <a:cubicBezTo>
                    <a:pt x="13" y="11"/>
                    <a:pt x="12" y="11"/>
                    <a:pt x="12" y="12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0" y="109"/>
                    <a:pt x="0" y="110"/>
                    <a:pt x="0" y="112"/>
                  </a:cubicBezTo>
                  <a:cubicBezTo>
                    <a:pt x="0" y="112"/>
                    <a:pt x="1" y="113"/>
                    <a:pt x="2" y="113"/>
                  </a:cubicBezTo>
                  <a:cubicBezTo>
                    <a:pt x="59" y="147"/>
                    <a:pt x="59" y="147"/>
                    <a:pt x="59" y="147"/>
                  </a:cubicBezTo>
                  <a:cubicBezTo>
                    <a:pt x="137" y="127"/>
                    <a:pt x="137" y="127"/>
                    <a:pt x="137" y="127"/>
                  </a:cubicBezTo>
                  <a:lnTo>
                    <a:pt x="112" y="27"/>
                  </a:lnTo>
                  <a:close/>
                </a:path>
              </a:pathLst>
            </a:custGeom>
            <a:solidFill>
              <a:srgbClr val="DC62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207" name="任意多边形: 形状 206">
              <a:extLst>
                <a:ext uri="{FF2B5EF4-FFF2-40B4-BE49-F238E27FC236}">
                  <a16:creationId xmlns:a16="http://schemas.microsoft.com/office/drawing/2014/main" id="{B1597708-A04A-48AD-9DE0-3D116F3A9747}"/>
                </a:ext>
              </a:extLst>
            </p:cNvPr>
            <p:cNvSpPr/>
            <p:nvPr/>
          </p:nvSpPr>
          <p:spPr bwMode="auto">
            <a:xfrm>
              <a:off x="9728833" y="2296283"/>
              <a:ext cx="238493" cy="384750"/>
            </a:xfrm>
            <a:custGeom>
              <a:avLst/>
              <a:gdLst>
                <a:gd name="T0" fmla="*/ 3 w 63"/>
                <a:gd name="T1" fmla="*/ 102 h 102"/>
                <a:gd name="T2" fmla="*/ 2 w 63"/>
                <a:gd name="T3" fmla="*/ 102 h 102"/>
                <a:gd name="T4" fmla="*/ 0 w 63"/>
                <a:gd name="T5" fmla="*/ 99 h 102"/>
                <a:gd name="T6" fmla="*/ 6 w 63"/>
                <a:gd name="T7" fmla="*/ 2 h 102"/>
                <a:gd name="T8" fmla="*/ 8 w 63"/>
                <a:gd name="T9" fmla="*/ 0 h 102"/>
                <a:gd name="T10" fmla="*/ 10 w 63"/>
                <a:gd name="T11" fmla="*/ 1 h 102"/>
                <a:gd name="T12" fmla="*/ 62 w 63"/>
                <a:gd name="T13" fmla="*/ 83 h 102"/>
                <a:gd name="T14" fmla="*/ 62 w 63"/>
                <a:gd name="T15" fmla="*/ 86 h 102"/>
                <a:gd name="T16" fmla="*/ 59 w 63"/>
                <a:gd name="T17" fmla="*/ 86 h 102"/>
                <a:gd name="T18" fmla="*/ 10 w 63"/>
                <a:gd name="T19" fmla="*/ 9 h 102"/>
                <a:gd name="T20" fmla="*/ 4 w 63"/>
                <a:gd name="T21" fmla="*/ 100 h 102"/>
                <a:gd name="T22" fmla="*/ 3 w 63"/>
                <a:gd name="T23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3" h="102">
                  <a:moveTo>
                    <a:pt x="3" y="102"/>
                  </a:moveTo>
                  <a:cubicBezTo>
                    <a:pt x="2" y="102"/>
                    <a:pt x="2" y="102"/>
                    <a:pt x="2" y="102"/>
                  </a:cubicBezTo>
                  <a:cubicBezTo>
                    <a:pt x="1" y="102"/>
                    <a:pt x="0" y="101"/>
                    <a:pt x="0" y="99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1"/>
                    <a:pt x="7" y="1"/>
                    <a:pt x="8" y="0"/>
                  </a:cubicBezTo>
                  <a:cubicBezTo>
                    <a:pt x="9" y="0"/>
                    <a:pt x="10" y="1"/>
                    <a:pt x="10" y="1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63" y="84"/>
                    <a:pt x="63" y="86"/>
                    <a:pt x="62" y="86"/>
                  </a:cubicBezTo>
                  <a:cubicBezTo>
                    <a:pt x="61" y="87"/>
                    <a:pt x="59" y="87"/>
                    <a:pt x="59" y="86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4" y="100"/>
                    <a:pt x="4" y="100"/>
                    <a:pt x="4" y="100"/>
                  </a:cubicBezTo>
                  <a:cubicBezTo>
                    <a:pt x="4" y="101"/>
                    <a:pt x="4" y="101"/>
                    <a:pt x="3" y="1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208" name="任意多边形: 形状 207">
              <a:extLst>
                <a:ext uri="{FF2B5EF4-FFF2-40B4-BE49-F238E27FC236}">
                  <a16:creationId xmlns:a16="http://schemas.microsoft.com/office/drawing/2014/main" id="{A8CB968B-5B92-4C98-8812-1D1C94E8464F}"/>
                </a:ext>
              </a:extLst>
            </p:cNvPr>
            <p:cNvSpPr/>
            <p:nvPr/>
          </p:nvSpPr>
          <p:spPr bwMode="auto">
            <a:xfrm>
              <a:off x="9706433" y="2654680"/>
              <a:ext cx="68517" cy="30305"/>
            </a:xfrm>
            <a:custGeom>
              <a:avLst/>
              <a:gdLst>
                <a:gd name="T0" fmla="*/ 16 w 18"/>
                <a:gd name="T1" fmla="*/ 5 h 8"/>
                <a:gd name="T2" fmla="*/ 2 w 18"/>
                <a:gd name="T3" fmla="*/ 8 h 8"/>
                <a:gd name="T4" fmla="*/ 0 w 18"/>
                <a:gd name="T5" fmla="*/ 7 h 8"/>
                <a:gd name="T6" fmla="*/ 1 w 18"/>
                <a:gd name="T7" fmla="*/ 4 h 8"/>
                <a:gd name="T8" fmla="*/ 15 w 18"/>
                <a:gd name="T9" fmla="*/ 0 h 8"/>
                <a:gd name="T10" fmla="*/ 18 w 18"/>
                <a:gd name="T11" fmla="*/ 2 h 8"/>
                <a:gd name="T12" fmla="*/ 16 w 18"/>
                <a:gd name="T1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8">
                  <a:moveTo>
                    <a:pt x="16" y="5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8"/>
                    <a:pt x="0" y="7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7" y="0"/>
                    <a:pt x="18" y="1"/>
                    <a:pt x="18" y="2"/>
                  </a:cubicBezTo>
                  <a:cubicBezTo>
                    <a:pt x="18" y="3"/>
                    <a:pt x="18" y="4"/>
                    <a:pt x="16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09" name="任意多边形: 形状 208">
              <a:extLst>
                <a:ext uri="{FF2B5EF4-FFF2-40B4-BE49-F238E27FC236}">
                  <a16:creationId xmlns:a16="http://schemas.microsoft.com/office/drawing/2014/main" id="{06F337D0-CB12-45F1-B35E-BD849E583080}"/>
                </a:ext>
              </a:extLst>
            </p:cNvPr>
            <p:cNvSpPr/>
            <p:nvPr/>
          </p:nvSpPr>
          <p:spPr bwMode="auto">
            <a:xfrm>
              <a:off x="9921208" y="2601974"/>
              <a:ext cx="68517" cy="30305"/>
            </a:xfrm>
            <a:custGeom>
              <a:avLst/>
              <a:gdLst>
                <a:gd name="T0" fmla="*/ 16 w 18"/>
                <a:gd name="T1" fmla="*/ 4 h 8"/>
                <a:gd name="T2" fmla="*/ 2 w 18"/>
                <a:gd name="T3" fmla="*/ 8 h 8"/>
                <a:gd name="T4" fmla="*/ 0 w 18"/>
                <a:gd name="T5" fmla="*/ 6 h 8"/>
                <a:gd name="T6" fmla="*/ 1 w 18"/>
                <a:gd name="T7" fmla="*/ 3 h 8"/>
                <a:gd name="T8" fmla="*/ 15 w 18"/>
                <a:gd name="T9" fmla="*/ 0 h 8"/>
                <a:gd name="T10" fmla="*/ 18 w 18"/>
                <a:gd name="T11" fmla="*/ 1 h 8"/>
                <a:gd name="T12" fmla="*/ 16 w 18"/>
                <a:gd name="T13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8">
                  <a:moveTo>
                    <a:pt x="16" y="4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1" y="8"/>
                    <a:pt x="0" y="7"/>
                    <a:pt x="0" y="6"/>
                  </a:cubicBezTo>
                  <a:cubicBezTo>
                    <a:pt x="0" y="5"/>
                    <a:pt x="0" y="4"/>
                    <a:pt x="1" y="3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6" y="0"/>
                    <a:pt x="18" y="0"/>
                    <a:pt x="18" y="1"/>
                  </a:cubicBezTo>
                  <a:cubicBezTo>
                    <a:pt x="18" y="3"/>
                    <a:pt x="18" y="4"/>
                    <a:pt x="16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10" name="任意多边形: 形状 209">
              <a:extLst>
                <a:ext uri="{FF2B5EF4-FFF2-40B4-BE49-F238E27FC236}">
                  <a16:creationId xmlns:a16="http://schemas.microsoft.com/office/drawing/2014/main" id="{BF36D818-B50A-47B2-A4FB-DA12DABEC353}"/>
                </a:ext>
              </a:extLst>
            </p:cNvPr>
            <p:cNvSpPr/>
            <p:nvPr/>
          </p:nvSpPr>
          <p:spPr bwMode="auto">
            <a:xfrm>
              <a:off x="9740692" y="2511057"/>
              <a:ext cx="158117" cy="56658"/>
            </a:xfrm>
            <a:custGeom>
              <a:avLst/>
              <a:gdLst>
                <a:gd name="T0" fmla="*/ 41 w 42"/>
                <a:gd name="T1" fmla="*/ 5 h 15"/>
                <a:gd name="T2" fmla="*/ 3 w 42"/>
                <a:gd name="T3" fmla="*/ 14 h 15"/>
                <a:gd name="T4" fmla="*/ 1 w 42"/>
                <a:gd name="T5" fmla="*/ 13 h 15"/>
                <a:gd name="T6" fmla="*/ 2 w 42"/>
                <a:gd name="T7" fmla="*/ 10 h 15"/>
                <a:gd name="T8" fmla="*/ 40 w 42"/>
                <a:gd name="T9" fmla="*/ 1 h 15"/>
                <a:gd name="T10" fmla="*/ 42 w 42"/>
                <a:gd name="T11" fmla="*/ 2 h 15"/>
                <a:gd name="T12" fmla="*/ 41 w 42"/>
                <a:gd name="T13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15">
                  <a:moveTo>
                    <a:pt x="41" y="5"/>
                  </a:moveTo>
                  <a:cubicBezTo>
                    <a:pt x="3" y="14"/>
                    <a:pt x="3" y="14"/>
                    <a:pt x="3" y="14"/>
                  </a:cubicBezTo>
                  <a:cubicBezTo>
                    <a:pt x="2" y="15"/>
                    <a:pt x="1" y="14"/>
                    <a:pt x="1" y="13"/>
                  </a:cubicBezTo>
                  <a:cubicBezTo>
                    <a:pt x="0" y="12"/>
                    <a:pt x="1" y="10"/>
                    <a:pt x="2" y="10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41" y="0"/>
                    <a:pt x="42" y="1"/>
                    <a:pt x="42" y="2"/>
                  </a:cubicBezTo>
                  <a:cubicBezTo>
                    <a:pt x="42" y="3"/>
                    <a:pt x="42" y="4"/>
                    <a:pt x="41" y="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11" name="任意多边形: 形状 210">
              <a:extLst>
                <a:ext uri="{FF2B5EF4-FFF2-40B4-BE49-F238E27FC236}">
                  <a16:creationId xmlns:a16="http://schemas.microsoft.com/office/drawing/2014/main" id="{B4393BF7-BCC2-4995-8B06-13872A63DBC5}"/>
                </a:ext>
              </a:extLst>
            </p:cNvPr>
            <p:cNvSpPr/>
            <p:nvPr/>
          </p:nvSpPr>
          <p:spPr bwMode="auto">
            <a:xfrm>
              <a:off x="9890902" y="2314730"/>
              <a:ext cx="121223" cy="125175"/>
            </a:xfrm>
            <a:custGeom>
              <a:avLst/>
              <a:gdLst>
                <a:gd name="T0" fmla="*/ 16 w 32"/>
                <a:gd name="T1" fmla="*/ 32 h 33"/>
                <a:gd name="T2" fmla="*/ 6 w 32"/>
                <a:gd name="T3" fmla="*/ 31 h 33"/>
                <a:gd name="T4" fmla="*/ 1 w 32"/>
                <a:gd name="T5" fmla="*/ 24 h 33"/>
                <a:gd name="T6" fmla="*/ 2 w 32"/>
                <a:gd name="T7" fmla="*/ 16 h 33"/>
                <a:gd name="T8" fmla="*/ 7 w 32"/>
                <a:gd name="T9" fmla="*/ 11 h 33"/>
                <a:gd name="T10" fmla="*/ 16 w 32"/>
                <a:gd name="T11" fmla="*/ 6 h 33"/>
                <a:gd name="T12" fmla="*/ 26 w 32"/>
                <a:gd name="T13" fmla="*/ 1 h 33"/>
                <a:gd name="T14" fmla="*/ 28 w 32"/>
                <a:gd name="T15" fmla="*/ 0 h 33"/>
                <a:gd name="T16" fmla="*/ 29 w 32"/>
                <a:gd name="T17" fmla="*/ 2 h 33"/>
                <a:gd name="T18" fmla="*/ 30 w 32"/>
                <a:gd name="T19" fmla="*/ 4 h 33"/>
                <a:gd name="T20" fmla="*/ 31 w 32"/>
                <a:gd name="T21" fmla="*/ 19 h 33"/>
                <a:gd name="T22" fmla="*/ 26 w 32"/>
                <a:gd name="T23" fmla="*/ 27 h 33"/>
                <a:gd name="T24" fmla="*/ 16 w 32"/>
                <a:gd name="T25" fmla="*/ 32 h 33"/>
                <a:gd name="T26" fmla="*/ 26 w 32"/>
                <a:gd name="T27" fmla="*/ 6 h 33"/>
                <a:gd name="T28" fmla="*/ 18 w 32"/>
                <a:gd name="T29" fmla="*/ 10 h 33"/>
                <a:gd name="T30" fmla="*/ 9 w 32"/>
                <a:gd name="T31" fmla="*/ 15 h 33"/>
                <a:gd name="T32" fmla="*/ 5 w 32"/>
                <a:gd name="T33" fmla="*/ 18 h 33"/>
                <a:gd name="T34" fmla="*/ 5 w 32"/>
                <a:gd name="T35" fmla="*/ 23 h 33"/>
                <a:gd name="T36" fmla="*/ 8 w 32"/>
                <a:gd name="T37" fmla="*/ 27 h 33"/>
                <a:gd name="T38" fmla="*/ 15 w 32"/>
                <a:gd name="T39" fmla="*/ 28 h 33"/>
                <a:gd name="T40" fmla="*/ 23 w 32"/>
                <a:gd name="T41" fmla="*/ 24 h 33"/>
                <a:gd name="T42" fmla="*/ 27 w 32"/>
                <a:gd name="T43" fmla="*/ 18 h 33"/>
                <a:gd name="T44" fmla="*/ 26 w 32"/>
                <a:gd name="T45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2" h="33">
                  <a:moveTo>
                    <a:pt x="16" y="32"/>
                  </a:moveTo>
                  <a:cubicBezTo>
                    <a:pt x="12" y="33"/>
                    <a:pt x="9" y="33"/>
                    <a:pt x="6" y="31"/>
                  </a:cubicBezTo>
                  <a:cubicBezTo>
                    <a:pt x="3" y="30"/>
                    <a:pt x="1" y="27"/>
                    <a:pt x="1" y="24"/>
                  </a:cubicBezTo>
                  <a:cubicBezTo>
                    <a:pt x="0" y="21"/>
                    <a:pt x="0" y="18"/>
                    <a:pt x="2" y="16"/>
                  </a:cubicBezTo>
                  <a:cubicBezTo>
                    <a:pt x="3" y="14"/>
                    <a:pt x="5" y="12"/>
                    <a:pt x="7" y="11"/>
                  </a:cubicBezTo>
                  <a:cubicBezTo>
                    <a:pt x="9" y="10"/>
                    <a:pt x="11" y="9"/>
                    <a:pt x="16" y="6"/>
                  </a:cubicBezTo>
                  <a:cubicBezTo>
                    <a:pt x="21" y="4"/>
                    <a:pt x="24" y="2"/>
                    <a:pt x="26" y="1"/>
                  </a:cubicBezTo>
                  <a:cubicBezTo>
                    <a:pt x="26" y="0"/>
                    <a:pt x="27" y="0"/>
                    <a:pt x="28" y="0"/>
                  </a:cubicBezTo>
                  <a:cubicBezTo>
                    <a:pt x="29" y="1"/>
                    <a:pt x="29" y="1"/>
                    <a:pt x="29" y="2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1" y="11"/>
                    <a:pt x="32" y="15"/>
                    <a:pt x="31" y="19"/>
                  </a:cubicBezTo>
                  <a:cubicBezTo>
                    <a:pt x="30" y="22"/>
                    <a:pt x="28" y="25"/>
                    <a:pt x="26" y="27"/>
                  </a:cubicBezTo>
                  <a:cubicBezTo>
                    <a:pt x="23" y="30"/>
                    <a:pt x="20" y="31"/>
                    <a:pt x="16" y="32"/>
                  </a:cubicBezTo>
                  <a:close/>
                  <a:moveTo>
                    <a:pt x="26" y="6"/>
                  </a:moveTo>
                  <a:cubicBezTo>
                    <a:pt x="24" y="7"/>
                    <a:pt x="21" y="8"/>
                    <a:pt x="18" y="10"/>
                  </a:cubicBezTo>
                  <a:cubicBezTo>
                    <a:pt x="13" y="12"/>
                    <a:pt x="11" y="14"/>
                    <a:pt x="9" y="15"/>
                  </a:cubicBezTo>
                  <a:cubicBezTo>
                    <a:pt x="8" y="15"/>
                    <a:pt x="6" y="17"/>
                    <a:pt x="5" y="18"/>
                  </a:cubicBezTo>
                  <a:cubicBezTo>
                    <a:pt x="4" y="19"/>
                    <a:pt x="4" y="21"/>
                    <a:pt x="5" y="23"/>
                  </a:cubicBezTo>
                  <a:cubicBezTo>
                    <a:pt x="5" y="25"/>
                    <a:pt x="6" y="26"/>
                    <a:pt x="8" y="27"/>
                  </a:cubicBezTo>
                  <a:cubicBezTo>
                    <a:pt x="10" y="29"/>
                    <a:pt x="12" y="29"/>
                    <a:pt x="15" y="28"/>
                  </a:cubicBezTo>
                  <a:cubicBezTo>
                    <a:pt x="18" y="27"/>
                    <a:pt x="21" y="26"/>
                    <a:pt x="23" y="24"/>
                  </a:cubicBezTo>
                  <a:cubicBezTo>
                    <a:pt x="25" y="22"/>
                    <a:pt x="26" y="20"/>
                    <a:pt x="27" y="18"/>
                  </a:cubicBezTo>
                  <a:cubicBezTo>
                    <a:pt x="27" y="15"/>
                    <a:pt x="27" y="11"/>
                    <a:pt x="26" y="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12" name="任意多边形: 形状 211">
              <a:extLst>
                <a:ext uri="{FF2B5EF4-FFF2-40B4-BE49-F238E27FC236}">
                  <a16:creationId xmlns:a16="http://schemas.microsoft.com/office/drawing/2014/main" id="{036EE09F-9C23-4297-B7EE-CD4E70202B15}"/>
                </a:ext>
              </a:extLst>
            </p:cNvPr>
            <p:cNvSpPr/>
            <p:nvPr/>
          </p:nvSpPr>
          <p:spPr bwMode="auto">
            <a:xfrm>
              <a:off x="9880361" y="2254118"/>
              <a:ext cx="147575" cy="166022"/>
            </a:xfrm>
            <a:custGeom>
              <a:avLst/>
              <a:gdLst>
                <a:gd name="T0" fmla="*/ 37 w 39"/>
                <a:gd name="T1" fmla="*/ 43 h 44"/>
                <a:gd name="T2" fmla="*/ 34 w 39"/>
                <a:gd name="T3" fmla="*/ 42 h 44"/>
                <a:gd name="T4" fmla="*/ 27 w 39"/>
                <a:gd name="T5" fmla="*/ 14 h 44"/>
                <a:gd name="T6" fmla="*/ 15 w 39"/>
                <a:gd name="T7" fmla="*/ 6 h 44"/>
                <a:gd name="T8" fmla="*/ 12 w 39"/>
                <a:gd name="T9" fmla="*/ 7 h 44"/>
                <a:gd name="T10" fmla="*/ 4 w 39"/>
                <a:gd name="T11" fmla="*/ 16 h 44"/>
                <a:gd name="T12" fmla="*/ 2 w 39"/>
                <a:gd name="T13" fmla="*/ 18 h 44"/>
                <a:gd name="T14" fmla="*/ 0 w 39"/>
                <a:gd name="T15" fmla="*/ 15 h 44"/>
                <a:gd name="T16" fmla="*/ 11 w 39"/>
                <a:gd name="T17" fmla="*/ 3 h 44"/>
                <a:gd name="T18" fmla="*/ 13 w 39"/>
                <a:gd name="T19" fmla="*/ 2 h 44"/>
                <a:gd name="T20" fmla="*/ 32 w 39"/>
                <a:gd name="T21" fmla="*/ 13 h 44"/>
                <a:gd name="T22" fmla="*/ 38 w 39"/>
                <a:gd name="T23" fmla="*/ 41 h 44"/>
                <a:gd name="T24" fmla="*/ 37 w 39"/>
                <a:gd name="T25" fmla="*/ 4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44">
                  <a:moveTo>
                    <a:pt x="37" y="43"/>
                  </a:moveTo>
                  <a:cubicBezTo>
                    <a:pt x="36" y="44"/>
                    <a:pt x="35" y="43"/>
                    <a:pt x="34" y="42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6" y="9"/>
                    <a:pt x="20" y="5"/>
                    <a:pt x="15" y="6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8" y="8"/>
                    <a:pt x="5" y="12"/>
                    <a:pt x="4" y="16"/>
                  </a:cubicBezTo>
                  <a:cubicBezTo>
                    <a:pt x="4" y="17"/>
                    <a:pt x="3" y="18"/>
                    <a:pt x="2" y="18"/>
                  </a:cubicBezTo>
                  <a:cubicBezTo>
                    <a:pt x="0" y="18"/>
                    <a:pt x="0" y="17"/>
                    <a:pt x="0" y="15"/>
                  </a:cubicBezTo>
                  <a:cubicBezTo>
                    <a:pt x="1" y="9"/>
                    <a:pt x="5" y="4"/>
                    <a:pt x="11" y="3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21" y="0"/>
                    <a:pt x="29" y="5"/>
                    <a:pt x="32" y="13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9" y="42"/>
                    <a:pt x="38" y="43"/>
                    <a:pt x="37" y="4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zh-CN" altLang="en-US"/>
            </a:p>
          </p:txBody>
        </p:sp>
        <p:sp>
          <p:nvSpPr>
            <p:cNvPr id="213" name="任意多边形: 形状 212">
              <a:extLst>
                <a:ext uri="{FF2B5EF4-FFF2-40B4-BE49-F238E27FC236}">
                  <a16:creationId xmlns:a16="http://schemas.microsoft.com/office/drawing/2014/main" id="{80563B27-4973-4AB3-B125-AB3D7A91A7BF}"/>
                </a:ext>
              </a:extLst>
            </p:cNvPr>
            <p:cNvSpPr/>
            <p:nvPr/>
          </p:nvSpPr>
          <p:spPr bwMode="auto">
            <a:xfrm>
              <a:off x="10728920" y="1684899"/>
              <a:ext cx="487526" cy="463808"/>
            </a:xfrm>
            <a:custGeom>
              <a:avLst/>
              <a:gdLst>
                <a:gd name="T0" fmla="*/ 7 w 129"/>
                <a:gd name="T1" fmla="*/ 115 h 123"/>
                <a:gd name="T2" fmla="*/ 7 w 129"/>
                <a:gd name="T3" fmla="*/ 115 h 123"/>
                <a:gd name="T4" fmla="*/ 12 w 129"/>
                <a:gd name="T5" fmla="*/ 83 h 123"/>
                <a:gd name="T6" fmla="*/ 90 w 129"/>
                <a:gd name="T7" fmla="*/ 10 h 123"/>
                <a:gd name="T8" fmla="*/ 121 w 129"/>
                <a:gd name="T9" fmla="*/ 8 h 123"/>
                <a:gd name="T10" fmla="*/ 122 w 129"/>
                <a:gd name="T11" fmla="*/ 8 h 123"/>
                <a:gd name="T12" fmla="*/ 117 w 129"/>
                <a:gd name="T13" fmla="*/ 39 h 123"/>
                <a:gd name="T14" fmla="*/ 39 w 129"/>
                <a:gd name="T15" fmla="*/ 112 h 123"/>
                <a:gd name="T16" fmla="*/ 7 w 129"/>
                <a:gd name="T17" fmla="*/ 115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9" h="123">
                  <a:moveTo>
                    <a:pt x="7" y="115"/>
                  </a:moveTo>
                  <a:cubicBezTo>
                    <a:pt x="7" y="115"/>
                    <a:pt x="7" y="115"/>
                    <a:pt x="7" y="115"/>
                  </a:cubicBezTo>
                  <a:cubicBezTo>
                    <a:pt x="0" y="107"/>
                    <a:pt x="2" y="93"/>
                    <a:pt x="12" y="83"/>
                  </a:cubicBezTo>
                  <a:cubicBezTo>
                    <a:pt x="90" y="10"/>
                    <a:pt x="90" y="10"/>
                    <a:pt x="90" y="10"/>
                  </a:cubicBezTo>
                  <a:cubicBezTo>
                    <a:pt x="100" y="1"/>
                    <a:pt x="114" y="0"/>
                    <a:pt x="121" y="8"/>
                  </a:cubicBezTo>
                  <a:cubicBezTo>
                    <a:pt x="122" y="8"/>
                    <a:pt x="122" y="8"/>
                    <a:pt x="122" y="8"/>
                  </a:cubicBezTo>
                  <a:cubicBezTo>
                    <a:pt x="129" y="16"/>
                    <a:pt x="127" y="30"/>
                    <a:pt x="117" y="39"/>
                  </a:cubicBezTo>
                  <a:cubicBezTo>
                    <a:pt x="39" y="112"/>
                    <a:pt x="39" y="112"/>
                    <a:pt x="39" y="112"/>
                  </a:cubicBezTo>
                  <a:cubicBezTo>
                    <a:pt x="29" y="121"/>
                    <a:pt x="15" y="123"/>
                    <a:pt x="7" y="115"/>
                  </a:cubicBezTo>
                  <a:close/>
                </a:path>
              </a:pathLst>
            </a:custGeom>
            <a:solidFill>
              <a:srgbClr val="DC62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214" name="任意多边形: 形状 213">
              <a:extLst>
                <a:ext uri="{FF2B5EF4-FFF2-40B4-BE49-F238E27FC236}">
                  <a16:creationId xmlns:a16="http://schemas.microsoft.com/office/drawing/2014/main" id="{65F09B28-3C48-4DB2-A27D-33B4FB869656}"/>
                </a:ext>
              </a:extLst>
            </p:cNvPr>
            <p:cNvSpPr/>
            <p:nvPr/>
          </p:nvSpPr>
          <p:spPr bwMode="auto">
            <a:xfrm>
              <a:off x="10755273" y="1725745"/>
              <a:ext cx="388703" cy="366303"/>
            </a:xfrm>
            <a:custGeom>
              <a:avLst/>
              <a:gdLst>
                <a:gd name="T0" fmla="*/ 15 w 103"/>
                <a:gd name="T1" fmla="*/ 92 h 97"/>
                <a:gd name="T2" fmla="*/ 103 w 103"/>
                <a:gd name="T3" fmla="*/ 10 h 97"/>
                <a:gd name="T4" fmla="*/ 101 w 103"/>
                <a:gd name="T5" fmla="*/ 9 h 97"/>
                <a:gd name="T6" fmla="*/ 101 w 103"/>
                <a:gd name="T7" fmla="*/ 9 h 97"/>
                <a:gd name="T8" fmla="*/ 94 w 103"/>
                <a:gd name="T9" fmla="*/ 0 h 97"/>
                <a:gd name="T10" fmla="*/ 6 w 103"/>
                <a:gd name="T11" fmla="*/ 82 h 97"/>
                <a:gd name="T12" fmla="*/ 3 w 103"/>
                <a:gd name="T13" fmla="*/ 95 h 97"/>
                <a:gd name="T14" fmla="*/ 3 w 103"/>
                <a:gd name="T15" fmla="*/ 95 h 97"/>
                <a:gd name="T16" fmla="*/ 15 w 103"/>
                <a:gd name="T17" fmla="*/ 9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97">
                  <a:moveTo>
                    <a:pt x="15" y="92"/>
                  </a:moveTo>
                  <a:cubicBezTo>
                    <a:pt x="103" y="10"/>
                    <a:pt x="103" y="10"/>
                    <a:pt x="103" y="10"/>
                  </a:cubicBezTo>
                  <a:cubicBezTo>
                    <a:pt x="102" y="10"/>
                    <a:pt x="102" y="9"/>
                    <a:pt x="101" y="9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98" y="6"/>
                    <a:pt x="96" y="2"/>
                    <a:pt x="94" y="0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2" y="86"/>
                    <a:pt x="0" y="92"/>
                    <a:pt x="3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5" y="97"/>
                    <a:pt x="11" y="96"/>
                    <a:pt x="15" y="92"/>
                  </a:cubicBezTo>
                  <a:close/>
                </a:path>
              </a:pathLst>
            </a:custGeom>
            <a:solidFill>
              <a:srgbClr val="F36C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215" name="椭圆 214">
              <a:extLst>
                <a:ext uri="{FF2B5EF4-FFF2-40B4-BE49-F238E27FC236}">
                  <a16:creationId xmlns:a16="http://schemas.microsoft.com/office/drawing/2014/main" id="{395AEF3E-9267-47DA-B2F9-E9EF0599C3E3}"/>
                </a:ext>
              </a:extLst>
            </p:cNvPr>
            <p:cNvSpPr/>
            <p:nvPr/>
          </p:nvSpPr>
          <p:spPr bwMode="auto">
            <a:xfrm>
              <a:off x="9793397" y="2405646"/>
              <a:ext cx="573173" cy="569219"/>
            </a:xfrm>
            <a:prstGeom prst="ellipse">
              <a:avLst/>
            </a:prstGeom>
            <a:solidFill>
              <a:srgbClr val="4EC3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216" name="任意多边形: 形状 215">
              <a:extLst>
                <a:ext uri="{FF2B5EF4-FFF2-40B4-BE49-F238E27FC236}">
                  <a16:creationId xmlns:a16="http://schemas.microsoft.com/office/drawing/2014/main" id="{D0516359-7B91-4F33-853D-EE50B979546C}"/>
                </a:ext>
              </a:extLst>
            </p:cNvPr>
            <p:cNvSpPr/>
            <p:nvPr/>
          </p:nvSpPr>
          <p:spPr bwMode="auto">
            <a:xfrm>
              <a:off x="10080642" y="2405646"/>
              <a:ext cx="285928" cy="569219"/>
            </a:xfrm>
            <a:custGeom>
              <a:avLst/>
              <a:gdLst>
                <a:gd name="T0" fmla="*/ 0 w 76"/>
                <a:gd name="T1" fmla="*/ 0 h 151"/>
                <a:gd name="T2" fmla="*/ 76 w 76"/>
                <a:gd name="T3" fmla="*/ 75 h 151"/>
                <a:gd name="T4" fmla="*/ 0 w 76"/>
                <a:gd name="T5" fmla="*/ 151 h 151"/>
                <a:gd name="T6" fmla="*/ 0 w 76"/>
                <a:gd name="T7" fmla="*/ 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6" h="151">
                  <a:moveTo>
                    <a:pt x="0" y="0"/>
                  </a:moveTo>
                  <a:cubicBezTo>
                    <a:pt x="42" y="0"/>
                    <a:pt x="76" y="33"/>
                    <a:pt x="76" y="75"/>
                  </a:cubicBezTo>
                  <a:cubicBezTo>
                    <a:pt x="76" y="117"/>
                    <a:pt x="42" y="151"/>
                    <a:pt x="0" y="151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00AA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217" name="椭圆 216">
              <a:extLst>
                <a:ext uri="{FF2B5EF4-FFF2-40B4-BE49-F238E27FC236}">
                  <a16:creationId xmlns:a16="http://schemas.microsoft.com/office/drawing/2014/main" id="{0A1FB190-E8E3-40DC-BE8A-1C9CF600C9BD}"/>
                </a:ext>
              </a:extLst>
            </p:cNvPr>
            <p:cNvSpPr/>
            <p:nvPr/>
          </p:nvSpPr>
          <p:spPr bwMode="auto">
            <a:xfrm>
              <a:off x="9857962" y="2466257"/>
              <a:ext cx="445361" cy="445361"/>
            </a:xfrm>
            <a:prstGeom prst="ellipse">
              <a:avLst/>
            </a:prstGeom>
            <a:solidFill>
              <a:srgbClr val="CFEA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/>
            <a:p>
              <a:endParaRPr lang="zh-CN" altLang="en-US"/>
            </a:p>
          </p:txBody>
        </p:sp>
        <p:sp>
          <p:nvSpPr>
            <p:cNvPr id="218" name="任意多边形: 形状 217">
              <a:extLst>
                <a:ext uri="{FF2B5EF4-FFF2-40B4-BE49-F238E27FC236}">
                  <a16:creationId xmlns:a16="http://schemas.microsoft.com/office/drawing/2014/main" id="{B225F33B-47D4-4241-99C6-AC973CF88530}"/>
                </a:ext>
              </a:extLst>
            </p:cNvPr>
            <p:cNvSpPr/>
            <p:nvPr/>
          </p:nvSpPr>
          <p:spPr bwMode="auto">
            <a:xfrm>
              <a:off x="9857962" y="2466257"/>
              <a:ext cx="358397" cy="415055"/>
            </a:xfrm>
            <a:custGeom>
              <a:avLst/>
              <a:gdLst>
                <a:gd name="T0" fmla="*/ 7 w 95"/>
                <a:gd name="T1" fmla="*/ 63 h 110"/>
                <a:gd name="T2" fmla="*/ 65 w 95"/>
                <a:gd name="T3" fmla="*/ 5 h 110"/>
                <a:gd name="T4" fmla="*/ 95 w 95"/>
                <a:gd name="T5" fmla="*/ 13 h 110"/>
                <a:gd name="T6" fmla="*/ 59 w 95"/>
                <a:gd name="T7" fmla="*/ 0 h 110"/>
                <a:gd name="T8" fmla="*/ 0 w 95"/>
                <a:gd name="T9" fmla="*/ 59 h 110"/>
                <a:gd name="T10" fmla="*/ 30 w 95"/>
                <a:gd name="T11" fmla="*/ 110 h 110"/>
                <a:gd name="T12" fmla="*/ 7 w 95"/>
                <a:gd name="T13" fmla="*/ 63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5" h="110">
                  <a:moveTo>
                    <a:pt x="7" y="63"/>
                  </a:moveTo>
                  <a:cubicBezTo>
                    <a:pt x="7" y="31"/>
                    <a:pt x="33" y="5"/>
                    <a:pt x="65" y="5"/>
                  </a:cubicBezTo>
                  <a:cubicBezTo>
                    <a:pt x="76" y="5"/>
                    <a:pt x="86" y="8"/>
                    <a:pt x="95" y="13"/>
                  </a:cubicBezTo>
                  <a:cubicBezTo>
                    <a:pt x="85" y="5"/>
                    <a:pt x="72" y="0"/>
                    <a:pt x="59" y="0"/>
                  </a:cubicBezTo>
                  <a:cubicBezTo>
                    <a:pt x="27" y="0"/>
                    <a:pt x="0" y="27"/>
                    <a:pt x="0" y="59"/>
                  </a:cubicBezTo>
                  <a:cubicBezTo>
                    <a:pt x="0" y="81"/>
                    <a:pt x="12" y="100"/>
                    <a:pt x="30" y="110"/>
                  </a:cubicBezTo>
                  <a:cubicBezTo>
                    <a:pt x="16" y="99"/>
                    <a:pt x="7" y="82"/>
                    <a:pt x="7" y="63"/>
                  </a:cubicBezTo>
                  <a:close/>
                </a:path>
              </a:pathLst>
            </a:custGeom>
            <a:solidFill>
              <a:srgbClr val="A4D8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219" name="椭圆 218">
              <a:extLst>
                <a:ext uri="{FF2B5EF4-FFF2-40B4-BE49-F238E27FC236}">
                  <a16:creationId xmlns:a16="http://schemas.microsoft.com/office/drawing/2014/main" id="{D225B89A-563E-4313-BABF-F6F2004E3C69}"/>
                </a:ext>
              </a:extLst>
            </p:cNvPr>
            <p:cNvSpPr/>
            <p:nvPr/>
          </p:nvSpPr>
          <p:spPr bwMode="auto">
            <a:xfrm>
              <a:off x="10042431" y="2650727"/>
              <a:ext cx="75106" cy="79058"/>
            </a:xfrm>
            <a:prstGeom prst="ellipse">
              <a:avLst/>
            </a:prstGeom>
            <a:solidFill>
              <a:srgbClr val="59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20" name="任意多边形: 形状 219">
              <a:extLst>
                <a:ext uri="{FF2B5EF4-FFF2-40B4-BE49-F238E27FC236}">
                  <a16:creationId xmlns:a16="http://schemas.microsoft.com/office/drawing/2014/main" id="{AB4CEF07-4B66-4ECE-9DEC-8AA26734C917}"/>
                </a:ext>
              </a:extLst>
            </p:cNvPr>
            <p:cNvSpPr/>
            <p:nvPr/>
          </p:nvSpPr>
          <p:spPr bwMode="auto">
            <a:xfrm>
              <a:off x="10068784" y="2522916"/>
              <a:ext cx="22400" cy="176563"/>
            </a:xfrm>
            <a:custGeom>
              <a:avLst/>
              <a:gdLst>
                <a:gd name="T0" fmla="*/ 3 w 6"/>
                <a:gd name="T1" fmla="*/ 47 h 47"/>
                <a:gd name="T2" fmla="*/ 0 w 6"/>
                <a:gd name="T3" fmla="*/ 44 h 47"/>
                <a:gd name="T4" fmla="*/ 0 w 6"/>
                <a:gd name="T5" fmla="*/ 3 h 47"/>
                <a:gd name="T6" fmla="*/ 3 w 6"/>
                <a:gd name="T7" fmla="*/ 0 h 47"/>
                <a:gd name="T8" fmla="*/ 6 w 6"/>
                <a:gd name="T9" fmla="*/ 3 h 47"/>
                <a:gd name="T10" fmla="*/ 6 w 6"/>
                <a:gd name="T11" fmla="*/ 44 h 47"/>
                <a:gd name="T12" fmla="*/ 3 w 6"/>
                <a:gd name="T13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47">
                  <a:moveTo>
                    <a:pt x="3" y="47"/>
                  </a:moveTo>
                  <a:cubicBezTo>
                    <a:pt x="1" y="47"/>
                    <a:pt x="0" y="46"/>
                    <a:pt x="0" y="4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" y="0"/>
                    <a:pt x="6" y="1"/>
                    <a:pt x="6" y="3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46"/>
                    <a:pt x="5" y="47"/>
                    <a:pt x="3" y="47"/>
                  </a:cubicBezTo>
                  <a:close/>
                </a:path>
              </a:pathLst>
            </a:custGeom>
            <a:solidFill>
              <a:srgbClr val="59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32500" lnSpcReduction="20000"/>
            </a:bodyPr>
            <a:lstStyle/>
            <a:p>
              <a:endParaRPr lang="zh-CN" altLang="en-US"/>
            </a:p>
          </p:txBody>
        </p:sp>
        <p:sp>
          <p:nvSpPr>
            <p:cNvPr id="221" name="任意多边形: 形状 220">
              <a:extLst>
                <a:ext uri="{FF2B5EF4-FFF2-40B4-BE49-F238E27FC236}">
                  <a16:creationId xmlns:a16="http://schemas.microsoft.com/office/drawing/2014/main" id="{E2E8B00D-4504-460C-8A61-2E99E9D65191}"/>
                </a:ext>
              </a:extLst>
            </p:cNvPr>
            <p:cNvSpPr/>
            <p:nvPr/>
          </p:nvSpPr>
          <p:spPr bwMode="auto">
            <a:xfrm>
              <a:off x="10167606" y="2511057"/>
              <a:ext cx="18447" cy="18447"/>
            </a:xfrm>
            <a:custGeom>
              <a:avLst/>
              <a:gdLst>
                <a:gd name="T0" fmla="*/ 2 w 5"/>
                <a:gd name="T1" fmla="*/ 5 h 5"/>
                <a:gd name="T2" fmla="*/ 1 w 5"/>
                <a:gd name="T3" fmla="*/ 5 h 5"/>
                <a:gd name="T4" fmla="*/ 1 w 5"/>
                <a:gd name="T5" fmla="*/ 3 h 5"/>
                <a:gd name="T6" fmla="*/ 2 w 5"/>
                <a:gd name="T7" fmla="*/ 0 h 5"/>
                <a:gd name="T8" fmla="*/ 4 w 5"/>
                <a:gd name="T9" fmla="*/ 0 h 5"/>
                <a:gd name="T10" fmla="*/ 5 w 5"/>
                <a:gd name="T11" fmla="*/ 2 h 5"/>
                <a:gd name="T12" fmla="*/ 3 w 5"/>
                <a:gd name="T13" fmla="*/ 5 h 5"/>
                <a:gd name="T14" fmla="*/ 2 w 5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5">
                  <a:moveTo>
                    <a:pt x="2" y="5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1" y="5"/>
                    <a:pt x="0" y="4"/>
                    <a:pt x="1" y="3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3" y="0"/>
                    <a:pt x="4" y="0"/>
                    <a:pt x="4" y="0"/>
                  </a:cubicBezTo>
                  <a:cubicBezTo>
                    <a:pt x="5" y="0"/>
                    <a:pt x="5" y="1"/>
                    <a:pt x="5" y="2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2" y="5"/>
                    <a:pt x="2" y="5"/>
                  </a:cubicBezTo>
                  <a:close/>
                </a:path>
              </a:pathLst>
            </a:custGeom>
            <a:solidFill>
              <a:srgbClr val="59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22" name="任意多边形: 形状 221">
              <a:extLst>
                <a:ext uri="{FF2B5EF4-FFF2-40B4-BE49-F238E27FC236}">
                  <a16:creationId xmlns:a16="http://schemas.microsoft.com/office/drawing/2014/main" id="{2B27CD8A-227D-493B-AF09-79ABE8D021AB}"/>
                </a:ext>
              </a:extLst>
            </p:cNvPr>
            <p:cNvSpPr/>
            <p:nvPr/>
          </p:nvSpPr>
          <p:spPr bwMode="auto">
            <a:xfrm>
              <a:off x="9973914" y="2847055"/>
              <a:ext cx="19765" cy="22399"/>
            </a:xfrm>
            <a:custGeom>
              <a:avLst/>
              <a:gdLst>
                <a:gd name="T0" fmla="*/ 1 w 5"/>
                <a:gd name="T1" fmla="*/ 6 h 6"/>
                <a:gd name="T2" fmla="*/ 1 w 5"/>
                <a:gd name="T3" fmla="*/ 5 h 6"/>
                <a:gd name="T4" fmla="*/ 0 w 5"/>
                <a:gd name="T5" fmla="*/ 4 h 6"/>
                <a:gd name="T6" fmla="*/ 2 w 5"/>
                <a:gd name="T7" fmla="*/ 1 h 6"/>
                <a:gd name="T8" fmla="*/ 4 w 5"/>
                <a:gd name="T9" fmla="*/ 0 h 6"/>
                <a:gd name="T10" fmla="*/ 4 w 5"/>
                <a:gd name="T11" fmla="*/ 2 h 6"/>
                <a:gd name="T12" fmla="*/ 3 w 5"/>
                <a:gd name="T13" fmla="*/ 5 h 6"/>
                <a:gd name="T14" fmla="*/ 1 w 5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6">
                  <a:moveTo>
                    <a:pt x="1" y="6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0"/>
                    <a:pt x="3" y="0"/>
                    <a:pt x="4" y="0"/>
                  </a:cubicBezTo>
                  <a:cubicBezTo>
                    <a:pt x="4" y="1"/>
                    <a:pt x="5" y="1"/>
                    <a:pt x="4" y="2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6"/>
                    <a:pt x="1" y="6"/>
                  </a:cubicBezTo>
                  <a:close/>
                </a:path>
              </a:pathLst>
            </a:custGeom>
            <a:solidFill>
              <a:srgbClr val="59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23" name="任意多边形: 形状 222">
              <a:extLst>
                <a:ext uri="{FF2B5EF4-FFF2-40B4-BE49-F238E27FC236}">
                  <a16:creationId xmlns:a16="http://schemas.microsoft.com/office/drawing/2014/main" id="{68CC095A-AD44-4A55-9A22-326A90C55C95}"/>
                </a:ext>
              </a:extLst>
            </p:cNvPr>
            <p:cNvSpPr/>
            <p:nvPr/>
          </p:nvSpPr>
          <p:spPr bwMode="auto">
            <a:xfrm>
              <a:off x="10238759" y="2778538"/>
              <a:ext cx="22400" cy="15812"/>
            </a:xfrm>
            <a:custGeom>
              <a:avLst/>
              <a:gdLst>
                <a:gd name="T0" fmla="*/ 4 w 6"/>
                <a:gd name="T1" fmla="*/ 4 h 4"/>
                <a:gd name="T2" fmla="*/ 3 w 6"/>
                <a:gd name="T3" fmla="*/ 4 h 4"/>
                <a:gd name="T4" fmla="*/ 1 w 6"/>
                <a:gd name="T5" fmla="*/ 2 h 4"/>
                <a:gd name="T6" fmla="*/ 0 w 6"/>
                <a:gd name="T7" fmla="*/ 0 h 4"/>
                <a:gd name="T8" fmla="*/ 2 w 6"/>
                <a:gd name="T9" fmla="*/ 0 h 4"/>
                <a:gd name="T10" fmla="*/ 5 w 6"/>
                <a:gd name="T11" fmla="*/ 2 h 4"/>
                <a:gd name="T12" fmla="*/ 5 w 6"/>
                <a:gd name="T13" fmla="*/ 3 h 4"/>
                <a:gd name="T14" fmla="*/ 4 w 6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4">
                  <a:moveTo>
                    <a:pt x="4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1"/>
                    <a:pt x="0" y="0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6" y="3"/>
                    <a:pt x="5" y="3"/>
                  </a:cubicBezTo>
                  <a:cubicBezTo>
                    <a:pt x="5" y="4"/>
                    <a:pt x="5" y="4"/>
                    <a:pt x="4" y="4"/>
                  </a:cubicBezTo>
                  <a:close/>
                </a:path>
              </a:pathLst>
            </a:custGeom>
            <a:solidFill>
              <a:srgbClr val="59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24" name="任意多边形: 形状 223">
              <a:extLst>
                <a:ext uri="{FF2B5EF4-FFF2-40B4-BE49-F238E27FC236}">
                  <a16:creationId xmlns:a16="http://schemas.microsoft.com/office/drawing/2014/main" id="{4D336119-65CE-4953-9F22-B23AA3DF8235}"/>
                </a:ext>
              </a:extLst>
            </p:cNvPr>
            <p:cNvSpPr/>
            <p:nvPr/>
          </p:nvSpPr>
          <p:spPr bwMode="auto">
            <a:xfrm>
              <a:off x="9898808" y="2582210"/>
              <a:ext cx="22400" cy="19764"/>
            </a:xfrm>
            <a:custGeom>
              <a:avLst/>
              <a:gdLst>
                <a:gd name="T0" fmla="*/ 5 w 6"/>
                <a:gd name="T1" fmla="*/ 5 h 5"/>
                <a:gd name="T2" fmla="*/ 4 w 6"/>
                <a:gd name="T3" fmla="*/ 4 h 5"/>
                <a:gd name="T4" fmla="*/ 1 w 6"/>
                <a:gd name="T5" fmla="*/ 3 h 5"/>
                <a:gd name="T6" fmla="*/ 1 w 6"/>
                <a:gd name="T7" fmla="*/ 1 h 5"/>
                <a:gd name="T8" fmla="*/ 3 w 6"/>
                <a:gd name="T9" fmla="*/ 0 h 5"/>
                <a:gd name="T10" fmla="*/ 5 w 6"/>
                <a:gd name="T11" fmla="*/ 2 h 5"/>
                <a:gd name="T12" fmla="*/ 6 w 6"/>
                <a:gd name="T13" fmla="*/ 4 h 5"/>
                <a:gd name="T14" fmla="*/ 5 w 6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5">
                  <a:moveTo>
                    <a:pt x="5" y="5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0" y="2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6" y="2"/>
                    <a:pt x="6" y="3"/>
                    <a:pt x="6" y="4"/>
                  </a:cubicBezTo>
                  <a:cubicBezTo>
                    <a:pt x="6" y="4"/>
                    <a:pt x="5" y="5"/>
                    <a:pt x="5" y="5"/>
                  </a:cubicBezTo>
                  <a:close/>
                </a:path>
              </a:pathLst>
            </a:custGeom>
            <a:solidFill>
              <a:srgbClr val="59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25" name="任意多边形: 形状 224">
              <a:extLst>
                <a:ext uri="{FF2B5EF4-FFF2-40B4-BE49-F238E27FC236}">
                  <a16:creationId xmlns:a16="http://schemas.microsoft.com/office/drawing/2014/main" id="{0B87F740-0882-40A3-AD03-C3195856FAF2}"/>
                </a:ext>
              </a:extLst>
            </p:cNvPr>
            <p:cNvSpPr/>
            <p:nvPr/>
          </p:nvSpPr>
          <p:spPr bwMode="auto">
            <a:xfrm>
              <a:off x="9973914" y="2511057"/>
              <a:ext cx="19765" cy="18447"/>
            </a:xfrm>
            <a:custGeom>
              <a:avLst/>
              <a:gdLst>
                <a:gd name="T0" fmla="*/ 3 w 5"/>
                <a:gd name="T1" fmla="*/ 5 h 5"/>
                <a:gd name="T2" fmla="*/ 2 w 5"/>
                <a:gd name="T3" fmla="*/ 5 h 5"/>
                <a:gd name="T4" fmla="*/ 0 w 5"/>
                <a:gd name="T5" fmla="*/ 2 h 5"/>
                <a:gd name="T6" fmla="*/ 1 w 5"/>
                <a:gd name="T7" fmla="*/ 0 h 5"/>
                <a:gd name="T8" fmla="*/ 3 w 5"/>
                <a:gd name="T9" fmla="*/ 0 h 5"/>
                <a:gd name="T10" fmla="*/ 4 w 5"/>
                <a:gd name="T11" fmla="*/ 3 h 5"/>
                <a:gd name="T12" fmla="*/ 4 w 5"/>
                <a:gd name="T13" fmla="*/ 5 h 5"/>
                <a:gd name="T14" fmla="*/ 3 w 5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5">
                  <a:moveTo>
                    <a:pt x="3" y="5"/>
                  </a:moveTo>
                  <a:cubicBezTo>
                    <a:pt x="3" y="5"/>
                    <a:pt x="2" y="5"/>
                    <a:pt x="2" y="5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"/>
                    <a:pt x="0" y="0"/>
                    <a:pt x="1" y="0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5" y="4"/>
                    <a:pt x="4" y="5"/>
                    <a:pt x="4" y="5"/>
                  </a:cubicBezTo>
                  <a:lnTo>
                    <a:pt x="3" y="5"/>
                  </a:lnTo>
                  <a:close/>
                </a:path>
              </a:pathLst>
            </a:custGeom>
            <a:solidFill>
              <a:srgbClr val="59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26" name="任意多边形: 形状 225">
              <a:extLst>
                <a:ext uri="{FF2B5EF4-FFF2-40B4-BE49-F238E27FC236}">
                  <a16:creationId xmlns:a16="http://schemas.microsoft.com/office/drawing/2014/main" id="{CC7D5E81-1781-4245-A7BC-B0017E0378B0}"/>
                </a:ext>
              </a:extLst>
            </p:cNvPr>
            <p:cNvSpPr/>
            <p:nvPr/>
          </p:nvSpPr>
          <p:spPr bwMode="auto">
            <a:xfrm>
              <a:off x="10167606" y="2847055"/>
              <a:ext cx="18447" cy="22399"/>
            </a:xfrm>
            <a:custGeom>
              <a:avLst/>
              <a:gdLst>
                <a:gd name="T0" fmla="*/ 4 w 5"/>
                <a:gd name="T1" fmla="*/ 6 h 6"/>
                <a:gd name="T2" fmla="*/ 2 w 5"/>
                <a:gd name="T3" fmla="*/ 5 h 6"/>
                <a:gd name="T4" fmla="*/ 1 w 5"/>
                <a:gd name="T5" fmla="*/ 2 h 6"/>
                <a:gd name="T6" fmla="*/ 1 w 5"/>
                <a:gd name="T7" fmla="*/ 0 h 6"/>
                <a:gd name="T8" fmla="*/ 3 w 5"/>
                <a:gd name="T9" fmla="*/ 1 h 6"/>
                <a:gd name="T10" fmla="*/ 5 w 5"/>
                <a:gd name="T11" fmla="*/ 4 h 6"/>
                <a:gd name="T12" fmla="*/ 4 w 5"/>
                <a:gd name="T13" fmla="*/ 5 h 6"/>
                <a:gd name="T14" fmla="*/ 4 w 5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6">
                  <a:moveTo>
                    <a:pt x="4" y="6"/>
                  </a:moveTo>
                  <a:cubicBezTo>
                    <a:pt x="3" y="6"/>
                    <a:pt x="3" y="5"/>
                    <a:pt x="2" y="5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1"/>
                    <a:pt x="1" y="1"/>
                    <a:pt x="1" y="0"/>
                  </a:cubicBezTo>
                  <a:cubicBezTo>
                    <a:pt x="2" y="0"/>
                    <a:pt x="3" y="0"/>
                    <a:pt x="3" y="1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4"/>
                    <a:pt x="5" y="5"/>
                    <a:pt x="4" y="5"/>
                  </a:cubicBezTo>
                  <a:lnTo>
                    <a:pt x="4" y="6"/>
                  </a:lnTo>
                  <a:close/>
                </a:path>
              </a:pathLst>
            </a:custGeom>
            <a:solidFill>
              <a:srgbClr val="59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27" name="任意多边形: 形状 226">
              <a:extLst>
                <a:ext uri="{FF2B5EF4-FFF2-40B4-BE49-F238E27FC236}">
                  <a16:creationId xmlns:a16="http://schemas.microsoft.com/office/drawing/2014/main" id="{DAB8BC09-67D0-4EE9-95A4-4F9B426C3AA6}"/>
                </a:ext>
              </a:extLst>
            </p:cNvPr>
            <p:cNvSpPr/>
            <p:nvPr/>
          </p:nvSpPr>
          <p:spPr bwMode="auto">
            <a:xfrm>
              <a:off x="9898808" y="2778538"/>
              <a:ext cx="22400" cy="15812"/>
            </a:xfrm>
            <a:custGeom>
              <a:avLst/>
              <a:gdLst>
                <a:gd name="T0" fmla="*/ 2 w 6"/>
                <a:gd name="T1" fmla="*/ 4 h 4"/>
                <a:gd name="T2" fmla="*/ 1 w 6"/>
                <a:gd name="T3" fmla="*/ 3 h 4"/>
                <a:gd name="T4" fmla="*/ 1 w 6"/>
                <a:gd name="T5" fmla="*/ 2 h 4"/>
                <a:gd name="T6" fmla="*/ 4 w 6"/>
                <a:gd name="T7" fmla="*/ 0 h 4"/>
                <a:gd name="T8" fmla="*/ 6 w 6"/>
                <a:gd name="T9" fmla="*/ 0 h 4"/>
                <a:gd name="T10" fmla="*/ 5 w 6"/>
                <a:gd name="T11" fmla="*/ 2 h 4"/>
                <a:gd name="T12" fmla="*/ 3 w 6"/>
                <a:gd name="T13" fmla="*/ 4 h 4"/>
                <a:gd name="T14" fmla="*/ 2 w 6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4">
                  <a:moveTo>
                    <a:pt x="2" y="4"/>
                  </a:moveTo>
                  <a:cubicBezTo>
                    <a:pt x="1" y="4"/>
                    <a:pt x="1" y="4"/>
                    <a:pt x="1" y="3"/>
                  </a:cubicBezTo>
                  <a:cubicBezTo>
                    <a:pt x="0" y="3"/>
                    <a:pt x="1" y="2"/>
                    <a:pt x="1" y="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6" y="1"/>
                    <a:pt x="6" y="2"/>
                    <a:pt x="5" y="2"/>
                  </a:cubicBezTo>
                  <a:cubicBezTo>
                    <a:pt x="3" y="4"/>
                    <a:pt x="3" y="4"/>
                    <a:pt x="3" y="4"/>
                  </a:cubicBezTo>
                  <a:lnTo>
                    <a:pt x="2" y="4"/>
                  </a:lnTo>
                  <a:close/>
                </a:path>
              </a:pathLst>
            </a:custGeom>
            <a:solidFill>
              <a:srgbClr val="59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28" name="任意多边形: 形状 227">
              <a:extLst>
                <a:ext uri="{FF2B5EF4-FFF2-40B4-BE49-F238E27FC236}">
                  <a16:creationId xmlns:a16="http://schemas.microsoft.com/office/drawing/2014/main" id="{B89D18EB-90DB-4753-8D35-059195B01845}"/>
                </a:ext>
              </a:extLst>
            </p:cNvPr>
            <p:cNvSpPr/>
            <p:nvPr/>
          </p:nvSpPr>
          <p:spPr bwMode="auto">
            <a:xfrm>
              <a:off x="10238759" y="2582210"/>
              <a:ext cx="22400" cy="19764"/>
            </a:xfrm>
            <a:custGeom>
              <a:avLst/>
              <a:gdLst>
                <a:gd name="T0" fmla="*/ 1 w 6"/>
                <a:gd name="T1" fmla="*/ 5 h 5"/>
                <a:gd name="T2" fmla="*/ 0 w 6"/>
                <a:gd name="T3" fmla="*/ 4 h 5"/>
                <a:gd name="T4" fmla="*/ 1 w 6"/>
                <a:gd name="T5" fmla="*/ 2 h 5"/>
                <a:gd name="T6" fmla="*/ 3 w 6"/>
                <a:gd name="T7" fmla="*/ 0 h 5"/>
                <a:gd name="T8" fmla="*/ 5 w 6"/>
                <a:gd name="T9" fmla="*/ 1 h 5"/>
                <a:gd name="T10" fmla="*/ 5 w 6"/>
                <a:gd name="T11" fmla="*/ 3 h 5"/>
                <a:gd name="T12" fmla="*/ 2 w 6"/>
                <a:gd name="T13" fmla="*/ 4 h 5"/>
                <a:gd name="T14" fmla="*/ 1 w 6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5">
                  <a:moveTo>
                    <a:pt x="1" y="5"/>
                  </a:moveTo>
                  <a:cubicBezTo>
                    <a:pt x="1" y="5"/>
                    <a:pt x="0" y="4"/>
                    <a:pt x="0" y="4"/>
                  </a:cubicBezTo>
                  <a:cubicBezTo>
                    <a:pt x="0" y="3"/>
                    <a:pt x="0" y="2"/>
                    <a:pt x="1" y="2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6" y="2"/>
                    <a:pt x="5" y="2"/>
                    <a:pt x="5" y="3"/>
                  </a:cubicBezTo>
                  <a:cubicBezTo>
                    <a:pt x="2" y="4"/>
                    <a:pt x="2" y="4"/>
                    <a:pt x="2" y="4"/>
                  </a:cubicBezTo>
                  <a:lnTo>
                    <a:pt x="1" y="5"/>
                  </a:lnTo>
                  <a:close/>
                </a:path>
              </a:pathLst>
            </a:custGeom>
            <a:solidFill>
              <a:srgbClr val="59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29" name="任意多边形: 形状 228">
              <a:extLst>
                <a:ext uri="{FF2B5EF4-FFF2-40B4-BE49-F238E27FC236}">
                  <a16:creationId xmlns:a16="http://schemas.microsoft.com/office/drawing/2014/main" id="{6C5ABD26-FEC8-47F3-AD89-BECEC19DB142}"/>
                </a:ext>
              </a:extLst>
            </p:cNvPr>
            <p:cNvSpPr/>
            <p:nvPr/>
          </p:nvSpPr>
          <p:spPr bwMode="auto">
            <a:xfrm>
              <a:off x="9872455" y="2684985"/>
              <a:ext cx="22400" cy="10541"/>
            </a:xfrm>
            <a:custGeom>
              <a:avLst/>
              <a:gdLst>
                <a:gd name="T0" fmla="*/ 5 w 6"/>
                <a:gd name="T1" fmla="*/ 3 h 3"/>
                <a:gd name="T2" fmla="*/ 5 w 6"/>
                <a:gd name="T3" fmla="*/ 3 h 3"/>
                <a:gd name="T4" fmla="*/ 2 w 6"/>
                <a:gd name="T5" fmla="*/ 3 h 3"/>
                <a:gd name="T6" fmla="*/ 0 w 6"/>
                <a:gd name="T7" fmla="*/ 1 h 3"/>
                <a:gd name="T8" fmla="*/ 2 w 6"/>
                <a:gd name="T9" fmla="*/ 0 h 3"/>
                <a:gd name="T10" fmla="*/ 5 w 6"/>
                <a:gd name="T11" fmla="*/ 0 h 3"/>
                <a:gd name="T12" fmla="*/ 6 w 6"/>
                <a:gd name="T13" fmla="*/ 1 h 3"/>
                <a:gd name="T14" fmla="*/ 5 w 6"/>
                <a:gd name="T1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5" y="3"/>
                  </a:moveTo>
                  <a:cubicBezTo>
                    <a:pt x="5" y="3"/>
                    <a:pt x="5" y="3"/>
                    <a:pt x="5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6" y="0"/>
                    <a:pt x="6" y="0"/>
                    <a:pt x="6" y="1"/>
                  </a:cubicBezTo>
                  <a:cubicBezTo>
                    <a:pt x="6" y="2"/>
                    <a:pt x="6" y="3"/>
                    <a:pt x="5" y="3"/>
                  </a:cubicBezTo>
                  <a:close/>
                </a:path>
              </a:pathLst>
            </a:custGeom>
            <a:solidFill>
              <a:srgbClr val="59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30" name="任意多边形: 形状 229">
              <a:extLst>
                <a:ext uri="{FF2B5EF4-FFF2-40B4-BE49-F238E27FC236}">
                  <a16:creationId xmlns:a16="http://schemas.microsoft.com/office/drawing/2014/main" id="{3F9FFC3F-0C6A-48B2-9974-ECDA37EDAE87}"/>
                </a:ext>
              </a:extLst>
            </p:cNvPr>
            <p:cNvSpPr/>
            <p:nvPr/>
          </p:nvSpPr>
          <p:spPr bwMode="auto">
            <a:xfrm>
              <a:off x="10265111" y="2684985"/>
              <a:ext cx="22400" cy="10541"/>
            </a:xfrm>
            <a:custGeom>
              <a:avLst/>
              <a:gdLst>
                <a:gd name="T0" fmla="*/ 1 w 6"/>
                <a:gd name="T1" fmla="*/ 3 h 3"/>
                <a:gd name="T2" fmla="*/ 0 w 6"/>
                <a:gd name="T3" fmla="*/ 1 h 3"/>
                <a:gd name="T4" fmla="*/ 1 w 6"/>
                <a:gd name="T5" fmla="*/ 0 h 3"/>
                <a:gd name="T6" fmla="*/ 4 w 6"/>
                <a:gd name="T7" fmla="*/ 0 h 3"/>
                <a:gd name="T8" fmla="*/ 4 w 6"/>
                <a:gd name="T9" fmla="*/ 0 h 3"/>
                <a:gd name="T10" fmla="*/ 6 w 6"/>
                <a:gd name="T11" fmla="*/ 1 h 3"/>
                <a:gd name="T12" fmla="*/ 4 w 6"/>
                <a:gd name="T13" fmla="*/ 3 h 3"/>
                <a:gd name="T14" fmla="*/ 1 w 6"/>
                <a:gd name="T1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3">
                  <a:moveTo>
                    <a:pt x="1" y="3"/>
                  </a:moveTo>
                  <a:cubicBezTo>
                    <a:pt x="0" y="3"/>
                    <a:pt x="0" y="2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6" y="0"/>
                    <a:pt x="6" y="1"/>
                  </a:cubicBezTo>
                  <a:cubicBezTo>
                    <a:pt x="6" y="2"/>
                    <a:pt x="5" y="3"/>
                    <a:pt x="4" y="3"/>
                  </a:cubicBezTo>
                  <a:cubicBezTo>
                    <a:pt x="1" y="3"/>
                    <a:pt x="1" y="3"/>
                    <a:pt x="1" y="3"/>
                  </a:cubicBezTo>
                  <a:close/>
                </a:path>
              </a:pathLst>
            </a:custGeom>
            <a:solidFill>
              <a:srgbClr val="59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31" name="任意多边形: 形状 230">
              <a:extLst>
                <a:ext uri="{FF2B5EF4-FFF2-40B4-BE49-F238E27FC236}">
                  <a16:creationId xmlns:a16="http://schemas.microsoft.com/office/drawing/2014/main" id="{BEA1E2DC-8D9A-4158-B2FC-C211B5C7AEB7}"/>
                </a:ext>
              </a:extLst>
            </p:cNvPr>
            <p:cNvSpPr/>
            <p:nvPr/>
          </p:nvSpPr>
          <p:spPr bwMode="auto">
            <a:xfrm>
              <a:off x="10076690" y="2873408"/>
              <a:ext cx="7906" cy="22399"/>
            </a:xfrm>
            <a:custGeom>
              <a:avLst/>
              <a:gdLst>
                <a:gd name="T0" fmla="*/ 1 w 2"/>
                <a:gd name="T1" fmla="*/ 6 h 6"/>
                <a:gd name="T2" fmla="*/ 1 w 2"/>
                <a:gd name="T3" fmla="*/ 6 h 6"/>
                <a:gd name="T4" fmla="*/ 0 w 2"/>
                <a:gd name="T5" fmla="*/ 4 h 6"/>
                <a:gd name="T6" fmla="*/ 0 w 2"/>
                <a:gd name="T7" fmla="*/ 1 h 6"/>
                <a:gd name="T8" fmla="*/ 1 w 2"/>
                <a:gd name="T9" fmla="*/ 0 h 6"/>
                <a:gd name="T10" fmla="*/ 1 w 2"/>
                <a:gd name="T11" fmla="*/ 0 h 6"/>
                <a:gd name="T12" fmla="*/ 2 w 2"/>
                <a:gd name="T13" fmla="*/ 1 h 6"/>
                <a:gd name="T14" fmla="*/ 2 w 2"/>
                <a:gd name="T15" fmla="*/ 4 h 6"/>
                <a:gd name="T16" fmla="*/ 1 w 2"/>
                <a:gd name="T1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6">
                  <a:moveTo>
                    <a:pt x="1" y="6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6"/>
                    <a:pt x="1" y="6"/>
                  </a:cubicBezTo>
                  <a:close/>
                </a:path>
              </a:pathLst>
            </a:custGeom>
            <a:solidFill>
              <a:srgbClr val="59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32" name="任意多边形: 形状 231">
              <a:extLst>
                <a:ext uri="{FF2B5EF4-FFF2-40B4-BE49-F238E27FC236}">
                  <a16:creationId xmlns:a16="http://schemas.microsoft.com/office/drawing/2014/main" id="{6B5F69B7-7FED-40BF-94AB-4B2FCF8C8179}"/>
                </a:ext>
              </a:extLst>
            </p:cNvPr>
            <p:cNvSpPr/>
            <p:nvPr/>
          </p:nvSpPr>
          <p:spPr bwMode="auto">
            <a:xfrm>
              <a:off x="10076690" y="2484704"/>
              <a:ext cx="7906" cy="22399"/>
            </a:xfrm>
            <a:custGeom>
              <a:avLst/>
              <a:gdLst>
                <a:gd name="T0" fmla="*/ 1 w 2"/>
                <a:gd name="T1" fmla="*/ 6 h 6"/>
                <a:gd name="T2" fmla="*/ 0 w 2"/>
                <a:gd name="T3" fmla="*/ 4 h 6"/>
                <a:gd name="T4" fmla="*/ 0 w 2"/>
                <a:gd name="T5" fmla="*/ 1 h 6"/>
                <a:gd name="T6" fmla="*/ 1 w 2"/>
                <a:gd name="T7" fmla="*/ 0 h 6"/>
                <a:gd name="T8" fmla="*/ 2 w 2"/>
                <a:gd name="T9" fmla="*/ 1 h 6"/>
                <a:gd name="T10" fmla="*/ 2 w 2"/>
                <a:gd name="T11" fmla="*/ 4 h 6"/>
                <a:gd name="T12" fmla="*/ 1 w 2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6">
                  <a:moveTo>
                    <a:pt x="1" y="6"/>
                  </a:moveTo>
                  <a:cubicBezTo>
                    <a:pt x="0" y="6"/>
                    <a:pt x="0" y="5"/>
                    <a:pt x="0" y="4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5"/>
                    <a:pt x="2" y="6"/>
                    <a:pt x="1" y="6"/>
                  </a:cubicBezTo>
                  <a:close/>
                </a:path>
              </a:pathLst>
            </a:custGeom>
            <a:solidFill>
              <a:srgbClr val="59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33" name="任意多边形: 形状 232">
              <a:extLst>
                <a:ext uri="{FF2B5EF4-FFF2-40B4-BE49-F238E27FC236}">
                  <a16:creationId xmlns:a16="http://schemas.microsoft.com/office/drawing/2014/main" id="{1A141400-28CB-4953-ABB8-9D29EC3922B5}"/>
                </a:ext>
              </a:extLst>
            </p:cNvPr>
            <p:cNvSpPr/>
            <p:nvPr/>
          </p:nvSpPr>
          <p:spPr bwMode="auto">
            <a:xfrm>
              <a:off x="10001584" y="2681033"/>
              <a:ext cx="85647" cy="86964"/>
            </a:xfrm>
            <a:custGeom>
              <a:avLst/>
              <a:gdLst>
                <a:gd name="T0" fmla="*/ 3 w 23"/>
                <a:gd name="T1" fmla="*/ 23 h 23"/>
                <a:gd name="T2" fmla="*/ 1 w 23"/>
                <a:gd name="T3" fmla="*/ 22 h 23"/>
                <a:gd name="T4" fmla="*/ 1 w 23"/>
                <a:gd name="T5" fmla="*/ 18 h 23"/>
                <a:gd name="T6" fmla="*/ 18 w 23"/>
                <a:gd name="T7" fmla="*/ 1 h 23"/>
                <a:gd name="T8" fmla="*/ 22 w 23"/>
                <a:gd name="T9" fmla="*/ 1 h 23"/>
                <a:gd name="T10" fmla="*/ 22 w 23"/>
                <a:gd name="T11" fmla="*/ 5 h 23"/>
                <a:gd name="T12" fmla="*/ 5 w 23"/>
                <a:gd name="T13" fmla="*/ 22 h 23"/>
                <a:gd name="T14" fmla="*/ 3 w 23"/>
                <a:gd name="T1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3">
                  <a:moveTo>
                    <a:pt x="3" y="23"/>
                  </a:moveTo>
                  <a:cubicBezTo>
                    <a:pt x="2" y="23"/>
                    <a:pt x="1" y="23"/>
                    <a:pt x="1" y="22"/>
                  </a:cubicBezTo>
                  <a:cubicBezTo>
                    <a:pt x="0" y="21"/>
                    <a:pt x="0" y="20"/>
                    <a:pt x="1" y="18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9" y="0"/>
                    <a:pt x="21" y="0"/>
                    <a:pt x="22" y="1"/>
                  </a:cubicBezTo>
                  <a:cubicBezTo>
                    <a:pt x="23" y="2"/>
                    <a:pt x="23" y="4"/>
                    <a:pt x="22" y="5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4" y="23"/>
                    <a:pt x="4" y="23"/>
                    <a:pt x="3" y="23"/>
                  </a:cubicBezTo>
                  <a:close/>
                </a:path>
              </a:pathLst>
            </a:custGeom>
            <a:solidFill>
              <a:srgbClr val="5962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34" name="椭圆 233">
              <a:extLst>
                <a:ext uri="{FF2B5EF4-FFF2-40B4-BE49-F238E27FC236}">
                  <a16:creationId xmlns:a16="http://schemas.microsoft.com/office/drawing/2014/main" id="{CF7B8FD3-91B2-45BD-B96B-4DB0C8060C9C}"/>
                </a:ext>
              </a:extLst>
            </p:cNvPr>
            <p:cNvSpPr/>
            <p:nvPr/>
          </p:nvSpPr>
          <p:spPr bwMode="auto">
            <a:xfrm>
              <a:off x="10056925" y="2665221"/>
              <a:ext cx="46118" cy="50070"/>
            </a:xfrm>
            <a:prstGeom prst="ellipse">
              <a:avLst/>
            </a:prstGeom>
            <a:solidFill>
              <a:srgbClr val="CFEA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35" name="椭圆 234">
              <a:extLst>
                <a:ext uri="{FF2B5EF4-FFF2-40B4-BE49-F238E27FC236}">
                  <a16:creationId xmlns:a16="http://schemas.microsoft.com/office/drawing/2014/main" id="{D029B0FA-0C1C-4067-88B0-660997189A20}"/>
                </a:ext>
              </a:extLst>
            </p:cNvPr>
            <p:cNvSpPr/>
            <p:nvPr/>
          </p:nvSpPr>
          <p:spPr bwMode="auto">
            <a:xfrm>
              <a:off x="10068784" y="2677079"/>
              <a:ext cx="22400" cy="22399"/>
            </a:xfrm>
            <a:prstGeom prst="ellipse">
              <a:avLst/>
            </a:prstGeom>
            <a:solidFill>
              <a:srgbClr val="F36C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36" name="任意多边形: 形状 235">
              <a:extLst>
                <a:ext uri="{FF2B5EF4-FFF2-40B4-BE49-F238E27FC236}">
                  <a16:creationId xmlns:a16="http://schemas.microsoft.com/office/drawing/2014/main" id="{0C85701B-21DF-4F00-96CB-BDBB244C5D8A}"/>
                </a:ext>
              </a:extLst>
            </p:cNvPr>
            <p:cNvSpPr/>
            <p:nvPr/>
          </p:nvSpPr>
          <p:spPr bwMode="auto">
            <a:xfrm>
              <a:off x="10072736" y="2642821"/>
              <a:ext cx="150211" cy="52705"/>
            </a:xfrm>
            <a:custGeom>
              <a:avLst/>
              <a:gdLst>
                <a:gd name="T0" fmla="*/ 2 w 40"/>
                <a:gd name="T1" fmla="*/ 14 h 14"/>
                <a:gd name="T2" fmla="*/ 1 w 40"/>
                <a:gd name="T3" fmla="*/ 13 h 14"/>
                <a:gd name="T4" fmla="*/ 2 w 40"/>
                <a:gd name="T5" fmla="*/ 11 h 14"/>
                <a:gd name="T6" fmla="*/ 38 w 40"/>
                <a:gd name="T7" fmla="*/ 0 h 14"/>
                <a:gd name="T8" fmla="*/ 40 w 40"/>
                <a:gd name="T9" fmla="*/ 1 h 14"/>
                <a:gd name="T10" fmla="*/ 39 w 40"/>
                <a:gd name="T11" fmla="*/ 3 h 14"/>
                <a:gd name="T12" fmla="*/ 2 w 40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0" h="14">
                  <a:moveTo>
                    <a:pt x="2" y="14"/>
                  </a:moveTo>
                  <a:cubicBezTo>
                    <a:pt x="1" y="14"/>
                    <a:pt x="1" y="13"/>
                    <a:pt x="1" y="13"/>
                  </a:cubicBezTo>
                  <a:cubicBezTo>
                    <a:pt x="0" y="12"/>
                    <a:pt x="1" y="11"/>
                    <a:pt x="2" y="11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9" y="0"/>
                    <a:pt x="39" y="0"/>
                    <a:pt x="40" y="1"/>
                  </a:cubicBezTo>
                  <a:cubicBezTo>
                    <a:pt x="40" y="2"/>
                    <a:pt x="39" y="2"/>
                    <a:pt x="39" y="3"/>
                  </a:cubicBezTo>
                  <a:cubicBezTo>
                    <a:pt x="2" y="14"/>
                    <a:pt x="2" y="14"/>
                    <a:pt x="2" y="14"/>
                  </a:cubicBezTo>
                  <a:close/>
                </a:path>
              </a:pathLst>
            </a:custGeom>
            <a:solidFill>
              <a:srgbClr val="F36C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25000" lnSpcReduction="20000"/>
            </a:bodyPr>
            <a:lstStyle/>
            <a:p>
              <a:endParaRPr lang="zh-CN" altLang="en-US"/>
            </a:p>
          </p:txBody>
        </p:sp>
        <p:sp>
          <p:nvSpPr>
            <p:cNvPr id="237" name="任意多边形: 形状 236">
              <a:extLst>
                <a:ext uri="{FF2B5EF4-FFF2-40B4-BE49-F238E27FC236}">
                  <a16:creationId xmlns:a16="http://schemas.microsoft.com/office/drawing/2014/main" id="{4547CD7B-548E-4813-A903-C0E95F525ED9}"/>
                </a:ext>
              </a:extLst>
            </p:cNvPr>
            <p:cNvSpPr/>
            <p:nvPr/>
          </p:nvSpPr>
          <p:spPr bwMode="auto">
            <a:xfrm>
              <a:off x="10129395" y="2549269"/>
              <a:ext cx="814300" cy="615336"/>
            </a:xfrm>
            <a:custGeom>
              <a:avLst/>
              <a:gdLst>
                <a:gd name="T0" fmla="*/ 1 w 216"/>
                <a:gd name="T1" fmla="*/ 36 h 163"/>
                <a:gd name="T2" fmla="*/ 12 w 216"/>
                <a:gd name="T3" fmla="*/ 21 h 163"/>
                <a:gd name="T4" fmla="*/ 187 w 216"/>
                <a:gd name="T5" fmla="*/ 1 h 163"/>
                <a:gd name="T6" fmla="*/ 201 w 216"/>
                <a:gd name="T7" fmla="*/ 12 h 163"/>
                <a:gd name="T8" fmla="*/ 215 w 216"/>
                <a:gd name="T9" fmla="*/ 126 h 163"/>
                <a:gd name="T10" fmla="*/ 203 w 216"/>
                <a:gd name="T11" fmla="*/ 141 h 163"/>
                <a:gd name="T12" fmla="*/ 29 w 216"/>
                <a:gd name="T13" fmla="*/ 162 h 163"/>
                <a:gd name="T14" fmla="*/ 14 w 216"/>
                <a:gd name="T15" fmla="*/ 150 h 163"/>
                <a:gd name="T16" fmla="*/ 1 w 216"/>
                <a:gd name="T17" fmla="*/ 36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6" h="163">
                  <a:moveTo>
                    <a:pt x="1" y="36"/>
                  </a:moveTo>
                  <a:cubicBezTo>
                    <a:pt x="0" y="29"/>
                    <a:pt x="5" y="22"/>
                    <a:pt x="12" y="21"/>
                  </a:cubicBezTo>
                  <a:cubicBezTo>
                    <a:pt x="187" y="1"/>
                    <a:pt x="187" y="1"/>
                    <a:pt x="187" y="1"/>
                  </a:cubicBezTo>
                  <a:cubicBezTo>
                    <a:pt x="194" y="0"/>
                    <a:pt x="200" y="5"/>
                    <a:pt x="201" y="12"/>
                  </a:cubicBezTo>
                  <a:cubicBezTo>
                    <a:pt x="215" y="126"/>
                    <a:pt x="215" y="126"/>
                    <a:pt x="215" y="126"/>
                  </a:cubicBezTo>
                  <a:cubicBezTo>
                    <a:pt x="216" y="133"/>
                    <a:pt x="211" y="140"/>
                    <a:pt x="203" y="141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21" y="163"/>
                    <a:pt x="15" y="157"/>
                    <a:pt x="14" y="150"/>
                  </a:cubicBezTo>
                  <a:lnTo>
                    <a:pt x="1" y="36"/>
                  </a:lnTo>
                  <a:close/>
                </a:path>
              </a:pathLst>
            </a:custGeom>
            <a:solidFill>
              <a:srgbClr val="DC62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238" name="任意多边形: 形状 237">
              <a:extLst>
                <a:ext uri="{FF2B5EF4-FFF2-40B4-BE49-F238E27FC236}">
                  <a16:creationId xmlns:a16="http://schemas.microsoft.com/office/drawing/2014/main" id="{0AD80491-A5C5-4168-9CE6-1B08FA4CFF4E}"/>
                </a:ext>
              </a:extLst>
            </p:cNvPr>
            <p:cNvSpPr/>
            <p:nvPr/>
          </p:nvSpPr>
          <p:spPr bwMode="auto">
            <a:xfrm>
              <a:off x="10186053" y="2828608"/>
              <a:ext cx="751053" cy="332045"/>
            </a:xfrm>
            <a:custGeom>
              <a:avLst/>
              <a:gdLst>
                <a:gd name="T0" fmla="*/ 61 w 199"/>
                <a:gd name="T1" fmla="*/ 8 h 88"/>
                <a:gd name="T2" fmla="*/ 0 w 199"/>
                <a:gd name="T3" fmla="*/ 80 h 88"/>
                <a:gd name="T4" fmla="*/ 14 w 199"/>
                <a:gd name="T5" fmla="*/ 88 h 88"/>
                <a:gd name="T6" fmla="*/ 188 w 199"/>
                <a:gd name="T7" fmla="*/ 67 h 88"/>
                <a:gd name="T8" fmla="*/ 199 w 199"/>
                <a:gd name="T9" fmla="*/ 57 h 88"/>
                <a:gd name="T10" fmla="*/ 123 w 199"/>
                <a:gd name="T11" fmla="*/ 0 h 88"/>
                <a:gd name="T12" fmla="*/ 61 w 199"/>
                <a:gd name="T13" fmla="*/ 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9" h="88">
                  <a:moveTo>
                    <a:pt x="61" y="8"/>
                  </a:moveTo>
                  <a:cubicBezTo>
                    <a:pt x="0" y="80"/>
                    <a:pt x="0" y="80"/>
                    <a:pt x="0" y="80"/>
                  </a:cubicBezTo>
                  <a:cubicBezTo>
                    <a:pt x="3" y="85"/>
                    <a:pt x="8" y="88"/>
                    <a:pt x="14" y="88"/>
                  </a:cubicBezTo>
                  <a:cubicBezTo>
                    <a:pt x="188" y="67"/>
                    <a:pt x="188" y="67"/>
                    <a:pt x="188" y="67"/>
                  </a:cubicBezTo>
                  <a:cubicBezTo>
                    <a:pt x="194" y="66"/>
                    <a:pt x="198" y="62"/>
                    <a:pt x="199" y="57"/>
                  </a:cubicBezTo>
                  <a:cubicBezTo>
                    <a:pt x="123" y="0"/>
                    <a:pt x="123" y="0"/>
                    <a:pt x="123" y="0"/>
                  </a:cubicBezTo>
                  <a:lnTo>
                    <a:pt x="61" y="8"/>
                  </a:lnTo>
                  <a:close/>
                </a:path>
              </a:pathLst>
            </a:custGeom>
            <a:solidFill>
              <a:srgbClr val="DC62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10000"/>
            </a:bodyPr>
            <a:lstStyle/>
            <a:p>
              <a:endParaRPr lang="zh-CN" altLang="en-US"/>
            </a:p>
          </p:txBody>
        </p:sp>
        <p:sp>
          <p:nvSpPr>
            <p:cNvPr id="239" name="任意多边形: 形状 238">
              <a:extLst>
                <a:ext uri="{FF2B5EF4-FFF2-40B4-BE49-F238E27FC236}">
                  <a16:creationId xmlns:a16="http://schemas.microsoft.com/office/drawing/2014/main" id="{526CA579-BD97-475B-A52B-491ECE2A05FD}"/>
                </a:ext>
              </a:extLst>
            </p:cNvPr>
            <p:cNvSpPr/>
            <p:nvPr/>
          </p:nvSpPr>
          <p:spPr bwMode="auto">
            <a:xfrm>
              <a:off x="10190006" y="2843102"/>
              <a:ext cx="751053" cy="317550"/>
            </a:xfrm>
            <a:custGeom>
              <a:avLst/>
              <a:gdLst>
                <a:gd name="T0" fmla="*/ 60 w 199"/>
                <a:gd name="T1" fmla="*/ 8 h 84"/>
                <a:gd name="T2" fmla="*/ 0 w 199"/>
                <a:gd name="T3" fmla="*/ 77 h 84"/>
                <a:gd name="T4" fmla="*/ 13 w 199"/>
                <a:gd name="T5" fmla="*/ 84 h 84"/>
                <a:gd name="T6" fmla="*/ 187 w 199"/>
                <a:gd name="T7" fmla="*/ 63 h 84"/>
                <a:gd name="T8" fmla="*/ 199 w 199"/>
                <a:gd name="T9" fmla="*/ 53 h 84"/>
                <a:gd name="T10" fmla="*/ 122 w 199"/>
                <a:gd name="T11" fmla="*/ 0 h 84"/>
                <a:gd name="T12" fmla="*/ 60 w 199"/>
                <a:gd name="T13" fmla="*/ 8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9" h="84">
                  <a:moveTo>
                    <a:pt x="60" y="8"/>
                  </a:moveTo>
                  <a:cubicBezTo>
                    <a:pt x="0" y="77"/>
                    <a:pt x="0" y="77"/>
                    <a:pt x="0" y="77"/>
                  </a:cubicBezTo>
                  <a:cubicBezTo>
                    <a:pt x="2" y="81"/>
                    <a:pt x="7" y="84"/>
                    <a:pt x="13" y="84"/>
                  </a:cubicBezTo>
                  <a:cubicBezTo>
                    <a:pt x="187" y="63"/>
                    <a:pt x="187" y="63"/>
                    <a:pt x="187" y="63"/>
                  </a:cubicBezTo>
                  <a:cubicBezTo>
                    <a:pt x="193" y="62"/>
                    <a:pt x="197" y="58"/>
                    <a:pt x="199" y="53"/>
                  </a:cubicBezTo>
                  <a:cubicBezTo>
                    <a:pt x="122" y="0"/>
                    <a:pt x="122" y="0"/>
                    <a:pt x="122" y="0"/>
                  </a:cubicBezTo>
                  <a:lnTo>
                    <a:pt x="60" y="8"/>
                  </a:lnTo>
                  <a:close/>
                </a:path>
              </a:pathLst>
            </a:custGeom>
            <a:solidFill>
              <a:srgbClr val="F36C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/>
            <a:p>
              <a:endParaRPr lang="zh-CN" altLang="en-US"/>
            </a:p>
          </p:txBody>
        </p:sp>
        <p:sp>
          <p:nvSpPr>
            <p:cNvPr id="240" name="任意多边形: 形状 239">
              <a:extLst>
                <a:ext uri="{FF2B5EF4-FFF2-40B4-BE49-F238E27FC236}">
                  <a16:creationId xmlns:a16="http://schemas.microsoft.com/office/drawing/2014/main" id="{54938519-BE4D-4BDC-A975-057A8FCAFDE0}"/>
                </a:ext>
              </a:extLst>
            </p:cNvPr>
            <p:cNvSpPr/>
            <p:nvPr/>
          </p:nvSpPr>
          <p:spPr bwMode="auto">
            <a:xfrm>
              <a:off x="10133348" y="2549269"/>
              <a:ext cx="751053" cy="441408"/>
            </a:xfrm>
            <a:custGeom>
              <a:avLst/>
              <a:gdLst>
                <a:gd name="T0" fmla="*/ 0 w 199"/>
                <a:gd name="T1" fmla="*/ 32 h 117"/>
                <a:gd name="T2" fmla="*/ 111 w 199"/>
                <a:gd name="T3" fmla="*/ 117 h 117"/>
                <a:gd name="T4" fmla="*/ 199 w 199"/>
                <a:gd name="T5" fmla="*/ 8 h 117"/>
                <a:gd name="T6" fmla="*/ 186 w 199"/>
                <a:gd name="T7" fmla="*/ 1 h 117"/>
                <a:gd name="T8" fmla="*/ 11 w 199"/>
                <a:gd name="T9" fmla="*/ 21 h 117"/>
                <a:gd name="T10" fmla="*/ 0 w 199"/>
                <a:gd name="T11" fmla="*/ 3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9" h="117">
                  <a:moveTo>
                    <a:pt x="0" y="32"/>
                  </a:moveTo>
                  <a:cubicBezTo>
                    <a:pt x="111" y="117"/>
                    <a:pt x="111" y="117"/>
                    <a:pt x="111" y="117"/>
                  </a:cubicBezTo>
                  <a:cubicBezTo>
                    <a:pt x="199" y="8"/>
                    <a:pt x="199" y="8"/>
                    <a:pt x="199" y="8"/>
                  </a:cubicBezTo>
                  <a:cubicBezTo>
                    <a:pt x="196" y="3"/>
                    <a:pt x="191" y="0"/>
                    <a:pt x="186" y="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5" y="22"/>
                    <a:pt x="1" y="26"/>
                    <a:pt x="0" y="32"/>
                  </a:cubicBezTo>
                  <a:close/>
                </a:path>
              </a:pathLst>
            </a:custGeom>
            <a:solidFill>
              <a:srgbClr val="DC62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241" name="任意多边形: 形状 240">
              <a:extLst>
                <a:ext uri="{FF2B5EF4-FFF2-40B4-BE49-F238E27FC236}">
                  <a16:creationId xmlns:a16="http://schemas.microsoft.com/office/drawing/2014/main" id="{10CF68A5-9B98-4A7C-A442-8CF5A4ED0FA4}"/>
                </a:ext>
              </a:extLst>
            </p:cNvPr>
            <p:cNvSpPr/>
            <p:nvPr/>
          </p:nvSpPr>
          <p:spPr bwMode="auto">
            <a:xfrm>
              <a:off x="10133348" y="2549269"/>
              <a:ext cx="751053" cy="407149"/>
            </a:xfrm>
            <a:custGeom>
              <a:avLst/>
              <a:gdLst>
                <a:gd name="T0" fmla="*/ 0 w 199"/>
                <a:gd name="T1" fmla="*/ 31 h 108"/>
                <a:gd name="T2" fmla="*/ 110 w 199"/>
                <a:gd name="T3" fmla="*/ 108 h 108"/>
                <a:gd name="T4" fmla="*/ 199 w 199"/>
                <a:gd name="T5" fmla="*/ 8 h 108"/>
                <a:gd name="T6" fmla="*/ 186 w 199"/>
                <a:gd name="T7" fmla="*/ 1 h 108"/>
                <a:gd name="T8" fmla="*/ 11 w 199"/>
                <a:gd name="T9" fmla="*/ 21 h 108"/>
                <a:gd name="T10" fmla="*/ 0 w 199"/>
                <a:gd name="T11" fmla="*/ 31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9" h="108">
                  <a:moveTo>
                    <a:pt x="0" y="31"/>
                  </a:moveTo>
                  <a:cubicBezTo>
                    <a:pt x="110" y="108"/>
                    <a:pt x="110" y="108"/>
                    <a:pt x="110" y="108"/>
                  </a:cubicBezTo>
                  <a:cubicBezTo>
                    <a:pt x="199" y="8"/>
                    <a:pt x="199" y="8"/>
                    <a:pt x="199" y="8"/>
                  </a:cubicBezTo>
                  <a:cubicBezTo>
                    <a:pt x="196" y="3"/>
                    <a:pt x="191" y="0"/>
                    <a:pt x="186" y="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5" y="22"/>
                    <a:pt x="1" y="26"/>
                    <a:pt x="0" y="31"/>
                  </a:cubicBezTo>
                  <a:close/>
                </a:path>
              </a:pathLst>
            </a:custGeom>
            <a:solidFill>
              <a:srgbClr val="F36C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242" name="任意多边形: 形状 241">
              <a:extLst>
                <a:ext uri="{FF2B5EF4-FFF2-40B4-BE49-F238E27FC236}">
                  <a16:creationId xmlns:a16="http://schemas.microsoft.com/office/drawing/2014/main" id="{9C79B263-9419-466A-9E02-E91F8CDA1E1E}"/>
                </a:ext>
              </a:extLst>
            </p:cNvPr>
            <p:cNvSpPr/>
            <p:nvPr/>
          </p:nvSpPr>
          <p:spPr bwMode="auto">
            <a:xfrm>
              <a:off x="9586529" y="2553222"/>
              <a:ext cx="1716881" cy="1486294"/>
            </a:xfrm>
            <a:custGeom>
              <a:avLst/>
              <a:gdLst>
                <a:gd name="T0" fmla="*/ 0 w 1303"/>
                <a:gd name="T1" fmla="*/ 0 h 1128"/>
                <a:gd name="T2" fmla="*/ 652 w 1303"/>
                <a:gd name="T3" fmla="*/ 375 h 1128"/>
                <a:gd name="T4" fmla="*/ 1303 w 1303"/>
                <a:gd name="T5" fmla="*/ 0 h 1128"/>
                <a:gd name="T6" fmla="*/ 1303 w 1303"/>
                <a:gd name="T7" fmla="*/ 753 h 1128"/>
                <a:gd name="T8" fmla="*/ 652 w 1303"/>
                <a:gd name="T9" fmla="*/ 1128 h 1128"/>
                <a:gd name="T10" fmla="*/ 0 w 1303"/>
                <a:gd name="T11" fmla="*/ 753 h 1128"/>
                <a:gd name="T12" fmla="*/ 0 w 1303"/>
                <a:gd name="T13" fmla="*/ 0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3" h="1128">
                  <a:moveTo>
                    <a:pt x="0" y="0"/>
                  </a:moveTo>
                  <a:lnTo>
                    <a:pt x="652" y="375"/>
                  </a:lnTo>
                  <a:lnTo>
                    <a:pt x="1303" y="0"/>
                  </a:lnTo>
                  <a:lnTo>
                    <a:pt x="1303" y="753"/>
                  </a:lnTo>
                  <a:lnTo>
                    <a:pt x="652" y="1128"/>
                  </a:lnTo>
                  <a:lnTo>
                    <a:pt x="0" y="75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DA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243" name="任意多边形: 形状 242">
              <a:extLst>
                <a:ext uri="{FF2B5EF4-FFF2-40B4-BE49-F238E27FC236}">
                  <a16:creationId xmlns:a16="http://schemas.microsoft.com/office/drawing/2014/main" id="{3FB15C7A-2AC8-4D78-B641-FAEE08254405}"/>
                </a:ext>
              </a:extLst>
            </p:cNvPr>
            <p:cNvSpPr/>
            <p:nvPr/>
          </p:nvSpPr>
          <p:spPr bwMode="auto">
            <a:xfrm>
              <a:off x="10445628" y="2553222"/>
              <a:ext cx="857782" cy="1486294"/>
            </a:xfrm>
            <a:custGeom>
              <a:avLst/>
              <a:gdLst>
                <a:gd name="T0" fmla="*/ 0 w 651"/>
                <a:gd name="T1" fmla="*/ 381 h 1128"/>
                <a:gd name="T2" fmla="*/ 651 w 651"/>
                <a:gd name="T3" fmla="*/ 0 h 1128"/>
                <a:gd name="T4" fmla="*/ 651 w 651"/>
                <a:gd name="T5" fmla="*/ 753 h 1128"/>
                <a:gd name="T6" fmla="*/ 0 w 651"/>
                <a:gd name="T7" fmla="*/ 1128 h 1128"/>
                <a:gd name="T8" fmla="*/ 0 w 651"/>
                <a:gd name="T9" fmla="*/ 381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1" h="1128">
                  <a:moveTo>
                    <a:pt x="0" y="381"/>
                  </a:moveTo>
                  <a:lnTo>
                    <a:pt x="651" y="0"/>
                  </a:lnTo>
                  <a:lnTo>
                    <a:pt x="651" y="753"/>
                  </a:lnTo>
                  <a:lnTo>
                    <a:pt x="0" y="1128"/>
                  </a:lnTo>
                  <a:lnTo>
                    <a:pt x="0" y="381"/>
                  </a:lnTo>
                  <a:close/>
                </a:path>
              </a:pathLst>
            </a:custGeom>
            <a:solidFill>
              <a:srgbClr val="F3BD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244" name="任意多边形: 形状 243">
              <a:extLst>
                <a:ext uri="{FF2B5EF4-FFF2-40B4-BE49-F238E27FC236}">
                  <a16:creationId xmlns:a16="http://schemas.microsoft.com/office/drawing/2014/main" id="{2EAFD0B8-BD75-448C-B255-9915B0F6B307}"/>
                </a:ext>
              </a:extLst>
            </p:cNvPr>
            <p:cNvSpPr/>
            <p:nvPr/>
          </p:nvSpPr>
          <p:spPr bwMode="auto">
            <a:xfrm>
              <a:off x="10445628" y="2553222"/>
              <a:ext cx="1083098" cy="913122"/>
            </a:xfrm>
            <a:custGeom>
              <a:avLst/>
              <a:gdLst>
                <a:gd name="T0" fmla="*/ 0 w 822"/>
                <a:gd name="T1" fmla="*/ 381 h 693"/>
                <a:gd name="T2" fmla="*/ 651 w 822"/>
                <a:gd name="T3" fmla="*/ 0 h 693"/>
                <a:gd name="T4" fmla="*/ 822 w 822"/>
                <a:gd name="T5" fmla="*/ 317 h 693"/>
                <a:gd name="T6" fmla="*/ 169 w 822"/>
                <a:gd name="T7" fmla="*/ 693 h 693"/>
                <a:gd name="T8" fmla="*/ 0 w 822"/>
                <a:gd name="T9" fmla="*/ 381 h 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2" h="693">
                  <a:moveTo>
                    <a:pt x="0" y="381"/>
                  </a:moveTo>
                  <a:lnTo>
                    <a:pt x="651" y="0"/>
                  </a:lnTo>
                  <a:lnTo>
                    <a:pt x="822" y="317"/>
                  </a:lnTo>
                  <a:lnTo>
                    <a:pt x="169" y="693"/>
                  </a:lnTo>
                  <a:lnTo>
                    <a:pt x="0" y="381"/>
                  </a:lnTo>
                  <a:close/>
                </a:path>
              </a:pathLst>
            </a:custGeom>
            <a:solidFill>
              <a:srgbClr val="F0CA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  <p:sp>
          <p:nvSpPr>
            <p:cNvPr id="245" name="任意多边形: 形状 244">
              <a:extLst>
                <a:ext uri="{FF2B5EF4-FFF2-40B4-BE49-F238E27FC236}">
                  <a16:creationId xmlns:a16="http://schemas.microsoft.com/office/drawing/2014/main" id="{30E66EBF-2422-41FE-BB46-9767467F6B77}"/>
                </a:ext>
              </a:extLst>
            </p:cNvPr>
            <p:cNvSpPr/>
            <p:nvPr/>
          </p:nvSpPr>
          <p:spPr bwMode="auto">
            <a:xfrm>
              <a:off x="9363847" y="2553222"/>
              <a:ext cx="1081781" cy="913122"/>
            </a:xfrm>
            <a:custGeom>
              <a:avLst/>
              <a:gdLst>
                <a:gd name="T0" fmla="*/ 821 w 821"/>
                <a:gd name="T1" fmla="*/ 383 h 693"/>
                <a:gd name="T2" fmla="*/ 169 w 821"/>
                <a:gd name="T3" fmla="*/ 0 h 693"/>
                <a:gd name="T4" fmla="*/ 0 w 821"/>
                <a:gd name="T5" fmla="*/ 317 h 693"/>
                <a:gd name="T6" fmla="*/ 650 w 821"/>
                <a:gd name="T7" fmla="*/ 693 h 693"/>
                <a:gd name="T8" fmla="*/ 821 w 821"/>
                <a:gd name="T9" fmla="*/ 383 h 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1" h="693">
                  <a:moveTo>
                    <a:pt x="821" y="383"/>
                  </a:moveTo>
                  <a:lnTo>
                    <a:pt x="169" y="0"/>
                  </a:lnTo>
                  <a:lnTo>
                    <a:pt x="0" y="317"/>
                  </a:lnTo>
                  <a:lnTo>
                    <a:pt x="650" y="693"/>
                  </a:lnTo>
                  <a:lnTo>
                    <a:pt x="821" y="383"/>
                  </a:lnTo>
                  <a:close/>
                </a:path>
              </a:pathLst>
            </a:custGeom>
            <a:solidFill>
              <a:srgbClr val="F0CA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/>
            <a:p>
              <a:endParaRPr lang="zh-CN" altLang="en-US"/>
            </a:p>
          </p:txBody>
        </p:sp>
      </p:grpSp>
      <p:sp>
        <p:nvSpPr>
          <p:cNvPr id="52" name="任意多边形: 形状 51">
            <a:extLst>
              <a:ext uri="{FF2B5EF4-FFF2-40B4-BE49-F238E27FC236}">
                <a16:creationId xmlns:a16="http://schemas.microsoft.com/office/drawing/2014/main" id="{C74A1700-12EA-42F5-B28F-40D7E3F6543E}"/>
              </a:ext>
            </a:extLst>
          </p:cNvPr>
          <p:cNvSpPr/>
          <p:nvPr/>
        </p:nvSpPr>
        <p:spPr bwMode="auto">
          <a:xfrm>
            <a:off x="1933212" y="2851079"/>
            <a:ext cx="468344" cy="343092"/>
          </a:xfrm>
          <a:custGeom>
            <a:avLst/>
            <a:gdLst>
              <a:gd name="T0" fmla="*/ 1628 w 3770"/>
              <a:gd name="T1" fmla="*/ 1688 h 2766"/>
              <a:gd name="T2" fmla="*/ 1394 w 3770"/>
              <a:gd name="T3" fmla="*/ 1521 h 2766"/>
              <a:gd name="T4" fmla="*/ 118 w 3770"/>
              <a:gd name="T5" fmla="*/ 346 h 2766"/>
              <a:gd name="T6" fmla="*/ 47 w 3770"/>
              <a:gd name="T7" fmla="*/ 109 h 2766"/>
              <a:gd name="T8" fmla="*/ 252 w 3770"/>
              <a:gd name="T9" fmla="*/ 0 h 2766"/>
              <a:gd name="T10" fmla="*/ 3519 w 3770"/>
              <a:gd name="T11" fmla="*/ 0 h 2766"/>
              <a:gd name="T12" fmla="*/ 3728 w 3770"/>
              <a:gd name="T13" fmla="*/ 117 h 2766"/>
              <a:gd name="T14" fmla="*/ 3655 w 3770"/>
              <a:gd name="T15" fmla="*/ 354 h 2766"/>
              <a:gd name="T16" fmla="*/ 2254 w 3770"/>
              <a:gd name="T17" fmla="*/ 1619 h 2766"/>
              <a:gd name="T18" fmla="*/ 1628 w 3770"/>
              <a:gd name="T19" fmla="*/ 1688 h 2766"/>
              <a:gd name="T20" fmla="*/ 260 w 3770"/>
              <a:gd name="T21" fmla="*/ 2766 h 2766"/>
              <a:gd name="T22" fmla="*/ 0 w 3770"/>
              <a:gd name="T23" fmla="*/ 2515 h 2766"/>
              <a:gd name="T24" fmla="*/ 0 w 3770"/>
              <a:gd name="T25" fmla="*/ 650 h 2766"/>
              <a:gd name="T26" fmla="*/ 103 w 3770"/>
              <a:gd name="T27" fmla="*/ 607 h 2766"/>
              <a:gd name="T28" fmla="*/ 656 w 3770"/>
              <a:gd name="T29" fmla="*/ 1152 h 2766"/>
              <a:gd name="T30" fmla="*/ 702 w 3770"/>
              <a:gd name="T31" fmla="*/ 1387 h 2766"/>
              <a:gd name="T32" fmla="*/ 305 w 3770"/>
              <a:gd name="T33" fmla="*/ 2321 h 2766"/>
              <a:gd name="T34" fmla="*/ 338 w 3770"/>
              <a:gd name="T35" fmla="*/ 2341 h 2766"/>
              <a:gd name="T36" fmla="*/ 892 w 3770"/>
              <a:gd name="T37" fmla="*/ 1631 h 2766"/>
              <a:gd name="T38" fmla="*/ 1095 w 3770"/>
              <a:gd name="T39" fmla="*/ 1607 h 2766"/>
              <a:gd name="T40" fmla="*/ 1340 w 3770"/>
              <a:gd name="T41" fmla="*/ 1804 h 2766"/>
              <a:gd name="T42" fmla="*/ 1588 w 3770"/>
              <a:gd name="T43" fmla="*/ 1948 h 2766"/>
              <a:gd name="T44" fmla="*/ 2291 w 3770"/>
              <a:gd name="T45" fmla="*/ 1903 h 2766"/>
              <a:gd name="T46" fmla="*/ 2648 w 3770"/>
              <a:gd name="T47" fmla="*/ 1604 h 2766"/>
              <a:gd name="T48" fmla="*/ 2847 w 3770"/>
              <a:gd name="T49" fmla="*/ 1627 h 2766"/>
              <a:gd name="T50" fmla="*/ 3434 w 3770"/>
              <a:gd name="T51" fmla="*/ 2402 h 2766"/>
              <a:gd name="T52" fmla="*/ 3467 w 3770"/>
              <a:gd name="T53" fmla="*/ 2383 h 2766"/>
              <a:gd name="T54" fmla="*/ 3061 w 3770"/>
              <a:gd name="T55" fmla="*/ 1396 h 2766"/>
              <a:gd name="T56" fmla="*/ 3109 w 3770"/>
              <a:gd name="T57" fmla="*/ 1160 h 2766"/>
              <a:gd name="T58" fmla="*/ 3667 w 3770"/>
              <a:gd name="T59" fmla="*/ 607 h 2766"/>
              <a:gd name="T60" fmla="*/ 3770 w 3770"/>
              <a:gd name="T61" fmla="*/ 650 h 2766"/>
              <a:gd name="T62" fmla="*/ 3770 w 3770"/>
              <a:gd name="T63" fmla="*/ 2531 h 2766"/>
              <a:gd name="T64" fmla="*/ 3495 w 3770"/>
              <a:gd name="T65" fmla="*/ 2766 h 2766"/>
              <a:gd name="T66" fmla="*/ 260 w 3770"/>
              <a:gd name="T67" fmla="*/ 2766 h 2766"/>
              <a:gd name="T68" fmla="*/ 260 w 3770"/>
              <a:gd name="T69" fmla="*/ 2766 h 27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770" h="2766">
                <a:moveTo>
                  <a:pt x="1628" y="1688"/>
                </a:moveTo>
                <a:cubicBezTo>
                  <a:pt x="1554" y="1656"/>
                  <a:pt x="1453" y="1575"/>
                  <a:pt x="1394" y="1521"/>
                </a:cubicBezTo>
                <a:lnTo>
                  <a:pt x="118" y="346"/>
                </a:lnTo>
                <a:cubicBezTo>
                  <a:pt x="59" y="292"/>
                  <a:pt x="8" y="179"/>
                  <a:pt x="47" y="109"/>
                </a:cubicBezTo>
                <a:cubicBezTo>
                  <a:pt x="79" y="52"/>
                  <a:pt x="139" y="0"/>
                  <a:pt x="252" y="0"/>
                </a:cubicBezTo>
                <a:lnTo>
                  <a:pt x="3519" y="0"/>
                </a:lnTo>
                <a:cubicBezTo>
                  <a:pt x="3519" y="0"/>
                  <a:pt x="3661" y="3"/>
                  <a:pt x="3728" y="117"/>
                </a:cubicBezTo>
                <a:cubicBezTo>
                  <a:pt x="3769" y="186"/>
                  <a:pt x="3714" y="300"/>
                  <a:pt x="3655" y="354"/>
                </a:cubicBezTo>
                <a:lnTo>
                  <a:pt x="2254" y="1619"/>
                </a:lnTo>
                <a:cubicBezTo>
                  <a:pt x="2254" y="1619"/>
                  <a:pt x="1984" y="1839"/>
                  <a:pt x="1628" y="1688"/>
                </a:cubicBezTo>
                <a:close/>
                <a:moveTo>
                  <a:pt x="260" y="2766"/>
                </a:moveTo>
                <a:cubicBezTo>
                  <a:pt x="260" y="2766"/>
                  <a:pt x="0" y="2743"/>
                  <a:pt x="0" y="2515"/>
                </a:cubicBezTo>
                <a:lnTo>
                  <a:pt x="0" y="650"/>
                </a:lnTo>
                <a:cubicBezTo>
                  <a:pt x="0" y="570"/>
                  <a:pt x="46" y="550"/>
                  <a:pt x="103" y="607"/>
                </a:cubicBezTo>
                <a:lnTo>
                  <a:pt x="656" y="1152"/>
                </a:lnTo>
                <a:cubicBezTo>
                  <a:pt x="713" y="1208"/>
                  <a:pt x="733" y="1313"/>
                  <a:pt x="702" y="1387"/>
                </a:cubicBezTo>
                <a:lnTo>
                  <a:pt x="305" y="2321"/>
                </a:lnTo>
                <a:cubicBezTo>
                  <a:pt x="274" y="2395"/>
                  <a:pt x="288" y="2404"/>
                  <a:pt x="338" y="2341"/>
                </a:cubicBezTo>
                <a:lnTo>
                  <a:pt x="892" y="1631"/>
                </a:lnTo>
                <a:cubicBezTo>
                  <a:pt x="942" y="1568"/>
                  <a:pt x="1032" y="1557"/>
                  <a:pt x="1095" y="1607"/>
                </a:cubicBezTo>
                <a:lnTo>
                  <a:pt x="1340" y="1804"/>
                </a:lnTo>
                <a:cubicBezTo>
                  <a:pt x="1403" y="1854"/>
                  <a:pt x="1513" y="1923"/>
                  <a:pt x="1588" y="1948"/>
                </a:cubicBezTo>
                <a:cubicBezTo>
                  <a:pt x="1768" y="2008"/>
                  <a:pt x="2088" y="2078"/>
                  <a:pt x="2291" y="1903"/>
                </a:cubicBezTo>
                <a:lnTo>
                  <a:pt x="2648" y="1604"/>
                </a:lnTo>
                <a:cubicBezTo>
                  <a:pt x="2710" y="1553"/>
                  <a:pt x="2799" y="1563"/>
                  <a:pt x="2847" y="1627"/>
                </a:cubicBezTo>
                <a:lnTo>
                  <a:pt x="3434" y="2402"/>
                </a:lnTo>
                <a:cubicBezTo>
                  <a:pt x="3483" y="2466"/>
                  <a:pt x="3497" y="2457"/>
                  <a:pt x="3467" y="2383"/>
                </a:cubicBezTo>
                <a:lnTo>
                  <a:pt x="3061" y="1396"/>
                </a:lnTo>
                <a:cubicBezTo>
                  <a:pt x="3030" y="1322"/>
                  <a:pt x="3052" y="1216"/>
                  <a:pt x="3109" y="1160"/>
                </a:cubicBezTo>
                <a:lnTo>
                  <a:pt x="3667" y="607"/>
                </a:lnTo>
                <a:cubicBezTo>
                  <a:pt x="3724" y="551"/>
                  <a:pt x="3770" y="570"/>
                  <a:pt x="3770" y="650"/>
                </a:cubicBezTo>
                <a:lnTo>
                  <a:pt x="3770" y="2531"/>
                </a:lnTo>
                <a:cubicBezTo>
                  <a:pt x="3770" y="2531"/>
                  <a:pt x="3755" y="2766"/>
                  <a:pt x="3495" y="2766"/>
                </a:cubicBezTo>
                <a:lnTo>
                  <a:pt x="260" y="2766"/>
                </a:lnTo>
                <a:lnTo>
                  <a:pt x="260" y="276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53" name="任意多边形: 形状 52">
            <a:extLst>
              <a:ext uri="{FF2B5EF4-FFF2-40B4-BE49-F238E27FC236}">
                <a16:creationId xmlns:a16="http://schemas.microsoft.com/office/drawing/2014/main" id="{EA725E52-9296-44AD-A538-85010487337F}"/>
              </a:ext>
            </a:extLst>
          </p:cNvPr>
          <p:cNvSpPr/>
          <p:nvPr/>
        </p:nvSpPr>
        <p:spPr bwMode="auto">
          <a:xfrm>
            <a:off x="4940860" y="2811457"/>
            <a:ext cx="468344" cy="422335"/>
          </a:xfrm>
          <a:custGeom>
            <a:avLst/>
            <a:gdLst>
              <a:gd name="connsiteX0" fmla="*/ 521432 w 608344"/>
              <a:gd name="connsiteY0" fmla="*/ 370453 h 548582"/>
              <a:gd name="connsiteX1" fmla="*/ 465737 w 608344"/>
              <a:gd name="connsiteY1" fmla="*/ 425787 h 548582"/>
              <a:gd name="connsiteX2" fmla="*/ 442491 w 608344"/>
              <a:gd name="connsiteY2" fmla="*/ 402479 h 548582"/>
              <a:gd name="connsiteX3" fmla="*/ 418201 w 608344"/>
              <a:gd name="connsiteY3" fmla="*/ 426545 h 548582"/>
              <a:gd name="connsiteX4" fmla="*/ 441447 w 608344"/>
              <a:gd name="connsiteY4" fmla="*/ 449948 h 548582"/>
              <a:gd name="connsiteX5" fmla="*/ 465642 w 608344"/>
              <a:gd name="connsiteY5" fmla="*/ 474204 h 548582"/>
              <a:gd name="connsiteX6" fmla="*/ 489932 w 608344"/>
              <a:gd name="connsiteY6" fmla="*/ 450043 h 548582"/>
              <a:gd name="connsiteX7" fmla="*/ 545532 w 608344"/>
              <a:gd name="connsiteY7" fmla="*/ 394709 h 548582"/>
              <a:gd name="connsiteX8" fmla="*/ 481962 w 608344"/>
              <a:gd name="connsiteY8" fmla="*/ 296170 h 548582"/>
              <a:gd name="connsiteX9" fmla="*/ 608344 w 608344"/>
              <a:gd name="connsiteY9" fmla="*/ 422376 h 548582"/>
              <a:gd name="connsiteX10" fmla="*/ 481962 w 608344"/>
              <a:gd name="connsiteY10" fmla="*/ 548582 h 548582"/>
              <a:gd name="connsiteX11" fmla="*/ 355579 w 608344"/>
              <a:gd name="connsiteY11" fmla="*/ 422376 h 548582"/>
              <a:gd name="connsiteX12" fmla="*/ 481962 w 608344"/>
              <a:gd name="connsiteY12" fmla="*/ 296170 h 548582"/>
              <a:gd name="connsiteX13" fmla="*/ 255835 w 608344"/>
              <a:gd name="connsiteY13" fmla="*/ 446 h 548582"/>
              <a:gd name="connsiteX14" fmla="*/ 317801 w 608344"/>
              <a:gd name="connsiteY14" fmla="*/ 13616 h 548582"/>
              <a:gd name="connsiteX15" fmla="*/ 348072 w 608344"/>
              <a:gd name="connsiteY15" fmla="*/ 41661 h 548582"/>
              <a:gd name="connsiteX16" fmla="*/ 381190 w 608344"/>
              <a:gd name="connsiteY16" fmla="*/ 146831 h 548582"/>
              <a:gd name="connsiteX17" fmla="*/ 378913 w 608344"/>
              <a:gd name="connsiteY17" fmla="*/ 156211 h 548582"/>
              <a:gd name="connsiteX18" fmla="*/ 387833 w 608344"/>
              <a:gd name="connsiteY18" fmla="*/ 200458 h 548582"/>
              <a:gd name="connsiteX19" fmla="*/ 366387 w 608344"/>
              <a:gd name="connsiteY19" fmla="*/ 237694 h 548582"/>
              <a:gd name="connsiteX20" fmla="*/ 351393 w 608344"/>
              <a:gd name="connsiteY20" fmla="*/ 278720 h 548582"/>
              <a:gd name="connsiteX21" fmla="*/ 351393 w 608344"/>
              <a:gd name="connsiteY21" fmla="*/ 322873 h 548582"/>
              <a:gd name="connsiteX22" fmla="*/ 317611 w 608344"/>
              <a:gd name="connsiteY22" fmla="*/ 422358 h 548582"/>
              <a:gd name="connsiteX23" fmla="*/ 376635 w 608344"/>
              <a:gd name="connsiteY23" fmla="*/ 548088 h 548582"/>
              <a:gd name="connsiteX24" fmla="*/ 26855 w 608344"/>
              <a:gd name="connsiteY24" fmla="*/ 548088 h 548582"/>
              <a:gd name="connsiteX25" fmla="*/ 0 w 608344"/>
              <a:gd name="connsiteY25" fmla="*/ 521274 h 548582"/>
              <a:gd name="connsiteX26" fmla="*/ 0 w 608344"/>
              <a:gd name="connsiteY26" fmla="*/ 473806 h 548582"/>
              <a:gd name="connsiteX27" fmla="*/ 19453 w 608344"/>
              <a:gd name="connsiteY27" fmla="*/ 432969 h 548582"/>
              <a:gd name="connsiteX28" fmla="*/ 173751 w 608344"/>
              <a:gd name="connsiteY28" fmla="*/ 334242 h 548582"/>
              <a:gd name="connsiteX29" fmla="*/ 176408 w 608344"/>
              <a:gd name="connsiteY29" fmla="*/ 329884 h 548582"/>
              <a:gd name="connsiteX30" fmla="*/ 176408 w 608344"/>
              <a:gd name="connsiteY30" fmla="*/ 278720 h 548582"/>
              <a:gd name="connsiteX31" fmla="*/ 161320 w 608344"/>
              <a:gd name="connsiteY31" fmla="*/ 237694 h 548582"/>
              <a:gd name="connsiteX32" fmla="*/ 139969 w 608344"/>
              <a:gd name="connsiteY32" fmla="*/ 200458 h 548582"/>
              <a:gd name="connsiteX33" fmla="*/ 148320 w 608344"/>
              <a:gd name="connsiteY33" fmla="*/ 156211 h 548582"/>
              <a:gd name="connsiteX34" fmla="*/ 146042 w 608344"/>
              <a:gd name="connsiteY34" fmla="*/ 146736 h 548582"/>
              <a:gd name="connsiteX35" fmla="*/ 145758 w 608344"/>
              <a:gd name="connsiteY35" fmla="*/ 95099 h 548582"/>
              <a:gd name="connsiteX36" fmla="*/ 176029 w 608344"/>
              <a:gd name="connsiteY36" fmla="*/ 42135 h 548582"/>
              <a:gd name="connsiteX37" fmla="*/ 203928 w 608344"/>
              <a:gd name="connsiteY37" fmla="*/ 19017 h 548582"/>
              <a:gd name="connsiteX38" fmla="*/ 231162 w 608344"/>
              <a:gd name="connsiteY38" fmla="*/ 5089 h 548582"/>
              <a:gd name="connsiteX39" fmla="*/ 255835 w 608344"/>
              <a:gd name="connsiteY39" fmla="*/ 446 h 5485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608344" h="548582">
                <a:moveTo>
                  <a:pt x="521432" y="370453"/>
                </a:moveTo>
                <a:lnTo>
                  <a:pt x="465737" y="425787"/>
                </a:lnTo>
                <a:lnTo>
                  <a:pt x="442491" y="402479"/>
                </a:lnTo>
                <a:lnTo>
                  <a:pt x="418201" y="426545"/>
                </a:lnTo>
                <a:lnTo>
                  <a:pt x="441447" y="449948"/>
                </a:lnTo>
                <a:lnTo>
                  <a:pt x="465642" y="474204"/>
                </a:lnTo>
                <a:lnTo>
                  <a:pt x="489932" y="450043"/>
                </a:lnTo>
                <a:lnTo>
                  <a:pt x="545532" y="394709"/>
                </a:lnTo>
                <a:close/>
                <a:moveTo>
                  <a:pt x="481962" y="296170"/>
                </a:moveTo>
                <a:cubicBezTo>
                  <a:pt x="551795" y="296170"/>
                  <a:pt x="608344" y="352641"/>
                  <a:pt x="608344" y="422376"/>
                </a:cubicBezTo>
                <a:cubicBezTo>
                  <a:pt x="608344" y="492111"/>
                  <a:pt x="551795" y="548582"/>
                  <a:pt x="481962" y="548582"/>
                </a:cubicBezTo>
                <a:cubicBezTo>
                  <a:pt x="412129" y="548582"/>
                  <a:pt x="355579" y="492111"/>
                  <a:pt x="355579" y="422376"/>
                </a:cubicBezTo>
                <a:cubicBezTo>
                  <a:pt x="355579" y="352641"/>
                  <a:pt x="412129" y="296170"/>
                  <a:pt x="481962" y="296170"/>
                </a:cubicBezTo>
                <a:close/>
                <a:moveTo>
                  <a:pt x="255835" y="446"/>
                </a:moveTo>
                <a:cubicBezTo>
                  <a:pt x="282785" y="-1828"/>
                  <a:pt x="303187" y="4899"/>
                  <a:pt x="317801" y="13616"/>
                </a:cubicBezTo>
                <a:cubicBezTo>
                  <a:pt x="339721" y="25744"/>
                  <a:pt x="348072" y="41661"/>
                  <a:pt x="348072" y="41661"/>
                </a:cubicBezTo>
                <a:cubicBezTo>
                  <a:pt x="348072" y="41661"/>
                  <a:pt x="398176" y="45167"/>
                  <a:pt x="381190" y="146831"/>
                </a:cubicBezTo>
                <a:cubicBezTo>
                  <a:pt x="380621" y="149863"/>
                  <a:pt x="379862" y="153085"/>
                  <a:pt x="378913" y="156211"/>
                </a:cubicBezTo>
                <a:cubicBezTo>
                  <a:pt x="388592" y="156211"/>
                  <a:pt x="398271" y="163507"/>
                  <a:pt x="387833" y="200458"/>
                </a:cubicBezTo>
                <a:cubicBezTo>
                  <a:pt x="379672" y="229262"/>
                  <a:pt x="372080" y="237221"/>
                  <a:pt x="366387" y="237694"/>
                </a:cubicBezTo>
                <a:cubicBezTo>
                  <a:pt x="364394" y="250675"/>
                  <a:pt x="359175" y="265076"/>
                  <a:pt x="351393" y="278720"/>
                </a:cubicBezTo>
                <a:lnTo>
                  <a:pt x="351393" y="322873"/>
                </a:lnTo>
                <a:cubicBezTo>
                  <a:pt x="330232" y="350539"/>
                  <a:pt x="317611" y="385027"/>
                  <a:pt x="317611" y="422358"/>
                </a:cubicBezTo>
                <a:cubicBezTo>
                  <a:pt x="317611" y="472764"/>
                  <a:pt x="340480" y="518053"/>
                  <a:pt x="376635" y="548088"/>
                </a:cubicBezTo>
                <a:lnTo>
                  <a:pt x="26855" y="548088"/>
                </a:lnTo>
                <a:cubicBezTo>
                  <a:pt x="12052" y="548088"/>
                  <a:pt x="0" y="536055"/>
                  <a:pt x="0" y="521274"/>
                </a:cubicBezTo>
                <a:lnTo>
                  <a:pt x="0" y="473806"/>
                </a:lnTo>
                <a:cubicBezTo>
                  <a:pt x="0" y="457983"/>
                  <a:pt x="7212" y="443013"/>
                  <a:pt x="19453" y="432969"/>
                </a:cubicBezTo>
                <a:cubicBezTo>
                  <a:pt x="86638" y="377921"/>
                  <a:pt x="159043" y="341443"/>
                  <a:pt x="173751" y="334242"/>
                </a:cubicBezTo>
                <a:cubicBezTo>
                  <a:pt x="175365" y="333484"/>
                  <a:pt x="176408" y="331779"/>
                  <a:pt x="176408" y="329884"/>
                </a:cubicBezTo>
                <a:lnTo>
                  <a:pt x="176408" y="278720"/>
                </a:lnTo>
                <a:cubicBezTo>
                  <a:pt x="168437" y="265076"/>
                  <a:pt x="163313" y="250675"/>
                  <a:pt x="161320" y="237694"/>
                </a:cubicBezTo>
                <a:cubicBezTo>
                  <a:pt x="155627" y="237221"/>
                  <a:pt x="148035" y="229072"/>
                  <a:pt x="139969" y="200458"/>
                </a:cubicBezTo>
                <a:cubicBezTo>
                  <a:pt x="129531" y="164170"/>
                  <a:pt x="138925" y="156496"/>
                  <a:pt x="148320" y="156211"/>
                </a:cubicBezTo>
                <a:cubicBezTo>
                  <a:pt x="147371" y="153085"/>
                  <a:pt x="146612" y="149863"/>
                  <a:pt x="146042" y="146736"/>
                </a:cubicBezTo>
                <a:cubicBezTo>
                  <a:pt x="142436" y="128450"/>
                  <a:pt x="141487" y="111396"/>
                  <a:pt x="145758" y="95099"/>
                </a:cubicBezTo>
                <a:cubicBezTo>
                  <a:pt x="150787" y="73212"/>
                  <a:pt x="162744" y="55684"/>
                  <a:pt x="176029" y="42135"/>
                </a:cubicBezTo>
                <a:cubicBezTo>
                  <a:pt x="184379" y="33134"/>
                  <a:pt x="193869" y="25459"/>
                  <a:pt x="203928" y="19017"/>
                </a:cubicBezTo>
                <a:cubicBezTo>
                  <a:pt x="212183" y="13332"/>
                  <a:pt x="221293" y="8405"/>
                  <a:pt x="231162" y="5089"/>
                </a:cubicBezTo>
                <a:cubicBezTo>
                  <a:pt x="238849" y="2625"/>
                  <a:pt x="247105" y="825"/>
                  <a:pt x="255835" y="4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  <p:sp>
        <p:nvSpPr>
          <p:cNvPr id="54" name="任意多边形: 形状 53">
            <a:extLst>
              <a:ext uri="{FF2B5EF4-FFF2-40B4-BE49-F238E27FC236}">
                <a16:creationId xmlns:a16="http://schemas.microsoft.com/office/drawing/2014/main" id="{41B6CAD4-1492-450D-8357-C447D983EF73}"/>
              </a:ext>
            </a:extLst>
          </p:cNvPr>
          <p:cNvSpPr/>
          <p:nvPr/>
        </p:nvSpPr>
        <p:spPr bwMode="auto">
          <a:xfrm>
            <a:off x="7948507" y="2790984"/>
            <a:ext cx="468344" cy="463283"/>
          </a:xfrm>
          <a:custGeom>
            <a:avLst/>
            <a:gdLst>
              <a:gd name="connsiteX0" fmla="*/ 280959 w 607897"/>
              <a:gd name="connsiteY0" fmla="*/ 344688 h 601328"/>
              <a:gd name="connsiteX1" fmla="*/ 381676 w 607897"/>
              <a:gd name="connsiteY1" fmla="*/ 380405 h 601328"/>
              <a:gd name="connsiteX2" fmla="*/ 396604 w 607897"/>
              <a:gd name="connsiteY2" fmla="*/ 409770 h 601328"/>
              <a:gd name="connsiteX3" fmla="*/ 374396 w 607897"/>
              <a:gd name="connsiteY3" fmla="*/ 425788 h 601328"/>
              <a:gd name="connsiteX4" fmla="*/ 367117 w 607897"/>
              <a:gd name="connsiteY4" fmla="*/ 424591 h 601328"/>
              <a:gd name="connsiteX5" fmla="*/ 266400 w 607897"/>
              <a:gd name="connsiteY5" fmla="*/ 388874 h 601328"/>
              <a:gd name="connsiteX6" fmla="*/ 251472 w 607897"/>
              <a:gd name="connsiteY6" fmla="*/ 359508 h 601328"/>
              <a:gd name="connsiteX7" fmla="*/ 280959 w 607897"/>
              <a:gd name="connsiteY7" fmla="*/ 344688 h 601328"/>
              <a:gd name="connsiteX8" fmla="*/ 201572 w 607897"/>
              <a:gd name="connsiteY8" fmla="*/ 315000 h 601328"/>
              <a:gd name="connsiteX9" fmla="*/ 227470 w 607897"/>
              <a:gd name="connsiteY9" fmla="*/ 340086 h 601328"/>
              <a:gd name="connsiteX10" fmla="*/ 201572 w 607897"/>
              <a:gd name="connsiteY10" fmla="*/ 365172 h 601328"/>
              <a:gd name="connsiteX11" fmla="*/ 175674 w 607897"/>
              <a:gd name="connsiteY11" fmla="*/ 340086 h 601328"/>
              <a:gd name="connsiteX12" fmla="*/ 201572 w 607897"/>
              <a:gd name="connsiteY12" fmla="*/ 315000 h 601328"/>
              <a:gd name="connsiteX13" fmla="*/ 319308 w 607897"/>
              <a:gd name="connsiteY13" fmla="*/ 247496 h 601328"/>
              <a:gd name="connsiteX14" fmla="*/ 419869 w 607897"/>
              <a:gd name="connsiteY14" fmla="*/ 283297 h 601328"/>
              <a:gd name="connsiteX15" fmla="*/ 434616 w 607897"/>
              <a:gd name="connsiteY15" fmla="*/ 312747 h 601328"/>
              <a:gd name="connsiteX16" fmla="*/ 412311 w 607897"/>
              <a:gd name="connsiteY16" fmla="*/ 328669 h 601328"/>
              <a:gd name="connsiteX17" fmla="*/ 405029 w 607897"/>
              <a:gd name="connsiteY17" fmla="*/ 327473 h 601328"/>
              <a:gd name="connsiteX18" fmla="*/ 304560 w 607897"/>
              <a:gd name="connsiteY18" fmla="*/ 291580 h 601328"/>
              <a:gd name="connsiteX19" fmla="*/ 289813 w 607897"/>
              <a:gd name="connsiteY19" fmla="*/ 262130 h 601328"/>
              <a:gd name="connsiteX20" fmla="*/ 319308 w 607897"/>
              <a:gd name="connsiteY20" fmla="*/ 247496 h 601328"/>
              <a:gd name="connsiteX21" fmla="*/ 240630 w 607897"/>
              <a:gd name="connsiteY21" fmla="*/ 218749 h 601328"/>
              <a:gd name="connsiteX22" fmla="*/ 266492 w 607897"/>
              <a:gd name="connsiteY22" fmla="*/ 243835 h 601328"/>
              <a:gd name="connsiteX23" fmla="*/ 240630 w 607897"/>
              <a:gd name="connsiteY23" fmla="*/ 268921 h 601328"/>
              <a:gd name="connsiteX24" fmla="*/ 214768 w 607897"/>
              <a:gd name="connsiteY24" fmla="*/ 243835 h 601328"/>
              <a:gd name="connsiteX25" fmla="*/ 240630 w 607897"/>
              <a:gd name="connsiteY25" fmla="*/ 218749 h 601328"/>
              <a:gd name="connsiteX26" fmla="*/ 358917 w 607897"/>
              <a:gd name="connsiteY26" fmla="*/ 152576 h 601328"/>
              <a:gd name="connsiteX27" fmla="*/ 459986 w 607897"/>
              <a:gd name="connsiteY27" fmla="*/ 183676 h 601328"/>
              <a:gd name="connsiteX28" fmla="*/ 476400 w 607897"/>
              <a:gd name="connsiteY28" fmla="*/ 212291 h 601328"/>
              <a:gd name="connsiteX29" fmla="*/ 453899 w 607897"/>
              <a:gd name="connsiteY29" fmla="*/ 229405 h 601328"/>
              <a:gd name="connsiteX30" fmla="*/ 447721 w 607897"/>
              <a:gd name="connsiteY30" fmla="*/ 228577 h 601328"/>
              <a:gd name="connsiteX31" fmla="*/ 346560 w 607897"/>
              <a:gd name="connsiteY31" fmla="*/ 197477 h 601328"/>
              <a:gd name="connsiteX32" fmla="*/ 330238 w 607897"/>
              <a:gd name="connsiteY32" fmla="*/ 168862 h 601328"/>
              <a:gd name="connsiteX33" fmla="*/ 358917 w 607897"/>
              <a:gd name="connsiteY33" fmla="*/ 152576 h 601328"/>
              <a:gd name="connsiteX34" fmla="*/ 277183 w 607897"/>
              <a:gd name="connsiteY34" fmla="*/ 125391 h 601328"/>
              <a:gd name="connsiteX35" fmla="*/ 303045 w 607897"/>
              <a:gd name="connsiteY35" fmla="*/ 150477 h 601328"/>
              <a:gd name="connsiteX36" fmla="*/ 277183 w 607897"/>
              <a:gd name="connsiteY36" fmla="*/ 175563 h 601328"/>
              <a:gd name="connsiteX37" fmla="*/ 251321 w 607897"/>
              <a:gd name="connsiteY37" fmla="*/ 150477 h 601328"/>
              <a:gd name="connsiteX38" fmla="*/ 277183 w 607897"/>
              <a:gd name="connsiteY38" fmla="*/ 125391 h 601328"/>
              <a:gd name="connsiteX39" fmla="*/ 244801 w 607897"/>
              <a:gd name="connsiteY39" fmla="*/ 441 h 601328"/>
              <a:gd name="connsiteX40" fmla="*/ 589079 w 607897"/>
              <a:gd name="connsiteY40" fmla="*/ 83374 h 601328"/>
              <a:gd name="connsiteX41" fmla="*/ 604657 w 607897"/>
              <a:gd name="connsiteY41" fmla="*/ 94328 h 601328"/>
              <a:gd name="connsiteX42" fmla="*/ 606777 w 607897"/>
              <a:gd name="connsiteY42" fmla="*/ 113197 h 601328"/>
              <a:gd name="connsiteX43" fmla="*/ 492294 w 607897"/>
              <a:gd name="connsiteY43" fmla="*/ 431399 h 601328"/>
              <a:gd name="connsiteX44" fmla="*/ 333014 w 607897"/>
              <a:gd name="connsiteY44" fmla="*/ 601223 h 601328"/>
              <a:gd name="connsiteX45" fmla="*/ 269689 w 607897"/>
              <a:gd name="connsiteY45" fmla="*/ 588245 h 601328"/>
              <a:gd name="connsiteX46" fmla="*/ 75473 w 607897"/>
              <a:gd name="connsiteY46" fmla="*/ 500157 h 601328"/>
              <a:gd name="connsiteX47" fmla="*/ 2562 w 607897"/>
              <a:gd name="connsiteY47" fmla="*/ 352148 h 601328"/>
              <a:gd name="connsiteX48" fmla="*/ 267845 w 607897"/>
              <a:gd name="connsiteY48" fmla="*/ 459197 h 601328"/>
              <a:gd name="connsiteX49" fmla="*/ 349421 w 607897"/>
              <a:gd name="connsiteY49" fmla="*/ 553268 h 601328"/>
              <a:gd name="connsiteX50" fmla="*/ 349513 w 607897"/>
              <a:gd name="connsiteY50" fmla="*/ 553452 h 601328"/>
              <a:gd name="connsiteX51" fmla="*/ 448695 w 607897"/>
              <a:gd name="connsiteY51" fmla="*/ 414923 h 601328"/>
              <a:gd name="connsiteX52" fmla="*/ 554421 w 607897"/>
              <a:gd name="connsiteY52" fmla="*/ 123874 h 601328"/>
              <a:gd name="connsiteX53" fmla="*/ 255217 w 607897"/>
              <a:gd name="connsiteY53" fmla="*/ 47660 h 601328"/>
              <a:gd name="connsiteX54" fmla="*/ 130871 w 607897"/>
              <a:gd name="connsiteY54" fmla="*/ 364298 h 601328"/>
              <a:gd name="connsiteX55" fmla="*/ 86996 w 607897"/>
              <a:gd name="connsiteY55" fmla="*/ 348282 h 601328"/>
              <a:gd name="connsiteX56" fmla="*/ 218254 w 607897"/>
              <a:gd name="connsiteY56" fmla="*/ 15352 h 601328"/>
              <a:gd name="connsiteX57" fmla="*/ 244801 w 607897"/>
              <a:gd name="connsiteY57" fmla="*/ 441 h 6013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</a:cxnLst>
            <a:rect l="l" t="t" r="r" b="b"/>
            <a:pathLst>
              <a:path w="607897" h="601328">
                <a:moveTo>
                  <a:pt x="280959" y="344688"/>
                </a:moveTo>
                <a:lnTo>
                  <a:pt x="381676" y="380405"/>
                </a:lnTo>
                <a:cubicBezTo>
                  <a:pt x="393931" y="384363"/>
                  <a:pt x="400566" y="397527"/>
                  <a:pt x="396604" y="409770"/>
                </a:cubicBezTo>
                <a:cubicBezTo>
                  <a:pt x="393379" y="419528"/>
                  <a:pt x="384256" y="425788"/>
                  <a:pt x="374396" y="425788"/>
                </a:cubicBezTo>
                <a:cubicBezTo>
                  <a:pt x="372000" y="425788"/>
                  <a:pt x="369605" y="425420"/>
                  <a:pt x="367117" y="424591"/>
                </a:cubicBezTo>
                <a:lnTo>
                  <a:pt x="266400" y="388874"/>
                </a:lnTo>
                <a:cubicBezTo>
                  <a:pt x="254237" y="384916"/>
                  <a:pt x="247510" y="371660"/>
                  <a:pt x="251472" y="359508"/>
                </a:cubicBezTo>
                <a:cubicBezTo>
                  <a:pt x="255527" y="347265"/>
                  <a:pt x="268704" y="340545"/>
                  <a:pt x="280959" y="344688"/>
                </a:cubicBezTo>
                <a:close/>
                <a:moveTo>
                  <a:pt x="201572" y="315000"/>
                </a:moveTo>
                <a:cubicBezTo>
                  <a:pt x="215875" y="315000"/>
                  <a:pt x="227470" y="326231"/>
                  <a:pt x="227470" y="340086"/>
                </a:cubicBezTo>
                <a:cubicBezTo>
                  <a:pt x="227470" y="353941"/>
                  <a:pt x="215875" y="365172"/>
                  <a:pt x="201572" y="365172"/>
                </a:cubicBezTo>
                <a:cubicBezTo>
                  <a:pt x="187269" y="365172"/>
                  <a:pt x="175674" y="353941"/>
                  <a:pt x="175674" y="340086"/>
                </a:cubicBezTo>
                <a:cubicBezTo>
                  <a:pt x="175674" y="326231"/>
                  <a:pt x="187269" y="315000"/>
                  <a:pt x="201572" y="315000"/>
                </a:cubicBezTo>
                <a:close/>
                <a:moveTo>
                  <a:pt x="319308" y="247496"/>
                </a:moveTo>
                <a:lnTo>
                  <a:pt x="419869" y="283297"/>
                </a:lnTo>
                <a:cubicBezTo>
                  <a:pt x="432128" y="287438"/>
                  <a:pt x="438672" y="300599"/>
                  <a:pt x="434616" y="312747"/>
                </a:cubicBezTo>
                <a:cubicBezTo>
                  <a:pt x="431298" y="322595"/>
                  <a:pt x="422081" y="328761"/>
                  <a:pt x="412311" y="328669"/>
                </a:cubicBezTo>
                <a:cubicBezTo>
                  <a:pt x="409914" y="328669"/>
                  <a:pt x="407518" y="328301"/>
                  <a:pt x="405029" y="327473"/>
                </a:cubicBezTo>
                <a:lnTo>
                  <a:pt x="304560" y="291580"/>
                </a:lnTo>
                <a:cubicBezTo>
                  <a:pt x="292301" y="287530"/>
                  <a:pt x="285757" y="274370"/>
                  <a:pt x="289813" y="262130"/>
                </a:cubicBezTo>
                <a:cubicBezTo>
                  <a:pt x="293868" y="249981"/>
                  <a:pt x="307049" y="243447"/>
                  <a:pt x="319308" y="247496"/>
                </a:cubicBezTo>
                <a:close/>
                <a:moveTo>
                  <a:pt x="240630" y="218749"/>
                </a:moveTo>
                <a:cubicBezTo>
                  <a:pt x="254913" y="218749"/>
                  <a:pt x="266492" y="229980"/>
                  <a:pt x="266492" y="243835"/>
                </a:cubicBezTo>
                <a:cubicBezTo>
                  <a:pt x="266492" y="257690"/>
                  <a:pt x="254913" y="268921"/>
                  <a:pt x="240630" y="268921"/>
                </a:cubicBezTo>
                <a:cubicBezTo>
                  <a:pt x="226347" y="268921"/>
                  <a:pt x="214768" y="257690"/>
                  <a:pt x="214768" y="243835"/>
                </a:cubicBezTo>
                <a:cubicBezTo>
                  <a:pt x="214768" y="229980"/>
                  <a:pt x="226347" y="218749"/>
                  <a:pt x="240630" y="218749"/>
                </a:cubicBezTo>
                <a:close/>
                <a:moveTo>
                  <a:pt x="358917" y="152576"/>
                </a:moveTo>
                <a:lnTo>
                  <a:pt x="459986" y="183676"/>
                </a:lnTo>
                <a:cubicBezTo>
                  <a:pt x="472435" y="187080"/>
                  <a:pt x="479812" y="199870"/>
                  <a:pt x="476400" y="212291"/>
                </a:cubicBezTo>
                <a:cubicBezTo>
                  <a:pt x="473541" y="222596"/>
                  <a:pt x="464135" y="229405"/>
                  <a:pt x="453899" y="229405"/>
                </a:cubicBezTo>
                <a:cubicBezTo>
                  <a:pt x="451871" y="229405"/>
                  <a:pt x="449750" y="229129"/>
                  <a:pt x="447721" y="228577"/>
                </a:cubicBezTo>
                <a:lnTo>
                  <a:pt x="346560" y="197477"/>
                </a:lnTo>
                <a:cubicBezTo>
                  <a:pt x="334111" y="194073"/>
                  <a:pt x="326826" y="181284"/>
                  <a:pt x="330238" y="168862"/>
                </a:cubicBezTo>
                <a:cubicBezTo>
                  <a:pt x="333650" y="156441"/>
                  <a:pt x="346652" y="149172"/>
                  <a:pt x="358917" y="152576"/>
                </a:cubicBezTo>
                <a:close/>
                <a:moveTo>
                  <a:pt x="277183" y="125391"/>
                </a:moveTo>
                <a:cubicBezTo>
                  <a:pt x="291466" y="125391"/>
                  <a:pt x="303045" y="136622"/>
                  <a:pt x="303045" y="150477"/>
                </a:cubicBezTo>
                <a:cubicBezTo>
                  <a:pt x="303045" y="164332"/>
                  <a:pt x="291466" y="175563"/>
                  <a:pt x="277183" y="175563"/>
                </a:cubicBezTo>
                <a:cubicBezTo>
                  <a:pt x="262900" y="175563"/>
                  <a:pt x="251321" y="164332"/>
                  <a:pt x="251321" y="150477"/>
                </a:cubicBezTo>
                <a:cubicBezTo>
                  <a:pt x="251321" y="136622"/>
                  <a:pt x="262900" y="125391"/>
                  <a:pt x="277183" y="125391"/>
                </a:cubicBezTo>
                <a:close/>
                <a:moveTo>
                  <a:pt x="244801" y="441"/>
                </a:moveTo>
                <a:lnTo>
                  <a:pt x="589079" y="83374"/>
                </a:lnTo>
                <a:cubicBezTo>
                  <a:pt x="595624" y="84663"/>
                  <a:pt x="601247" y="88621"/>
                  <a:pt x="604657" y="94328"/>
                </a:cubicBezTo>
                <a:cubicBezTo>
                  <a:pt x="608068" y="100034"/>
                  <a:pt x="608805" y="106846"/>
                  <a:pt x="606777" y="113197"/>
                </a:cubicBezTo>
                <a:cubicBezTo>
                  <a:pt x="606224" y="114946"/>
                  <a:pt x="548891" y="282193"/>
                  <a:pt x="492294" y="431399"/>
                </a:cubicBezTo>
                <a:cubicBezTo>
                  <a:pt x="453119" y="534674"/>
                  <a:pt x="421964" y="599106"/>
                  <a:pt x="333014" y="601223"/>
                </a:cubicBezTo>
                <a:cubicBezTo>
                  <a:pt x="300107" y="602696"/>
                  <a:pt x="269781" y="588245"/>
                  <a:pt x="269689" y="588245"/>
                </a:cubicBezTo>
                <a:lnTo>
                  <a:pt x="75473" y="500157"/>
                </a:lnTo>
                <a:cubicBezTo>
                  <a:pt x="75473" y="500157"/>
                  <a:pt x="-16334" y="471439"/>
                  <a:pt x="2562" y="352148"/>
                </a:cubicBezTo>
                <a:lnTo>
                  <a:pt x="267845" y="459197"/>
                </a:lnTo>
                <a:cubicBezTo>
                  <a:pt x="267845" y="459197"/>
                  <a:pt x="266370" y="564865"/>
                  <a:pt x="349421" y="553268"/>
                </a:cubicBezTo>
                <a:cubicBezTo>
                  <a:pt x="349421" y="553360"/>
                  <a:pt x="349421" y="553360"/>
                  <a:pt x="349513" y="553452"/>
                </a:cubicBezTo>
                <a:cubicBezTo>
                  <a:pt x="390163" y="546548"/>
                  <a:pt x="411548" y="512952"/>
                  <a:pt x="448695" y="414923"/>
                </a:cubicBezTo>
                <a:cubicBezTo>
                  <a:pt x="491280" y="302443"/>
                  <a:pt x="535801" y="181771"/>
                  <a:pt x="554421" y="123874"/>
                </a:cubicBezTo>
                <a:lnTo>
                  <a:pt x="255217" y="47660"/>
                </a:lnTo>
                <a:lnTo>
                  <a:pt x="130871" y="364298"/>
                </a:lnTo>
                <a:lnTo>
                  <a:pt x="86996" y="348282"/>
                </a:lnTo>
                <a:lnTo>
                  <a:pt x="218254" y="15352"/>
                </a:lnTo>
                <a:cubicBezTo>
                  <a:pt x="222218" y="4491"/>
                  <a:pt x="233371" y="-1768"/>
                  <a:pt x="244801" y="44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9237123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04F6711-FBAD-4E9A-BB4F-562FADD343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76F42F3-9F75-4598-80BF-62E321F09C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02AC3D1-5934-4096-9182-84CAD0DF8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3</a:t>
            </a:fld>
            <a:endParaRPr lang="zh-CN" altLang="en-US"/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F7DBAFEB-E787-4303-B8C1-93F0DE0A896A}"/>
              </a:ext>
            </a:extLst>
          </p:cNvPr>
          <p:cNvSpPr/>
          <p:nvPr/>
        </p:nvSpPr>
        <p:spPr bwMode="auto">
          <a:xfrm rot="5400000">
            <a:off x="4030294" y="3411802"/>
            <a:ext cx="1358211" cy="518246"/>
          </a:xfrm>
          <a:custGeom>
            <a:avLst/>
            <a:gdLst>
              <a:gd name="T0" fmla="*/ 465 w 933"/>
              <a:gd name="T1" fmla="*/ 356 h 356"/>
              <a:gd name="T2" fmla="*/ 0 w 933"/>
              <a:gd name="T3" fmla="*/ 178 h 356"/>
              <a:gd name="T4" fmla="*/ 465 w 933"/>
              <a:gd name="T5" fmla="*/ 0 h 356"/>
              <a:gd name="T6" fmla="*/ 933 w 933"/>
              <a:gd name="T7" fmla="*/ 178 h 356"/>
              <a:gd name="T8" fmla="*/ 465 w 933"/>
              <a:gd name="T9" fmla="*/ 356 h 3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3" h="356">
                <a:moveTo>
                  <a:pt x="465" y="356"/>
                </a:moveTo>
                <a:lnTo>
                  <a:pt x="0" y="178"/>
                </a:lnTo>
                <a:lnTo>
                  <a:pt x="465" y="0"/>
                </a:lnTo>
                <a:lnTo>
                  <a:pt x="933" y="178"/>
                </a:lnTo>
                <a:lnTo>
                  <a:pt x="465" y="35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5EC0D06F-E8C0-44ED-BC2A-D95708360E36}"/>
              </a:ext>
            </a:extLst>
          </p:cNvPr>
          <p:cNvSpPr/>
          <p:nvPr/>
        </p:nvSpPr>
        <p:spPr bwMode="auto">
          <a:xfrm rot="5400000">
            <a:off x="3902190" y="2861531"/>
            <a:ext cx="676922" cy="937501"/>
          </a:xfrm>
          <a:custGeom>
            <a:avLst/>
            <a:gdLst>
              <a:gd name="T0" fmla="*/ 465 w 465"/>
              <a:gd name="T1" fmla="*/ 178 h 644"/>
              <a:gd name="T2" fmla="*/ 0 w 465"/>
              <a:gd name="T3" fmla="*/ 0 h 644"/>
              <a:gd name="T4" fmla="*/ 0 w 465"/>
              <a:gd name="T5" fmla="*/ 364 h 644"/>
              <a:gd name="T6" fmla="*/ 465 w 465"/>
              <a:gd name="T7" fmla="*/ 644 h 644"/>
              <a:gd name="T8" fmla="*/ 465 w 465"/>
              <a:gd name="T9" fmla="*/ 178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5" h="644">
                <a:moveTo>
                  <a:pt x="465" y="178"/>
                </a:moveTo>
                <a:lnTo>
                  <a:pt x="0" y="0"/>
                </a:lnTo>
                <a:lnTo>
                  <a:pt x="0" y="364"/>
                </a:lnTo>
                <a:lnTo>
                  <a:pt x="465" y="644"/>
                </a:lnTo>
                <a:lnTo>
                  <a:pt x="465" y="178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A0731526-40EB-4EDE-A19F-54A3CA2FE669}"/>
              </a:ext>
            </a:extLst>
          </p:cNvPr>
          <p:cNvSpPr/>
          <p:nvPr/>
        </p:nvSpPr>
        <p:spPr bwMode="auto">
          <a:xfrm rot="5400000">
            <a:off x="3900006" y="3540636"/>
            <a:ext cx="681289" cy="937501"/>
          </a:xfrm>
          <a:custGeom>
            <a:avLst/>
            <a:gdLst>
              <a:gd name="T0" fmla="*/ 0 w 468"/>
              <a:gd name="T1" fmla="*/ 178 h 644"/>
              <a:gd name="T2" fmla="*/ 468 w 468"/>
              <a:gd name="T3" fmla="*/ 0 h 644"/>
              <a:gd name="T4" fmla="*/ 468 w 468"/>
              <a:gd name="T5" fmla="*/ 364 h 644"/>
              <a:gd name="T6" fmla="*/ 0 w 468"/>
              <a:gd name="T7" fmla="*/ 644 h 644"/>
              <a:gd name="T8" fmla="*/ 0 w 468"/>
              <a:gd name="T9" fmla="*/ 178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8" h="644">
                <a:moveTo>
                  <a:pt x="0" y="178"/>
                </a:moveTo>
                <a:lnTo>
                  <a:pt x="468" y="0"/>
                </a:lnTo>
                <a:lnTo>
                  <a:pt x="468" y="364"/>
                </a:lnTo>
                <a:lnTo>
                  <a:pt x="0" y="644"/>
                </a:lnTo>
                <a:lnTo>
                  <a:pt x="0" y="178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任意多边形: 形状 19">
            <a:extLst>
              <a:ext uri="{FF2B5EF4-FFF2-40B4-BE49-F238E27FC236}">
                <a16:creationId xmlns:a16="http://schemas.microsoft.com/office/drawing/2014/main" id="{621424F7-D5B8-4FB9-B2C3-73F83A137D45}"/>
              </a:ext>
            </a:extLst>
          </p:cNvPr>
          <p:cNvSpPr/>
          <p:nvPr/>
        </p:nvSpPr>
        <p:spPr bwMode="auto">
          <a:xfrm rot="5400000">
            <a:off x="4493951" y="3507154"/>
            <a:ext cx="2174883" cy="326087"/>
          </a:xfrm>
          <a:custGeom>
            <a:avLst/>
            <a:gdLst>
              <a:gd name="T0" fmla="*/ 746 w 1494"/>
              <a:gd name="T1" fmla="*/ 224 h 224"/>
              <a:gd name="T2" fmla="*/ 0 w 1494"/>
              <a:gd name="T3" fmla="*/ 112 h 224"/>
              <a:gd name="T4" fmla="*/ 746 w 1494"/>
              <a:gd name="T5" fmla="*/ 0 h 224"/>
              <a:gd name="T6" fmla="*/ 1494 w 1494"/>
              <a:gd name="T7" fmla="*/ 112 h 224"/>
              <a:gd name="T8" fmla="*/ 746 w 1494"/>
              <a:gd name="T9" fmla="*/ 22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94" h="224">
                <a:moveTo>
                  <a:pt x="746" y="224"/>
                </a:moveTo>
                <a:lnTo>
                  <a:pt x="0" y="112"/>
                </a:lnTo>
                <a:lnTo>
                  <a:pt x="746" y="0"/>
                </a:lnTo>
                <a:lnTo>
                  <a:pt x="1494" y="112"/>
                </a:lnTo>
                <a:lnTo>
                  <a:pt x="746" y="22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任意多边形: 形状 20">
            <a:extLst>
              <a:ext uri="{FF2B5EF4-FFF2-40B4-BE49-F238E27FC236}">
                <a16:creationId xmlns:a16="http://schemas.microsoft.com/office/drawing/2014/main" id="{0A500150-301D-457F-893A-3C1561EC1468}"/>
              </a:ext>
            </a:extLst>
          </p:cNvPr>
          <p:cNvSpPr/>
          <p:nvPr/>
        </p:nvSpPr>
        <p:spPr bwMode="auto">
          <a:xfrm rot="5400000">
            <a:off x="4588575" y="2675923"/>
            <a:ext cx="1085986" cy="899651"/>
          </a:xfrm>
          <a:custGeom>
            <a:avLst/>
            <a:gdLst>
              <a:gd name="T0" fmla="*/ 746 w 746"/>
              <a:gd name="T1" fmla="*/ 112 h 618"/>
              <a:gd name="T2" fmla="*/ 0 w 746"/>
              <a:gd name="T3" fmla="*/ 0 h 618"/>
              <a:gd name="T4" fmla="*/ 0 w 746"/>
              <a:gd name="T5" fmla="*/ 394 h 618"/>
              <a:gd name="T6" fmla="*/ 746 w 746"/>
              <a:gd name="T7" fmla="*/ 618 h 618"/>
              <a:gd name="T8" fmla="*/ 746 w 746"/>
              <a:gd name="T9" fmla="*/ 112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46" h="618">
                <a:moveTo>
                  <a:pt x="746" y="112"/>
                </a:moveTo>
                <a:lnTo>
                  <a:pt x="0" y="0"/>
                </a:lnTo>
                <a:lnTo>
                  <a:pt x="0" y="394"/>
                </a:lnTo>
                <a:lnTo>
                  <a:pt x="746" y="618"/>
                </a:lnTo>
                <a:lnTo>
                  <a:pt x="746" y="112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ABDC2DDC-8F60-49B1-9D45-B19FC42A253D}"/>
              </a:ext>
            </a:extLst>
          </p:cNvPr>
          <p:cNvSpPr/>
          <p:nvPr/>
        </p:nvSpPr>
        <p:spPr bwMode="auto">
          <a:xfrm rot="5400000">
            <a:off x="4587117" y="3763365"/>
            <a:ext cx="1088898" cy="899651"/>
          </a:xfrm>
          <a:custGeom>
            <a:avLst/>
            <a:gdLst>
              <a:gd name="T0" fmla="*/ 0 w 748"/>
              <a:gd name="T1" fmla="*/ 112 h 618"/>
              <a:gd name="T2" fmla="*/ 748 w 748"/>
              <a:gd name="T3" fmla="*/ 0 h 618"/>
              <a:gd name="T4" fmla="*/ 748 w 748"/>
              <a:gd name="T5" fmla="*/ 394 h 618"/>
              <a:gd name="T6" fmla="*/ 0 w 748"/>
              <a:gd name="T7" fmla="*/ 618 h 618"/>
              <a:gd name="T8" fmla="*/ 0 w 748"/>
              <a:gd name="T9" fmla="*/ 112 h 6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48" h="618">
                <a:moveTo>
                  <a:pt x="0" y="112"/>
                </a:moveTo>
                <a:lnTo>
                  <a:pt x="748" y="0"/>
                </a:lnTo>
                <a:lnTo>
                  <a:pt x="748" y="394"/>
                </a:lnTo>
                <a:lnTo>
                  <a:pt x="0" y="618"/>
                </a:lnTo>
                <a:lnTo>
                  <a:pt x="0" y="112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76070C6B-524B-4117-9339-6392564E1478}"/>
              </a:ext>
            </a:extLst>
          </p:cNvPr>
          <p:cNvSpPr/>
          <p:nvPr/>
        </p:nvSpPr>
        <p:spPr bwMode="auto">
          <a:xfrm rot="5400000">
            <a:off x="6802761" y="3412529"/>
            <a:ext cx="1358211" cy="516790"/>
          </a:xfrm>
          <a:custGeom>
            <a:avLst/>
            <a:gdLst>
              <a:gd name="T0" fmla="*/ 465 w 933"/>
              <a:gd name="T1" fmla="*/ 0 h 355"/>
              <a:gd name="T2" fmla="*/ 0 w 933"/>
              <a:gd name="T3" fmla="*/ 177 h 355"/>
              <a:gd name="T4" fmla="*/ 465 w 933"/>
              <a:gd name="T5" fmla="*/ 355 h 355"/>
              <a:gd name="T6" fmla="*/ 933 w 933"/>
              <a:gd name="T7" fmla="*/ 177 h 355"/>
              <a:gd name="T8" fmla="*/ 465 w 933"/>
              <a:gd name="T9" fmla="*/ 0 h 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3" h="355">
                <a:moveTo>
                  <a:pt x="465" y="0"/>
                </a:moveTo>
                <a:lnTo>
                  <a:pt x="0" y="177"/>
                </a:lnTo>
                <a:lnTo>
                  <a:pt x="465" y="355"/>
                </a:lnTo>
                <a:lnTo>
                  <a:pt x="933" y="177"/>
                </a:lnTo>
                <a:lnTo>
                  <a:pt x="465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4" name="任意多边形: 形状 23">
            <a:extLst>
              <a:ext uri="{FF2B5EF4-FFF2-40B4-BE49-F238E27FC236}">
                <a16:creationId xmlns:a16="http://schemas.microsoft.com/office/drawing/2014/main" id="{A5877E5B-6782-45EB-A071-6A715A1F439F}"/>
              </a:ext>
            </a:extLst>
          </p:cNvPr>
          <p:cNvSpPr/>
          <p:nvPr/>
        </p:nvSpPr>
        <p:spPr bwMode="auto">
          <a:xfrm rot="5400000">
            <a:off x="7612884" y="2861531"/>
            <a:ext cx="676922" cy="937501"/>
          </a:xfrm>
          <a:custGeom>
            <a:avLst/>
            <a:gdLst>
              <a:gd name="T0" fmla="*/ 465 w 465"/>
              <a:gd name="T1" fmla="*/ 467 h 644"/>
              <a:gd name="T2" fmla="*/ 0 w 465"/>
              <a:gd name="T3" fmla="*/ 644 h 644"/>
              <a:gd name="T4" fmla="*/ 0 w 465"/>
              <a:gd name="T5" fmla="*/ 280 h 644"/>
              <a:gd name="T6" fmla="*/ 465 w 465"/>
              <a:gd name="T7" fmla="*/ 0 h 644"/>
              <a:gd name="T8" fmla="*/ 465 w 465"/>
              <a:gd name="T9" fmla="*/ 467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5" h="644">
                <a:moveTo>
                  <a:pt x="465" y="467"/>
                </a:moveTo>
                <a:lnTo>
                  <a:pt x="0" y="644"/>
                </a:lnTo>
                <a:lnTo>
                  <a:pt x="0" y="280"/>
                </a:lnTo>
                <a:lnTo>
                  <a:pt x="465" y="0"/>
                </a:lnTo>
                <a:lnTo>
                  <a:pt x="465" y="467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70EB799B-B337-4A7C-B8C7-30F76EDE7B5F}"/>
              </a:ext>
            </a:extLst>
          </p:cNvPr>
          <p:cNvSpPr/>
          <p:nvPr/>
        </p:nvSpPr>
        <p:spPr bwMode="auto">
          <a:xfrm rot="5400000">
            <a:off x="7610702" y="3540636"/>
            <a:ext cx="681289" cy="937501"/>
          </a:xfrm>
          <a:custGeom>
            <a:avLst/>
            <a:gdLst>
              <a:gd name="T0" fmla="*/ 0 w 468"/>
              <a:gd name="T1" fmla="*/ 467 h 644"/>
              <a:gd name="T2" fmla="*/ 468 w 468"/>
              <a:gd name="T3" fmla="*/ 644 h 644"/>
              <a:gd name="T4" fmla="*/ 468 w 468"/>
              <a:gd name="T5" fmla="*/ 280 h 644"/>
              <a:gd name="T6" fmla="*/ 0 w 468"/>
              <a:gd name="T7" fmla="*/ 0 h 644"/>
              <a:gd name="T8" fmla="*/ 0 w 468"/>
              <a:gd name="T9" fmla="*/ 467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8" h="644">
                <a:moveTo>
                  <a:pt x="0" y="467"/>
                </a:moveTo>
                <a:lnTo>
                  <a:pt x="468" y="644"/>
                </a:lnTo>
                <a:lnTo>
                  <a:pt x="468" y="280"/>
                </a:lnTo>
                <a:lnTo>
                  <a:pt x="0" y="0"/>
                </a:lnTo>
                <a:lnTo>
                  <a:pt x="0" y="467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6" name="任意多边形: 形状 25">
            <a:extLst>
              <a:ext uri="{FF2B5EF4-FFF2-40B4-BE49-F238E27FC236}">
                <a16:creationId xmlns:a16="http://schemas.microsoft.com/office/drawing/2014/main" id="{9913E232-A97E-4C5E-B7DB-1E21B3CB5809}"/>
              </a:ext>
            </a:extLst>
          </p:cNvPr>
          <p:cNvSpPr/>
          <p:nvPr/>
        </p:nvSpPr>
        <p:spPr bwMode="auto">
          <a:xfrm rot="5400000">
            <a:off x="5521706" y="3507154"/>
            <a:ext cx="2174883" cy="326087"/>
          </a:xfrm>
          <a:custGeom>
            <a:avLst/>
            <a:gdLst>
              <a:gd name="T0" fmla="*/ 746 w 1494"/>
              <a:gd name="T1" fmla="*/ 0 h 224"/>
              <a:gd name="T2" fmla="*/ 0 w 1494"/>
              <a:gd name="T3" fmla="*/ 111 h 224"/>
              <a:gd name="T4" fmla="*/ 746 w 1494"/>
              <a:gd name="T5" fmla="*/ 224 h 224"/>
              <a:gd name="T6" fmla="*/ 1494 w 1494"/>
              <a:gd name="T7" fmla="*/ 111 h 224"/>
              <a:gd name="T8" fmla="*/ 746 w 1494"/>
              <a:gd name="T9" fmla="*/ 0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94" h="224">
                <a:moveTo>
                  <a:pt x="746" y="0"/>
                </a:moveTo>
                <a:lnTo>
                  <a:pt x="0" y="111"/>
                </a:lnTo>
                <a:lnTo>
                  <a:pt x="746" y="224"/>
                </a:lnTo>
                <a:lnTo>
                  <a:pt x="1494" y="111"/>
                </a:lnTo>
                <a:lnTo>
                  <a:pt x="746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7" name="任意多边形: 形状 26">
            <a:extLst>
              <a:ext uri="{FF2B5EF4-FFF2-40B4-BE49-F238E27FC236}">
                <a16:creationId xmlns:a16="http://schemas.microsoft.com/office/drawing/2014/main" id="{3945D09B-6548-490A-9C96-16B47601B3B4}"/>
              </a:ext>
            </a:extLst>
          </p:cNvPr>
          <p:cNvSpPr/>
          <p:nvPr/>
        </p:nvSpPr>
        <p:spPr bwMode="auto">
          <a:xfrm rot="5400000">
            <a:off x="6516708" y="2676651"/>
            <a:ext cx="1085986" cy="898195"/>
          </a:xfrm>
          <a:custGeom>
            <a:avLst/>
            <a:gdLst>
              <a:gd name="T0" fmla="*/ 746 w 746"/>
              <a:gd name="T1" fmla="*/ 506 h 617"/>
              <a:gd name="T2" fmla="*/ 0 w 746"/>
              <a:gd name="T3" fmla="*/ 617 h 617"/>
              <a:gd name="T4" fmla="*/ 0 w 746"/>
              <a:gd name="T5" fmla="*/ 224 h 617"/>
              <a:gd name="T6" fmla="*/ 746 w 746"/>
              <a:gd name="T7" fmla="*/ 0 h 617"/>
              <a:gd name="T8" fmla="*/ 746 w 746"/>
              <a:gd name="T9" fmla="*/ 506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46" h="617">
                <a:moveTo>
                  <a:pt x="746" y="506"/>
                </a:moveTo>
                <a:lnTo>
                  <a:pt x="0" y="617"/>
                </a:lnTo>
                <a:lnTo>
                  <a:pt x="0" y="224"/>
                </a:lnTo>
                <a:lnTo>
                  <a:pt x="746" y="0"/>
                </a:lnTo>
                <a:lnTo>
                  <a:pt x="746" y="506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777ED8CF-4688-4E42-B826-02ACF2427B7F}"/>
              </a:ext>
            </a:extLst>
          </p:cNvPr>
          <p:cNvSpPr/>
          <p:nvPr/>
        </p:nvSpPr>
        <p:spPr bwMode="auto">
          <a:xfrm rot="5400000">
            <a:off x="6515253" y="3764092"/>
            <a:ext cx="1088898" cy="898195"/>
          </a:xfrm>
          <a:custGeom>
            <a:avLst/>
            <a:gdLst>
              <a:gd name="T0" fmla="*/ 0 w 748"/>
              <a:gd name="T1" fmla="*/ 506 h 617"/>
              <a:gd name="T2" fmla="*/ 748 w 748"/>
              <a:gd name="T3" fmla="*/ 617 h 617"/>
              <a:gd name="T4" fmla="*/ 748 w 748"/>
              <a:gd name="T5" fmla="*/ 224 h 617"/>
              <a:gd name="T6" fmla="*/ 0 w 748"/>
              <a:gd name="T7" fmla="*/ 0 h 617"/>
              <a:gd name="T8" fmla="*/ 0 w 748"/>
              <a:gd name="T9" fmla="*/ 506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48" h="617">
                <a:moveTo>
                  <a:pt x="0" y="506"/>
                </a:moveTo>
                <a:lnTo>
                  <a:pt x="748" y="617"/>
                </a:lnTo>
                <a:lnTo>
                  <a:pt x="748" y="224"/>
                </a:lnTo>
                <a:lnTo>
                  <a:pt x="0" y="0"/>
                </a:lnTo>
                <a:lnTo>
                  <a:pt x="0" y="506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6C4ED025-AB76-4843-BE9D-451A1C134ACE}"/>
              </a:ext>
            </a:extLst>
          </p:cNvPr>
          <p:cNvSpPr/>
          <p:nvPr/>
        </p:nvSpPr>
        <p:spPr bwMode="auto">
          <a:xfrm rot="5400000">
            <a:off x="5342650" y="2454649"/>
            <a:ext cx="1495052" cy="933133"/>
          </a:xfrm>
          <a:custGeom>
            <a:avLst/>
            <a:gdLst>
              <a:gd name="T0" fmla="*/ 1027 w 1027"/>
              <a:gd name="T1" fmla="*/ 641 h 641"/>
              <a:gd name="T2" fmla="*/ 0 w 1027"/>
              <a:gd name="T3" fmla="*/ 532 h 641"/>
              <a:gd name="T4" fmla="*/ 0 w 1027"/>
              <a:gd name="T5" fmla="*/ 111 h 641"/>
              <a:gd name="T6" fmla="*/ 1027 w 1027"/>
              <a:gd name="T7" fmla="*/ 0 h 641"/>
              <a:gd name="T8" fmla="*/ 1027 w 1027"/>
              <a:gd name="T9" fmla="*/ 641 h 6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27" h="641">
                <a:moveTo>
                  <a:pt x="1027" y="641"/>
                </a:moveTo>
                <a:lnTo>
                  <a:pt x="0" y="532"/>
                </a:lnTo>
                <a:lnTo>
                  <a:pt x="0" y="111"/>
                </a:lnTo>
                <a:lnTo>
                  <a:pt x="1027" y="0"/>
                </a:lnTo>
                <a:lnTo>
                  <a:pt x="1027" y="641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id="{59C22CE9-A914-4982-94B5-BBA636BDDF74}"/>
              </a:ext>
            </a:extLst>
          </p:cNvPr>
          <p:cNvSpPr/>
          <p:nvPr/>
        </p:nvSpPr>
        <p:spPr bwMode="auto">
          <a:xfrm rot="5400000">
            <a:off x="5341193" y="3951156"/>
            <a:ext cx="1497962" cy="933133"/>
          </a:xfrm>
          <a:custGeom>
            <a:avLst/>
            <a:gdLst>
              <a:gd name="T0" fmla="*/ 0 w 1029"/>
              <a:gd name="T1" fmla="*/ 641 h 641"/>
              <a:gd name="T2" fmla="*/ 1029 w 1029"/>
              <a:gd name="T3" fmla="*/ 532 h 641"/>
              <a:gd name="T4" fmla="*/ 1029 w 1029"/>
              <a:gd name="T5" fmla="*/ 111 h 641"/>
              <a:gd name="T6" fmla="*/ 0 w 1029"/>
              <a:gd name="T7" fmla="*/ 0 h 641"/>
              <a:gd name="T8" fmla="*/ 0 w 1029"/>
              <a:gd name="T9" fmla="*/ 641 h 6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29" h="641">
                <a:moveTo>
                  <a:pt x="0" y="641"/>
                </a:moveTo>
                <a:lnTo>
                  <a:pt x="1029" y="532"/>
                </a:lnTo>
                <a:lnTo>
                  <a:pt x="1029" y="111"/>
                </a:lnTo>
                <a:lnTo>
                  <a:pt x="0" y="0"/>
                </a:lnTo>
                <a:lnTo>
                  <a:pt x="0" y="64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1" name="任意多边形: 形状 30">
            <a:extLst>
              <a:ext uri="{FF2B5EF4-FFF2-40B4-BE49-F238E27FC236}">
                <a16:creationId xmlns:a16="http://schemas.microsoft.com/office/drawing/2014/main" id="{5B439B39-3F14-4589-A2CB-392A68C5B976}"/>
              </a:ext>
            </a:extLst>
          </p:cNvPr>
          <p:cNvSpPr/>
          <p:nvPr/>
        </p:nvSpPr>
        <p:spPr bwMode="auto">
          <a:xfrm rot="5400000">
            <a:off x="8073629" y="3329551"/>
            <a:ext cx="11646" cy="681289"/>
          </a:xfrm>
          <a:custGeom>
            <a:avLst/>
            <a:gdLst>
              <a:gd name="T0" fmla="*/ 8 w 8"/>
              <a:gd name="T1" fmla="*/ 468 h 468"/>
              <a:gd name="T2" fmla="*/ 0 w 8"/>
              <a:gd name="T3" fmla="*/ 468 h 468"/>
              <a:gd name="T4" fmla="*/ 0 w 8"/>
              <a:gd name="T5" fmla="*/ 2 h 468"/>
              <a:gd name="T6" fmla="*/ 3 w 8"/>
              <a:gd name="T7" fmla="*/ 0 h 468"/>
              <a:gd name="T8" fmla="*/ 8 w 8"/>
              <a:gd name="T9" fmla="*/ 2 h 468"/>
              <a:gd name="T10" fmla="*/ 8 w 8"/>
              <a:gd name="T11" fmla="*/ 468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468">
                <a:moveTo>
                  <a:pt x="8" y="468"/>
                </a:moveTo>
                <a:lnTo>
                  <a:pt x="0" y="468"/>
                </a:lnTo>
                <a:lnTo>
                  <a:pt x="0" y="2"/>
                </a:lnTo>
                <a:lnTo>
                  <a:pt x="3" y="0"/>
                </a:lnTo>
                <a:lnTo>
                  <a:pt x="8" y="2"/>
                </a:lnTo>
                <a:lnTo>
                  <a:pt x="8" y="468"/>
                </a:ln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2" name="任意多边形: 形状 31">
            <a:extLst>
              <a:ext uri="{FF2B5EF4-FFF2-40B4-BE49-F238E27FC236}">
                <a16:creationId xmlns:a16="http://schemas.microsoft.com/office/drawing/2014/main" id="{0647BC90-9C98-462B-A752-470318D757C0}"/>
              </a:ext>
            </a:extLst>
          </p:cNvPr>
          <p:cNvSpPr/>
          <p:nvPr/>
        </p:nvSpPr>
        <p:spPr bwMode="auto">
          <a:xfrm rot="5400000">
            <a:off x="7134672" y="3301893"/>
            <a:ext cx="11646" cy="736608"/>
          </a:xfrm>
          <a:custGeom>
            <a:avLst/>
            <a:gdLst>
              <a:gd name="T0" fmla="*/ 8 w 8"/>
              <a:gd name="T1" fmla="*/ 506 h 506"/>
              <a:gd name="T2" fmla="*/ 0 w 8"/>
              <a:gd name="T3" fmla="*/ 506 h 506"/>
              <a:gd name="T4" fmla="*/ 0 w 8"/>
              <a:gd name="T5" fmla="*/ 1 h 506"/>
              <a:gd name="T6" fmla="*/ 3 w 8"/>
              <a:gd name="T7" fmla="*/ 0 h 506"/>
              <a:gd name="T8" fmla="*/ 8 w 8"/>
              <a:gd name="T9" fmla="*/ 1 h 506"/>
              <a:gd name="T10" fmla="*/ 8 w 8"/>
              <a:gd name="T11" fmla="*/ 506 h 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506">
                <a:moveTo>
                  <a:pt x="8" y="506"/>
                </a:moveTo>
                <a:lnTo>
                  <a:pt x="0" y="506"/>
                </a:lnTo>
                <a:lnTo>
                  <a:pt x="0" y="1"/>
                </a:lnTo>
                <a:lnTo>
                  <a:pt x="3" y="0"/>
                </a:lnTo>
                <a:lnTo>
                  <a:pt x="8" y="1"/>
                </a:lnTo>
                <a:lnTo>
                  <a:pt x="8" y="506"/>
                </a:ln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2635BAB9-1FD4-4944-80E5-F563F86B3CE1}"/>
              </a:ext>
            </a:extLst>
          </p:cNvPr>
          <p:cNvSpPr/>
          <p:nvPr/>
        </p:nvSpPr>
        <p:spPr bwMode="auto">
          <a:xfrm rot="5400000">
            <a:off x="4106721" y="3329551"/>
            <a:ext cx="11646" cy="681289"/>
          </a:xfrm>
          <a:custGeom>
            <a:avLst/>
            <a:gdLst>
              <a:gd name="T0" fmla="*/ 8 w 8"/>
              <a:gd name="T1" fmla="*/ 0 h 468"/>
              <a:gd name="T2" fmla="*/ 0 w 8"/>
              <a:gd name="T3" fmla="*/ 0 h 468"/>
              <a:gd name="T4" fmla="*/ 0 w 8"/>
              <a:gd name="T5" fmla="*/ 467 h 468"/>
              <a:gd name="T6" fmla="*/ 3 w 8"/>
              <a:gd name="T7" fmla="*/ 468 h 468"/>
              <a:gd name="T8" fmla="*/ 8 w 8"/>
              <a:gd name="T9" fmla="*/ 467 h 468"/>
              <a:gd name="T10" fmla="*/ 8 w 8"/>
              <a:gd name="T11" fmla="*/ 0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468">
                <a:moveTo>
                  <a:pt x="8" y="0"/>
                </a:moveTo>
                <a:lnTo>
                  <a:pt x="0" y="0"/>
                </a:lnTo>
                <a:lnTo>
                  <a:pt x="0" y="467"/>
                </a:lnTo>
                <a:lnTo>
                  <a:pt x="3" y="468"/>
                </a:lnTo>
                <a:lnTo>
                  <a:pt x="8" y="467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4" name="任意多边形: 形状 33">
            <a:extLst>
              <a:ext uri="{FF2B5EF4-FFF2-40B4-BE49-F238E27FC236}">
                <a16:creationId xmlns:a16="http://schemas.microsoft.com/office/drawing/2014/main" id="{132A6CEB-089C-4F62-AA93-69601B684B88}"/>
              </a:ext>
            </a:extLst>
          </p:cNvPr>
          <p:cNvSpPr/>
          <p:nvPr/>
        </p:nvSpPr>
        <p:spPr bwMode="auto">
          <a:xfrm rot="5400000">
            <a:off x="5044221" y="3301893"/>
            <a:ext cx="11646" cy="736608"/>
          </a:xfrm>
          <a:custGeom>
            <a:avLst/>
            <a:gdLst>
              <a:gd name="T0" fmla="*/ 8 w 8"/>
              <a:gd name="T1" fmla="*/ 0 h 506"/>
              <a:gd name="T2" fmla="*/ 0 w 8"/>
              <a:gd name="T3" fmla="*/ 0 h 506"/>
              <a:gd name="T4" fmla="*/ 0 w 8"/>
              <a:gd name="T5" fmla="*/ 504 h 506"/>
              <a:gd name="T6" fmla="*/ 3 w 8"/>
              <a:gd name="T7" fmla="*/ 506 h 506"/>
              <a:gd name="T8" fmla="*/ 8 w 8"/>
              <a:gd name="T9" fmla="*/ 504 h 506"/>
              <a:gd name="T10" fmla="*/ 8 w 8"/>
              <a:gd name="T11" fmla="*/ 0 h 5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" h="506">
                <a:moveTo>
                  <a:pt x="8" y="0"/>
                </a:moveTo>
                <a:lnTo>
                  <a:pt x="0" y="0"/>
                </a:lnTo>
                <a:lnTo>
                  <a:pt x="0" y="504"/>
                </a:lnTo>
                <a:lnTo>
                  <a:pt x="3" y="506"/>
                </a:lnTo>
                <a:lnTo>
                  <a:pt x="8" y="504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任意多边形: 形状 34">
            <a:extLst>
              <a:ext uri="{FF2B5EF4-FFF2-40B4-BE49-F238E27FC236}">
                <a16:creationId xmlns:a16="http://schemas.microsoft.com/office/drawing/2014/main" id="{88DA670E-8CF8-4EB0-A175-CC962439795D}"/>
              </a:ext>
            </a:extLst>
          </p:cNvPr>
          <p:cNvSpPr/>
          <p:nvPr/>
        </p:nvSpPr>
        <p:spPr bwMode="auto">
          <a:xfrm rot="5400000">
            <a:off x="6084352" y="3203631"/>
            <a:ext cx="11646" cy="933133"/>
          </a:xfrm>
          <a:custGeom>
            <a:avLst/>
            <a:gdLst>
              <a:gd name="T0" fmla="*/ 8 w 8"/>
              <a:gd name="T1" fmla="*/ 640 h 641"/>
              <a:gd name="T2" fmla="*/ 3 w 8"/>
              <a:gd name="T3" fmla="*/ 641 h 641"/>
              <a:gd name="T4" fmla="*/ 0 w 8"/>
              <a:gd name="T5" fmla="*/ 640 h 641"/>
              <a:gd name="T6" fmla="*/ 0 w 8"/>
              <a:gd name="T7" fmla="*/ 0 h 641"/>
              <a:gd name="T8" fmla="*/ 3 w 8"/>
              <a:gd name="T9" fmla="*/ 0 h 641"/>
              <a:gd name="T10" fmla="*/ 8 w 8"/>
              <a:gd name="T11" fmla="*/ 0 h 641"/>
              <a:gd name="T12" fmla="*/ 8 w 8"/>
              <a:gd name="T13" fmla="*/ 640 h 6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8" h="641">
                <a:moveTo>
                  <a:pt x="8" y="640"/>
                </a:moveTo>
                <a:lnTo>
                  <a:pt x="3" y="641"/>
                </a:lnTo>
                <a:lnTo>
                  <a:pt x="0" y="640"/>
                </a:lnTo>
                <a:lnTo>
                  <a:pt x="0" y="0"/>
                </a:lnTo>
                <a:lnTo>
                  <a:pt x="3" y="0"/>
                </a:lnTo>
                <a:lnTo>
                  <a:pt x="8" y="0"/>
                </a:lnTo>
                <a:lnTo>
                  <a:pt x="8" y="640"/>
                </a:ln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812A2E5B-86B8-4323-B96B-BB5B40715CF2}"/>
              </a:ext>
            </a:extLst>
          </p:cNvPr>
          <p:cNvSpPr/>
          <p:nvPr/>
        </p:nvSpPr>
        <p:spPr bwMode="auto">
          <a:xfrm rot="5400000">
            <a:off x="7533548" y="3463480"/>
            <a:ext cx="1358211" cy="414888"/>
          </a:xfrm>
          <a:custGeom>
            <a:avLst/>
            <a:gdLst>
              <a:gd name="T0" fmla="*/ 465 w 933"/>
              <a:gd name="T1" fmla="*/ 0 h 285"/>
              <a:gd name="T2" fmla="*/ 0 w 933"/>
              <a:gd name="T3" fmla="*/ 280 h 285"/>
              <a:gd name="T4" fmla="*/ 0 w 933"/>
              <a:gd name="T5" fmla="*/ 285 h 285"/>
              <a:gd name="T6" fmla="*/ 465 w 933"/>
              <a:gd name="T7" fmla="*/ 10 h 285"/>
              <a:gd name="T8" fmla="*/ 933 w 933"/>
              <a:gd name="T9" fmla="*/ 285 h 285"/>
              <a:gd name="T10" fmla="*/ 933 w 933"/>
              <a:gd name="T11" fmla="*/ 280 h 285"/>
              <a:gd name="T12" fmla="*/ 465 w 933"/>
              <a:gd name="T13" fmla="*/ 0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33" h="285">
                <a:moveTo>
                  <a:pt x="465" y="0"/>
                </a:moveTo>
                <a:lnTo>
                  <a:pt x="0" y="280"/>
                </a:lnTo>
                <a:lnTo>
                  <a:pt x="0" y="285"/>
                </a:lnTo>
                <a:lnTo>
                  <a:pt x="465" y="10"/>
                </a:lnTo>
                <a:lnTo>
                  <a:pt x="933" y="285"/>
                </a:lnTo>
                <a:lnTo>
                  <a:pt x="933" y="280"/>
                </a:lnTo>
                <a:lnTo>
                  <a:pt x="465" y="0"/>
                </a:ln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任意多边形: 形状 36">
            <a:extLst>
              <a:ext uri="{FF2B5EF4-FFF2-40B4-BE49-F238E27FC236}">
                <a16:creationId xmlns:a16="http://schemas.microsoft.com/office/drawing/2014/main" id="{C2CDB940-C832-4751-AD22-93002EF6DA5C}"/>
              </a:ext>
            </a:extLst>
          </p:cNvPr>
          <p:cNvSpPr/>
          <p:nvPr/>
        </p:nvSpPr>
        <p:spPr bwMode="auto">
          <a:xfrm rot="5400000">
            <a:off x="6936690" y="3537723"/>
            <a:ext cx="1358211" cy="266402"/>
          </a:xfrm>
          <a:custGeom>
            <a:avLst/>
            <a:gdLst>
              <a:gd name="T0" fmla="*/ 0 w 933"/>
              <a:gd name="T1" fmla="*/ 183 h 183"/>
              <a:gd name="T2" fmla="*/ 462 w 933"/>
              <a:gd name="T3" fmla="*/ 7 h 183"/>
              <a:gd name="T4" fmla="*/ 470 w 933"/>
              <a:gd name="T5" fmla="*/ 7 h 183"/>
              <a:gd name="T6" fmla="*/ 933 w 933"/>
              <a:gd name="T7" fmla="*/ 183 h 183"/>
              <a:gd name="T8" fmla="*/ 933 w 933"/>
              <a:gd name="T9" fmla="*/ 178 h 183"/>
              <a:gd name="T10" fmla="*/ 470 w 933"/>
              <a:gd name="T11" fmla="*/ 0 h 183"/>
              <a:gd name="T12" fmla="*/ 462 w 933"/>
              <a:gd name="T13" fmla="*/ 0 h 183"/>
              <a:gd name="T14" fmla="*/ 0 w 933"/>
              <a:gd name="T15" fmla="*/ 178 h 183"/>
              <a:gd name="T16" fmla="*/ 0 w 933"/>
              <a:gd name="T17" fmla="*/ 183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33" h="183">
                <a:moveTo>
                  <a:pt x="0" y="183"/>
                </a:moveTo>
                <a:lnTo>
                  <a:pt x="462" y="7"/>
                </a:lnTo>
                <a:lnTo>
                  <a:pt x="470" y="7"/>
                </a:lnTo>
                <a:lnTo>
                  <a:pt x="933" y="183"/>
                </a:lnTo>
                <a:lnTo>
                  <a:pt x="933" y="178"/>
                </a:lnTo>
                <a:lnTo>
                  <a:pt x="470" y="0"/>
                </a:lnTo>
                <a:lnTo>
                  <a:pt x="462" y="0"/>
                </a:lnTo>
                <a:lnTo>
                  <a:pt x="0" y="178"/>
                </a:lnTo>
                <a:lnTo>
                  <a:pt x="0" y="183"/>
                </a:ln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任意多边形: 形状 37">
            <a:extLst>
              <a:ext uri="{FF2B5EF4-FFF2-40B4-BE49-F238E27FC236}">
                <a16:creationId xmlns:a16="http://schemas.microsoft.com/office/drawing/2014/main" id="{2ACEFD70-F349-45FA-BBB7-43FB30EB9CA7}"/>
              </a:ext>
            </a:extLst>
          </p:cNvPr>
          <p:cNvSpPr/>
          <p:nvPr/>
        </p:nvSpPr>
        <p:spPr bwMode="auto">
          <a:xfrm rot="5400000">
            <a:off x="6252491" y="3501331"/>
            <a:ext cx="2174883" cy="337734"/>
          </a:xfrm>
          <a:custGeom>
            <a:avLst/>
            <a:gdLst>
              <a:gd name="T0" fmla="*/ 746 w 1494"/>
              <a:gd name="T1" fmla="*/ 0 h 232"/>
              <a:gd name="T2" fmla="*/ 0 w 1494"/>
              <a:gd name="T3" fmla="*/ 224 h 232"/>
              <a:gd name="T4" fmla="*/ 0 w 1494"/>
              <a:gd name="T5" fmla="*/ 232 h 232"/>
              <a:gd name="T6" fmla="*/ 746 w 1494"/>
              <a:gd name="T7" fmla="*/ 10 h 232"/>
              <a:gd name="T8" fmla="*/ 1494 w 1494"/>
              <a:gd name="T9" fmla="*/ 232 h 232"/>
              <a:gd name="T10" fmla="*/ 1494 w 1494"/>
              <a:gd name="T11" fmla="*/ 224 h 232"/>
              <a:gd name="T12" fmla="*/ 746 w 1494"/>
              <a:gd name="T13" fmla="*/ 0 h 2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94" h="232">
                <a:moveTo>
                  <a:pt x="746" y="0"/>
                </a:moveTo>
                <a:lnTo>
                  <a:pt x="0" y="224"/>
                </a:lnTo>
                <a:lnTo>
                  <a:pt x="0" y="232"/>
                </a:lnTo>
                <a:lnTo>
                  <a:pt x="746" y="10"/>
                </a:lnTo>
                <a:lnTo>
                  <a:pt x="1494" y="232"/>
                </a:lnTo>
                <a:lnTo>
                  <a:pt x="1494" y="224"/>
                </a:lnTo>
                <a:lnTo>
                  <a:pt x="746" y="0"/>
                </a:ln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" name="任意多边形: 形状 38">
            <a:extLst>
              <a:ext uri="{FF2B5EF4-FFF2-40B4-BE49-F238E27FC236}">
                <a16:creationId xmlns:a16="http://schemas.microsoft.com/office/drawing/2014/main" id="{8D2D2762-F0D5-4F8D-B1C2-8D0D1C7370AD}"/>
              </a:ext>
            </a:extLst>
          </p:cNvPr>
          <p:cNvSpPr/>
          <p:nvPr/>
        </p:nvSpPr>
        <p:spPr bwMode="auto">
          <a:xfrm rot="5400000">
            <a:off x="5611962" y="3581397"/>
            <a:ext cx="2174883" cy="177601"/>
          </a:xfrm>
          <a:custGeom>
            <a:avLst/>
            <a:gdLst>
              <a:gd name="T0" fmla="*/ 743 w 1494"/>
              <a:gd name="T1" fmla="*/ 0 h 122"/>
              <a:gd name="T2" fmla="*/ 0 w 1494"/>
              <a:gd name="T3" fmla="*/ 113 h 122"/>
              <a:gd name="T4" fmla="*/ 0 w 1494"/>
              <a:gd name="T5" fmla="*/ 122 h 122"/>
              <a:gd name="T6" fmla="*/ 743 w 1494"/>
              <a:gd name="T7" fmla="*/ 11 h 122"/>
              <a:gd name="T8" fmla="*/ 751 w 1494"/>
              <a:gd name="T9" fmla="*/ 11 h 122"/>
              <a:gd name="T10" fmla="*/ 1494 w 1494"/>
              <a:gd name="T11" fmla="*/ 122 h 122"/>
              <a:gd name="T12" fmla="*/ 1494 w 1494"/>
              <a:gd name="T13" fmla="*/ 113 h 122"/>
              <a:gd name="T14" fmla="*/ 751 w 1494"/>
              <a:gd name="T15" fmla="*/ 0 h 122"/>
              <a:gd name="T16" fmla="*/ 743 w 1494"/>
              <a:gd name="T17" fmla="*/ 0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494" h="122">
                <a:moveTo>
                  <a:pt x="743" y="0"/>
                </a:moveTo>
                <a:lnTo>
                  <a:pt x="0" y="113"/>
                </a:lnTo>
                <a:lnTo>
                  <a:pt x="0" y="122"/>
                </a:lnTo>
                <a:lnTo>
                  <a:pt x="743" y="11"/>
                </a:lnTo>
                <a:lnTo>
                  <a:pt x="751" y="11"/>
                </a:lnTo>
                <a:lnTo>
                  <a:pt x="1494" y="122"/>
                </a:lnTo>
                <a:lnTo>
                  <a:pt x="1494" y="113"/>
                </a:lnTo>
                <a:lnTo>
                  <a:pt x="751" y="0"/>
                </a:lnTo>
                <a:lnTo>
                  <a:pt x="743" y="0"/>
                </a:ln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0" name="任意多边形: 形状 39">
            <a:extLst>
              <a:ext uri="{FF2B5EF4-FFF2-40B4-BE49-F238E27FC236}">
                <a16:creationId xmlns:a16="http://schemas.microsoft.com/office/drawing/2014/main" id="{09684D14-8FAD-4F4D-9FFE-2B844A004B44}"/>
              </a:ext>
            </a:extLst>
          </p:cNvPr>
          <p:cNvSpPr/>
          <p:nvPr/>
        </p:nvSpPr>
        <p:spPr bwMode="auto">
          <a:xfrm rot="5400000">
            <a:off x="3300238" y="3463480"/>
            <a:ext cx="1358211" cy="414888"/>
          </a:xfrm>
          <a:custGeom>
            <a:avLst/>
            <a:gdLst>
              <a:gd name="T0" fmla="*/ 465 w 933"/>
              <a:gd name="T1" fmla="*/ 285 h 285"/>
              <a:gd name="T2" fmla="*/ 0 w 933"/>
              <a:gd name="T3" fmla="*/ 5 h 285"/>
              <a:gd name="T4" fmla="*/ 0 w 933"/>
              <a:gd name="T5" fmla="*/ 0 h 285"/>
              <a:gd name="T6" fmla="*/ 465 w 933"/>
              <a:gd name="T7" fmla="*/ 275 h 285"/>
              <a:gd name="T8" fmla="*/ 933 w 933"/>
              <a:gd name="T9" fmla="*/ 0 h 285"/>
              <a:gd name="T10" fmla="*/ 933 w 933"/>
              <a:gd name="T11" fmla="*/ 5 h 285"/>
              <a:gd name="T12" fmla="*/ 465 w 933"/>
              <a:gd name="T13" fmla="*/ 285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33" h="285">
                <a:moveTo>
                  <a:pt x="465" y="285"/>
                </a:moveTo>
                <a:lnTo>
                  <a:pt x="0" y="5"/>
                </a:lnTo>
                <a:lnTo>
                  <a:pt x="0" y="0"/>
                </a:lnTo>
                <a:lnTo>
                  <a:pt x="465" y="275"/>
                </a:lnTo>
                <a:lnTo>
                  <a:pt x="933" y="0"/>
                </a:lnTo>
                <a:lnTo>
                  <a:pt x="933" y="5"/>
                </a:lnTo>
                <a:lnTo>
                  <a:pt x="465" y="285"/>
                </a:ln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id="{D13CF2DE-6FBC-4114-B81B-2047A0B13892}"/>
              </a:ext>
            </a:extLst>
          </p:cNvPr>
          <p:cNvSpPr/>
          <p:nvPr/>
        </p:nvSpPr>
        <p:spPr bwMode="auto">
          <a:xfrm rot="5400000">
            <a:off x="3897093" y="3537723"/>
            <a:ext cx="1358211" cy="266402"/>
          </a:xfrm>
          <a:custGeom>
            <a:avLst/>
            <a:gdLst>
              <a:gd name="T0" fmla="*/ 0 w 933"/>
              <a:gd name="T1" fmla="*/ 0 h 183"/>
              <a:gd name="T2" fmla="*/ 462 w 933"/>
              <a:gd name="T3" fmla="*/ 176 h 183"/>
              <a:gd name="T4" fmla="*/ 470 w 933"/>
              <a:gd name="T5" fmla="*/ 176 h 183"/>
              <a:gd name="T6" fmla="*/ 933 w 933"/>
              <a:gd name="T7" fmla="*/ 0 h 183"/>
              <a:gd name="T8" fmla="*/ 933 w 933"/>
              <a:gd name="T9" fmla="*/ 5 h 183"/>
              <a:gd name="T10" fmla="*/ 470 w 933"/>
              <a:gd name="T11" fmla="*/ 183 h 183"/>
              <a:gd name="T12" fmla="*/ 462 w 933"/>
              <a:gd name="T13" fmla="*/ 183 h 183"/>
              <a:gd name="T14" fmla="*/ 0 w 933"/>
              <a:gd name="T15" fmla="*/ 5 h 183"/>
              <a:gd name="T16" fmla="*/ 0 w 933"/>
              <a:gd name="T17" fmla="*/ 0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33" h="183">
                <a:moveTo>
                  <a:pt x="0" y="0"/>
                </a:moveTo>
                <a:lnTo>
                  <a:pt x="462" y="176"/>
                </a:lnTo>
                <a:lnTo>
                  <a:pt x="470" y="176"/>
                </a:lnTo>
                <a:lnTo>
                  <a:pt x="933" y="0"/>
                </a:lnTo>
                <a:lnTo>
                  <a:pt x="933" y="5"/>
                </a:lnTo>
                <a:lnTo>
                  <a:pt x="470" y="183"/>
                </a:lnTo>
                <a:lnTo>
                  <a:pt x="462" y="183"/>
                </a:lnTo>
                <a:lnTo>
                  <a:pt x="0" y="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2" name="任意多边形: 形状 41">
            <a:extLst>
              <a:ext uri="{FF2B5EF4-FFF2-40B4-BE49-F238E27FC236}">
                <a16:creationId xmlns:a16="http://schemas.microsoft.com/office/drawing/2014/main" id="{F7D8A743-8722-4EC0-B2E7-1FDE3713F2B4}"/>
              </a:ext>
            </a:extLst>
          </p:cNvPr>
          <p:cNvSpPr/>
          <p:nvPr/>
        </p:nvSpPr>
        <p:spPr bwMode="auto">
          <a:xfrm rot="5400000">
            <a:off x="3763892" y="3500603"/>
            <a:ext cx="2174883" cy="339189"/>
          </a:xfrm>
          <a:custGeom>
            <a:avLst/>
            <a:gdLst>
              <a:gd name="T0" fmla="*/ 746 w 1494"/>
              <a:gd name="T1" fmla="*/ 233 h 233"/>
              <a:gd name="T2" fmla="*/ 0 w 1494"/>
              <a:gd name="T3" fmla="*/ 9 h 233"/>
              <a:gd name="T4" fmla="*/ 0 w 1494"/>
              <a:gd name="T5" fmla="*/ 0 h 233"/>
              <a:gd name="T6" fmla="*/ 746 w 1494"/>
              <a:gd name="T7" fmla="*/ 222 h 233"/>
              <a:gd name="T8" fmla="*/ 1494 w 1494"/>
              <a:gd name="T9" fmla="*/ 0 h 233"/>
              <a:gd name="T10" fmla="*/ 1494 w 1494"/>
              <a:gd name="T11" fmla="*/ 9 h 233"/>
              <a:gd name="T12" fmla="*/ 746 w 1494"/>
              <a:gd name="T13" fmla="*/ 233 h 2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94" h="233">
                <a:moveTo>
                  <a:pt x="746" y="233"/>
                </a:moveTo>
                <a:lnTo>
                  <a:pt x="0" y="9"/>
                </a:lnTo>
                <a:lnTo>
                  <a:pt x="0" y="0"/>
                </a:lnTo>
                <a:lnTo>
                  <a:pt x="746" y="222"/>
                </a:lnTo>
                <a:lnTo>
                  <a:pt x="1494" y="0"/>
                </a:lnTo>
                <a:lnTo>
                  <a:pt x="1494" y="9"/>
                </a:lnTo>
                <a:lnTo>
                  <a:pt x="746" y="233"/>
                </a:ln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3" name="任意多边形: 形状 42">
            <a:extLst>
              <a:ext uri="{FF2B5EF4-FFF2-40B4-BE49-F238E27FC236}">
                <a16:creationId xmlns:a16="http://schemas.microsoft.com/office/drawing/2014/main" id="{D8086068-DD68-4F5C-B487-ABDC5F7A8A27}"/>
              </a:ext>
            </a:extLst>
          </p:cNvPr>
          <p:cNvSpPr/>
          <p:nvPr/>
        </p:nvSpPr>
        <p:spPr bwMode="auto">
          <a:xfrm rot="5400000">
            <a:off x="4405150" y="3581397"/>
            <a:ext cx="2174883" cy="177601"/>
          </a:xfrm>
          <a:custGeom>
            <a:avLst/>
            <a:gdLst>
              <a:gd name="T0" fmla="*/ 743 w 1494"/>
              <a:gd name="T1" fmla="*/ 122 h 122"/>
              <a:gd name="T2" fmla="*/ 0 w 1494"/>
              <a:gd name="T3" fmla="*/ 9 h 122"/>
              <a:gd name="T4" fmla="*/ 0 w 1494"/>
              <a:gd name="T5" fmla="*/ 0 h 122"/>
              <a:gd name="T6" fmla="*/ 743 w 1494"/>
              <a:gd name="T7" fmla="*/ 112 h 122"/>
              <a:gd name="T8" fmla="*/ 751 w 1494"/>
              <a:gd name="T9" fmla="*/ 112 h 122"/>
              <a:gd name="T10" fmla="*/ 1494 w 1494"/>
              <a:gd name="T11" fmla="*/ 0 h 122"/>
              <a:gd name="T12" fmla="*/ 1494 w 1494"/>
              <a:gd name="T13" fmla="*/ 9 h 122"/>
              <a:gd name="T14" fmla="*/ 751 w 1494"/>
              <a:gd name="T15" fmla="*/ 122 h 122"/>
              <a:gd name="T16" fmla="*/ 743 w 1494"/>
              <a:gd name="T17" fmla="*/ 122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494" h="122">
                <a:moveTo>
                  <a:pt x="743" y="122"/>
                </a:moveTo>
                <a:lnTo>
                  <a:pt x="0" y="9"/>
                </a:lnTo>
                <a:lnTo>
                  <a:pt x="0" y="0"/>
                </a:lnTo>
                <a:lnTo>
                  <a:pt x="743" y="112"/>
                </a:lnTo>
                <a:lnTo>
                  <a:pt x="751" y="112"/>
                </a:lnTo>
                <a:lnTo>
                  <a:pt x="1494" y="0"/>
                </a:lnTo>
                <a:lnTo>
                  <a:pt x="1494" y="9"/>
                </a:lnTo>
                <a:lnTo>
                  <a:pt x="751" y="122"/>
                </a:lnTo>
                <a:lnTo>
                  <a:pt x="743" y="122"/>
                </a:ln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4" name="任意多边形: 形状 43">
            <a:extLst>
              <a:ext uri="{FF2B5EF4-FFF2-40B4-BE49-F238E27FC236}">
                <a16:creationId xmlns:a16="http://schemas.microsoft.com/office/drawing/2014/main" id="{9A02F865-B340-4162-B540-A5D589A57E4F}"/>
              </a:ext>
            </a:extLst>
          </p:cNvPr>
          <p:cNvSpPr/>
          <p:nvPr/>
        </p:nvSpPr>
        <p:spPr bwMode="auto">
          <a:xfrm rot="5400000">
            <a:off x="4970707" y="3580668"/>
            <a:ext cx="2993013" cy="179057"/>
          </a:xfrm>
          <a:custGeom>
            <a:avLst/>
            <a:gdLst>
              <a:gd name="T0" fmla="*/ 1027 w 2056"/>
              <a:gd name="T1" fmla="*/ 0 h 123"/>
              <a:gd name="T2" fmla="*/ 0 w 2056"/>
              <a:gd name="T3" fmla="*/ 111 h 123"/>
              <a:gd name="T4" fmla="*/ 0 w 2056"/>
              <a:gd name="T5" fmla="*/ 123 h 123"/>
              <a:gd name="T6" fmla="*/ 1027 w 2056"/>
              <a:gd name="T7" fmla="*/ 14 h 123"/>
              <a:gd name="T8" fmla="*/ 2056 w 2056"/>
              <a:gd name="T9" fmla="*/ 123 h 123"/>
              <a:gd name="T10" fmla="*/ 2056 w 2056"/>
              <a:gd name="T11" fmla="*/ 111 h 123"/>
              <a:gd name="T12" fmla="*/ 1027 w 2056"/>
              <a:gd name="T13" fmla="*/ 0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56" h="123">
                <a:moveTo>
                  <a:pt x="1027" y="0"/>
                </a:moveTo>
                <a:lnTo>
                  <a:pt x="0" y="111"/>
                </a:lnTo>
                <a:lnTo>
                  <a:pt x="0" y="123"/>
                </a:lnTo>
                <a:lnTo>
                  <a:pt x="1027" y="14"/>
                </a:lnTo>
                <a:lnTo>
                  <a:pt x="2056" y="123"/>
                </a:lnTo>
                <a:lnTo>
                  <a:pt x="2056" y="111"/>
                </a:lnTo>
                <a:lnTo>
                  <a:pt x="1027" y="0"/>
                </a:ln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5" name="任意多边形: 形状 44">
            <a:extLst>
              <a:ext uri="{FF2B5EF4-FFF2-40B4-BE49-F238E27FC236}">
                <a16:creationId xmlns:a16="http://schemas.microsoft.com/office/drawing/2014/main" id="{156AEEA8-442A-44CC-B567-97051C035415}"/>
              </a:ext>
            </a:extLst>
          </p:cNvPr>
          <p:cNvSpPr/>
          <p:nvPr/>
        </p:nvSpPr>
        <p:spPr bwMode="auto">
          <a:xfrm rot="5400000">
            <a:off x="4213718" y="3583579"/>
            <a:ext cx="2993013" cy="173235"/>
          </a:xfrm>
          <a:custGeom>
            <a:avLst/>
            <a:gdLst>
              <a:gd name="T0" fmla="*/ 1027 w 2056"/>
              <a:gd name="T1" fmla="*/ 119 h 119"/>
              <a:gd name="T2" fmla="*/ 0 w 2056"/>
              <a:gd name="T3" fmla="*/ 10 h 119"/>
              <a:gd name="T4" fmla="*/ 0 w 2056"/>
              <a:gd name="T5" fmla="*/ 0 h 119"/>
              <a:gd name="T6" fmla="*/ 1027 w 2056"/>
              <a:gd name="T7" fmla="*/ 104 h 119"/>
              <a:gd name="T8" fmla="*/ 2056 w 2056"/>
              <a:gd name="T9" fmla="*/ 0 h 119"/>
              <a:gd name="T10" fmla="*/ 2056 w 2056"/>
              <a:gd name="T11" fmla="*/ 10 h 119"/>
              <a:gd name="T12" fmla="*/ 1027 w 2056"/>
              <a:gd name="T13" fmla="*/ 119 h 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56" h="119">
                <a:moveTo>
                  <a:pt x="1027" y="119"/>
                </a:moveTo>
                <a:lnTo>
                  <a:pt x="0" y="10"/>
                </a:lnTo>
                <a:lnTo>
                  <a:pt x="0" y="0"/>
                </a:lnTo>
                <a:lnTo>
                  <a:pt x="1027" y="104"/>
                </a:lnTo>
                <a:lnTo>
                  <a:pt x="2056" y="0"/>
                </a:lnTo>
                <a:lnTo>
                  <a:pt x="2056" y="10"/>
                </a:lnTo>
                <a:lnTo>
                  <a:pt x="1027" y="119"/>
                </a:lnTo>
                <a:close/>
              </a:path>
            </a:pathLst>
          </a:custGeom>
          <a:solidFill>
            <a:schemeClr val="bg1">
              <a:alpha val="25000"/>
            </a:schemeClr>
          </a:solidFill>
          <a:ln>
            <a:noFill/>
          </a:ln>
        </p:spPr>
        <p:txBody>
          <a:bodyPr vert="horz" wrap="square" lIns="121913" tIns="60956" rIns="121913" bIns="60956" numCol="1" anchor="t" anchorCtr="0" compatLnSpc="1">
            <a:prstTxWarp prst="textNoShape">
              <a:avLst/>
            </a:prstTxWarp>
          </a:bodyPr>
          <a:lstStyle/>
          <a:p>
            <a:pPr algn="just">
              <a:lnSpc>
                <a:spcPct val="120000"/>
              </a:lnSpc>
            </a:pPr>
            <a:endParaRPr lang="id-ID" sz="70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70D4496B-26E4-4170-B993-F4A2D3A3428F}"/>
              </a:ext>
            </a:extLst>
          </p:cNvPr>
          <p:cNvSpPr txBox="1"/>
          <p:nvPr/>
        </p:nvSpPr>
        <p:spPr bwMode="auto">
          <a:xfrm>
            <a:off x="680079" y="2987243"/>
            <a:ext cx="3039482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/>
              <a:t>Text here</a:t>
            </a: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F33565E4-2BFA-416F-A5AA-D4B8BF7EC4B0}"/>
              </a:ext>
            </a:extLst>
          </p:cNvPr>
          <p:cNvSpPr/>
          <p:nvPr/>
        </p:nvSpPr>
        <p:spPr bwMode="auto">
          <a:xfrm>
            <a:off x="680079" y="3429049"/>
            <a:ext cx="3039482" cy="813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/>
              <a:t>Copy paste fonts. Choose the only option to retain text.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/>
              <a:t>……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83D11792-F383-4C01-8A69-D73D6990B1FE}"/>
              </a:ext>
            </a:extLst>
          </p:cNvPr>
          <p:cNvSpPr txBox="1"/>
          <p:nvPr/>
        </p:nvSpPr>
        <p:spPr bwMode="auto">
          <a:xfrm>
            <a:off x="8481006" y="2987243"/>
            <a:ext cx="3039482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/>
              <a:t>Text here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386DF725-8395-4535-ADE1-053855B85C5F}"/>
              </a:ext>
            </a:extLst>
          </p:cNvPr>
          <p:cNvSpPr/>
          <p:nvPr/>
        </p:nvSpPr>
        <p:spPr bwMode="auto">
          <a:xfrm>
            <a:off x="8481006" y="3429049"/>
            <a:ext cx="3039482" cy="813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/>
              <a:t>Copy paste fonts. Choose the only option to retain text.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/>
              <a:t>……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7C23813D-3C8F-41FA-9300-5606BC90D939}"/>
              </a:ext>
            </a:extLst>
          </p:cNvPr>
          <p:cNvSpPr txBox="1"/>
          <p:nvPr/>
        </p:nvSpPr>
        <p:spPr bwMode="auto">
          <a:xfrm>
            <a:off x="2788101" y="1123950"/>
            <a:ext cx="3039482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/>
              <a:t>Text here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E6C59446-EA61-4219-8A6C-F3DAB908FED6}"/>
              </a:ext>
            </a:extLst>
          </p:cNvPr>
          <p:cNvSpPr/>
          <p:nvPr/>
        </p:nvSpPr>
        <p:spPr bwMode="auto">
          <a:xfrm>
            <a:off x="2788101" y="1565756"/>
            <a:ext cx="3039482" cy="813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/>
              <a:t>Copy paste fonts. Choose the only option to retain text.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/>
              <a:t>……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D4797F7A-5C0F-4972-A869-F068858D2018}"/>
              </a:ext>
            </a:extLst>
          </p:cNvPr>
          <p:cNvSpPr txBox="1"/>
          <p:nvPr/>
        </p:nvSpPr>
        <p:spPr bwMode="auto">
          <a:xfrm>
            <a:off x="6610605" y="1123950"/>
            <a:ext cx="3039482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/>
              <a:t>Text here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1ED741D2-144E-435B-A562-8EA47E1FBF7D}"/>
              </a:ext>
            </a:extLst>
          </p:cNvPr>
          <p:cNvSpPr/>
          <p:nvPr/>
        </p:nvSpPr>
        <p:spPr bwMode="auto">
          <a:xfrm>
            <a:off x="6610605" y="1565756"/>
            <a:ext cx="3039482" cy="813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/>
              <a:t>Copy paste fonts. Choose the only option to retain text.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/>
              <a:t>……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F5036EB8-A5F8-4612-AD12-AE7E4E5A4D70}"/>
              </a:ext>
            </a:extLst>
          </p:cNvPr>
          <p:cNvSpPr txBox="1"/>
          <p:nvPr/>
        </p:nvSpPr>
        <p:spPr bwMode="auto">
          <a:xfrm>
            <a:off x="4003394" y="5259334"/>
            <a:ext cx="4185212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/>
              <a:t>Text here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C4174B20-8719-47B9-839A-D858EBDE1E22}"/>
              </a:ext>
            </a:extLst>
          </p:cNvPr>
          <p:cNvSpPr/>
          <p:nvPr/>
        </p:nvSpPr>
        <p:spPr bwMode="auto">
          <a:xfrm>
            <a:off x="4003394" y="5701140"/>
            <a:ext cx="4185212" cy="453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option to retain text.</a:t>
            </a:r>
          </a:p>
        </p:txBody>
      </p:sp>
    </p:spTree>
    <p:extLst>
      <p:ext uri="{BB962C8B-B14F-4D97-AF65-F5344CB8AC3E}">
        <p14:creationId xmlns:p14="http://schemas.microsoft.com/office/powerpoint/2010/main" val="24086874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9F89D5F-E341-48C0-8BE1-1E5199405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19390B5-4E0D-4811-AB74-1AD170AF4D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F9C5F35-2B87-4C5F-8F01-1607ADC90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4</a:t>
            </a:fld>
            <a:endParaRPr lang="zh-CN" altLang="en-US"/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D69BE889-BB22-4CDC-939B-B858C26820A3}"/>
              </a:ext>
            </a:extLst>
          </p:cNvPr>
          <p:cNvSpPr/>
          <p:nvPr/>
        </p:nvSpPr>
        <p:spPr>
          <a:xfrm>
            <a:off x="0" y="1123950"/>
            <a:ext cx="12192000" cy="51340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/>
          </a:p>
        </p:txBody>
      </p:sp>
      <p:sp>
        <p:nvSpPr>
          <p:cNvPr id="103" name="任意多边形: 形状 102">
            <a:extLst>
              <a:ext uri="{FF2B5EF4-FFF2-40B4-BE49-F238E27FC236}">
                <a16:creationId xmlns:a16="http://schemas.microsoft.com/office/drawing/2014/main" id="{321634E8-C0D1-4285-924B-0E8FB0571FD4}"/>
              </a:ext>
            </a:extLst>
          </p:cNvPr>
          <p:cNvSpPr/>
          <p:nvPr/>
        </p:nvSpPr>
        <p:spPr>
          <a:xfrm>
            <a:off x="2132907" y="1243075"/>
            <a:ext cx="83520" cy="685911"/>
          </a:xfrm>
          <a:custGeom>
            <a:avLst/>
            <a:gdLst>
              <a:gd name="connsiteX0" fmla="*/ 0 w 63849"/>
              <a:gd name="connsiteY0" fmla="*/ 0 h 1441893"/>
              <a:gd name="connsiteX1" fmla="*/ 63849 w 63849"/>
              <a:gd name="connsiteY1" fmla="*/ 0 h 1441893"/>
              <a:gd name="connsiteX2" fmla="*/ 63849 w 63849"/>
              <a:gd name="connsiteY2" fmla="*/ 9539 h 1441893"/>
              <a:gd name="connsiteX3" fmla="*/ 63849 w 63849"/>
              <a:gd name="connsiteY3" fmla="*/ 1441893 h 1441893"/>
              <a:gd name="connsiteX4" fmla="*/ 0 w 63849"/>
              <a:gd name="connsiteY4" fmla="*/ 1441893 h 1441893"/>
              <a:gd name="connsiteX5" fmla="*/ 0 w 63849"/>
              <a:gd name="connsiteY5" fmla="*/ 138519 h 1441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849" h="1441893">
                <a:moveTo>
                  <a:pt x="0" y="0"/>
                </a:moveTo>
                <a:lnTo>
                  <a:pt x="63849" y="0"/>
                </a:lnTo>
                <a:lnTo>
                  <a:pt x="63849" y="9539"/>
                </a:lnTo>
                <a:cubicBezTo>
                  <a:pt x="63849" y="391953"/>
                  <a:pt x="63849" y="862616"/>
                  <a:pt x="63849" y="1441893"/>
                </a:cubicBezTo>
                <a:lnTo>
                  <a:pt x="0" y="1441893"/>
                </a:lnTo>
                <a:cubicBezTo>
                  <a:pt x="0" y="1441893"/>
                  <a:pt x="0" y="1441893"/>
                  <a:pt x="0" y="1385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40" tIns="45720" rIns="91440" bIns="45720" anchor="t" anchorCtr="0">
            <a:norm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dk1"/>
              </a:solidFill>
            </a:endParaRPr>
          </a:p>
        </p:txBody>
      </p:sp>
      <p:grpSp>
        <p:nvGrpSpPr>
          <p:cNvPr id="104" name="组合 103">
            <a:extLst>
              <a:ext uri="{FF2B5EF4-FFF2-40B4-BE49-F238E27FC236}">
                <a16:creationId xmlns:a16="http://schemas.microsoft.com/office/drawing/2014/main" id="{510A1E9A-2B31-44C6-B6BE-8ACB66BF6200}"/>
              </a:ext>
            </a:extLst>
          </p:cNvPr>
          <p:cNvGrpSpPr/>
          <p:nvPr/>
        </p:nvGrpSpPr>
        <p:grpSpPr>
          <a:xfrm>
            <a:off x="1536373" y="1917701"/>
            <a:ext cx="1276589" cy="2417864"/>
            <a:chOff x="9448845" y="2822347"/>
            <a:chExt cx="1276589" cy="2417864"/>
          </a:xfrm>
        </p:grpSpPr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32E60A53-DE09-451C-9F65-9C9836060741}"/>
                </a:ext>
              </a:extLst>
            </p:cNvPr>
            <p:cNvSpPr/>
            <p:nvPr/>
          </p:nvSpPr>
          <p:spPr>
            <a:xfrm>
              <a:off x="10294894" y="4938148"/>
              <a:ext cx="179051" cy="232355"/>
            </a:xfrm>
            <a:custGeom>
              <a:avLst/>
              <a:gdLst/>
              <a:ahLst/>
              <a:cxnLst/>
              <a:rect l="l" t="t" r="r" b="b"/>
              <a:pathLst>
                <a:path w="101" h="131" extrusionOk="0">
                  <a:moveTo>
                    <a:pt x="73" y="131"/>
                  </a:moveTo>
                  <a:cubicBezTo>
                    <a:pt x="65" y="131"/>
                    <a:pt x="57" y="127"/>
                    <a:pt x="52" y="11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0" y="28"/>
                    <a:pt x="4" y="13"/>
                    <a:pt x="15" y="6"/>
                  </a:cubicBezTo>
                  <a:cubicBezTo>
                    <a:pt x="26" y="0"/>
                    <a:pt x="41" y="4"/>
                    <a:pt x="48" y="15"/>
                  </a:cubicBezTo>
                  <a:cubicBezTo>
                    <a:pt x="94" y="95"/>
                    <a:pt x="94" y="95"/>
                    <a:pt x="94" y="95"/>
                  </a:cubicBezTo>
                  <a:cubicBezTo>
                    <a:pt x="101" y="106"/>
                    <a:pt x="97" y="121"/>
                    <a:pt x="85" y="128"/>
                  </a:cubicBezTo>
                  <a:cubicBezTo>
                    <a:pt x="81" y="130"/>
                    <a:pt x="77" y="131"/>
                    <a:pt x="73" y="13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 fontScale="77500" lnSpcReduction="20000"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DF268FA4-E21F-47A7-A54F-4CB3912A8C18}"/>
                </a:ext>
              </a:extLst>
            </p:cNvPr>
            <p:cNvSpPr/>
            <p:nvPr/>
          </p:nvSpPr>
          <p:spPr>
            <a:xfrm>
              <a:off x="9700337" y="4938148"/>
              <a:ext cx="179051" cy="232355"/>
            </a:xfrm>
            <a:custGeom>
              <a:avLst/>
              <a:gdLst/>
              <a:ahLst/>
              <a:cxnLst/>
              <a:rect l="l" t="t" r="r" b="b"/>
              <a:pathLst>
                <a:path w="101" h="131" extrusionOk="0">
                  <a:moveTo>
                    <a:pt x="28" y="131"/>
                  </a:moveTo>
                  <a:cubicBezTo>
                    <a:pt x="24" y="131"/>
                    <a:pt x="20" y="130"/>
                    <a:pt x="16" y="128"/>
                  </a:cubicBezTo>
                  <a:cubicBezTo>
                    <a:pt x="4" y="121"/>
                    <a:pt x="0" y="106"/>
                    <a:pt x="7" y="95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60" y="4"/>
                    <a:pt x="75" y="0"/>
                    <a:pt x="86" y="6"/>
                  </a:cubicBezTo>
                  <a:cubicBezTo>
                    <a:pt x="97" y="13"/>
                    <a:pt x="101" y="28"/>
                    <a:pt x="95" y="39"/>
                  </a:cubicBezTo>
                  <a:cubicBezTo>
                    <a:pt x="49" y="119"/>
                    <a:pt x="49" y="119"/>
                    <a:pt x="49" y="119"/>
                  </a:cubicBezTo>
                  <a:cubicBezTo>
                    <a:pt x="44" y="127"/>
                    <a:pt x="36" y="131"/>
                    <a:pt x="28" y="13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 fontScale="77500" lnSpcReduction="20000"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C96C0C10-3CD9-4B85-8838-2B6A5652F3A1}"/>
                </a:ext>
              </a:extLst>
            </p:cNvPr>
            <p:cNvSpPr/>
            <p:nvPr/>
          </p:nvSpPr>
          <p:spPr>
            <a:xfrm>
              <a:off x="10044769" y="4994188"/>
              <a:ext cx="84741" cy="246023"/>
            </a:xfrm>
            <a:custGeom>
              <a:avLst/>
              <a:gdLst/>
              <a:ahLst/>
              <a:cxnLst/>
              <a:rect l="l" t="t" r="r" b="b"/>
              <a:pathLst>
                <a:path w="48" h="140" extrusionOk="0">
                  <a:moveTo>
                    <a:pt x="24" y="140"/>
                  </a:moveTo>
                  <a:cubicBezTo>
                    <a:pt x="11" y="140"/>
                    <a:pt x="0" y="129"/>
                    <a:pt x="0" y="1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116"/>
                    <a:pt x="48" y="116"/>
                    <a:pt x="48" y="116"/>
                  </a:cubicBezTo>
                  <a:cubicBezTo>
                    <a:pt x="48" y="129"/>
                    <a:pt x="37" y="140"/>
                    <a:pt x="24" y="14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 fontScale="85000" lnSpcReduction="20000"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AA45D1C7-D5AF-44A8-A7DF-C111856638FC}"/>
                </a:ext>
              </a:extLst>
            </p:cNvPr>
            <p:cNvSpPr/>
            <p:nvPr/>
          </p:nvSpPr>
          <p:spPr>
            <a:xfrm>
              <a:off x="9518553" y="3330795"/>
              <a:ext cx="1137175" cy="1482975"/>
            </a:xfrm>
            <a:custGeom>
              <a:avLst/>
              <a:gdLst/>
              <a:ahLst/>
              <a:cxnLst/>
              <a:rect l="l" t="t" r="r" b="b"/>
              <a:pathLst>
                <a:path w="642" h="840" extrusionOk="0">
                  <a:moveTo>
                    <a:pt x="94" y="746"/>
                  </a:moveTo>
                  <a:cubicBezTo>
                    <a:pt x="155" y="807"/>
                    <a:pt x="235" y="840"/>
                    <a:pt x="321" y="840"/>
                  </a:cubicBezTo>
                  <a:cubicBezTo>
                    <a:pt x="407" y="840"/>
                    <a:pt x="487" y="807"/>
                    <a:pt x="548" y="746"/>
                  </a:cubicBezTo>
                  <a:cubicBezTo>
                    <a:pt x="609" y="685"/>
                    <a:pt x="642" y="605"/>
                    <a:pt x="642" y="519"/>
                  </a:cubicBezTo>
                  <a:cubicBezTo>
                    <a:pt x="642" y="466"/>
                    <a:pt x="633" y="416"/>
                    <a:pt x="615" y="366"/>
                  </a:cubicBezTo>
                  <a:cubicBezTo>
                    <a:pt x="599" y="324"/>
                    <a:pt x="577" y="283"/>
                    <a:pt x="544" y="235"/>
                  </a:cubicBezTo>
                  <a:cubicBezTo>
                    <a:pt x="517" y="196"/>
                    <a:pt x="506" y="156"/>
                    <a:pt x="497" y="123"/>
                  </a:cubicBezTo>
                  <a:cubicBezTo>
                    <a:pt x="494" y="115"/>
                    <a:pt x="492" y="108"/>
                    <a:pt x="490" y="101"/>
                  </a:cubicBezTo>
                  <a:cubicBezTo>
                    <a:pt x="487" y="92"/>
                    <a:pt x="485" y="83"/>
                    <a:pt x="483" y="75"/>
                  </a:cubicBezTo>
                  <a:cubicBezTo>
                    <a:pt x="476" y="51"/>
                    <a:pt x="471" y="29"/>
                    <a:pt x="446" y="16"/>
                  </a:cubicBezTo>
                  <a:cubicBezTo>
                    <a:pt x="424" y="4"/>
                    <a:pt x="389" y="0"/>
                    <a:pt x="321" y="0"/>
                  </a:cubicBezTo>
                  <a:cubicBezTo>
                    <a:pt x="253" y="0"/>
                    <a:pt x="218" y="4"/>
                    <a:pt x="196" y="16"/>
                  </a:cubicBezTo>
                  <a:cubicBezTo>
                    <a:pt x="171" y="29"/>
                    <a:pt x="166" y="51"/>
                    <a:pt x="159" y="75"/>
                  </a:cubicBezTo>
                  <a:cubicBezTo>
                    <a:pt x="157" y="83"/>
                    <a:pt x="155" y="92"/>
                    <a:pt x="152" y="101"/>
                  </a:cubicBezTo>
                  <a:cubicBezTo>
                    <a:pt x="150" y="108"/>
                    <a:pt x="148" y="115"/>
                    <a:pt x="145" y="123"/>
                  </a:cubicBezTo>
                  <a:cubicBezTo>
                    <a:pt x="136" y="156"/>
                    <a:pt x="125" y="196"/>
                    <a:pt x="98" y="235"/>
                  </a:cubicBezTo>
                  <a:cubicBezTo>
                    <a:pt x="65" y="283"/>
                    <a:pt x="43" y="324"/>
                    <a:pt x="27" y="366"/>
                  </a:cubicBezTo>
                  <a:cubicBezTo>
                    <a:pt x="9" y="416"/>
                    <a:pt x="0" y="466"/>
                    <a:pt x="0" y="519"/>
                  </a:cubicBezTo>
                  <a:cubicBezTo>
                    <a:pt x="0" y="605"/>
                    <a:pt x="33" y="685"/>
                    <a:pt x="94" y="746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D7BA5B69-E449-417A-828F-388A1F9EEEEA}"/>
                </a:ext>
              </a:extLst>
            </p:cNvPr>
            <p:cNvSpPr/>
            <p:nvPr/>
          </p:nvSpPr>
          <p:spPr>
            <a:xfrm>
              <a:off x="9800113" y="2822347"/>
              <a:ext cx="574055" cy="220055"/>
            </a:xfrm>
            <a:custGeom>
              <a:avLst/>
              <a:gdLst/>
              <a:ahLst/>
              <a:cxnLst/>
              <a:rect l="l" t="t" r="r" b="b"/>
              <a:pathLst>
                <a:path w="324" h="125" extrusionOk="0">
                  <a:moveTo>
                    <a:pt x="146" y="0"/>
                  </a:moveTo>
                  <a:cubicBezTo>
                    <a:pt x="100" y="6"/>
                    <a:pt x="62" y="36"/>
                    <a:pt x="45" y="78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11" y="78"/>
                    <a:pt x="0" y="88"/>
                    <a:pt x="0" y="101"/>
                  </a:cubicBezTo>
                  <a:cubicBezTo>
                    <a:pt x="0" y="114"/>
                    <a:pt x="11" y="125"/>
                    <a:pt x="24" y="125"/>
                  </a:cubicBezTo>
                  <a:cubicBezTo>
                    <a:pt x="36" y="125"/>
                    <a:pt x="36" y="125"/>
                    <a:pt x="36" y="125"/>
                  </a:cubicBezTo>
                  <a:cubicBezTo>
                    <a:pt x="288" y="125"/>
                    <a:pt x="288" y="125"/>
                    <a:pt x="288" y="125"/>
                  </a:cubicBezTo>
                  <a:cubicBezTo>
                    <a:pt x="300" y="125"/>
                    <a:pt x="300" y="125"/>
                    <a:pt x="300" y="125"/>
                  </a:cubicBezTo>
                  <a:cubicBezTo>
                    <a:pt x="313" y="125"/>
                    <a:pt x="324" y="114"/>
                    <a:pt x="324" y="101"/>
                  </a:cubicBezTo>
                  <a:cubicBezTo>
                    <a:pt x="324" y="88"/>
                    <a:pt x="313" y="78"/>
                    <a:pt x="300" y="78"/>
                  </a:cubicBezTo>
                  <a:cubicBezTo>
                    <a:pt x="279" y="78"/>
                    <a:pt x="279" y="78"/>
                    <a:pt x="279" y="78"/>
                  </a:cubicBezTo>
                  <a:cubicBezTo>
                    <a:pt x="263" y="37"/>
                    <a:pt x="226" y="7"/>
                    <a:pt x="182" y="0"/>
                  </a:cubicBezTo>
                  <a:lnTo>
                    <a:pt x="146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 fontScale="70000" lnSpcReduction="20000"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10030ECF-2B64-4D62-A2EB-5AC25A525D90}"/>
                </a:ext>
              </a:extLst>
            </p:cNvPr>
            <p:cNvSpPr/>
            <p:nvPr/>
          </p:nvSpPr>
          <p:spPr>
            <a:xfrm>
              <a:off x="9800113" y="3159946"/>
              <a:ext cx="574055" cy="84741"/>
            </a:xfrm>
            <a:custGeom>
              <a:avLst/>
              <a:gdLst/>
              <a:ahLst/>
              <a:cxnLst/>
              <a:rect l="l" t="t" r="r" b="b"/>
              <a:pathLst>
                <a:path w="324" h="48" extrusionOk="0">
                  <a:moveTo>
                    <a:pt x="24" y="48"/>
                  </a:moveTo>
                  <a:cubicBezTo>
                    <a:pt x="300" y="48"/>
                    <a:pt x="300" y="48"/>
                    <a:pt x="300" y="48"/>
                  </a:cubicBezTo>
                  <a:cubicBezTo>
                    <a:pt x="313" y="48"/>
                    <a:pt x="324" y="37"/>
                    <a:pt x="324" y="24"/>
                  </a:cubicBezTo>
                  <a:cubicBezTo>
                    <a:pt x="324" y="11"/>
                    <a:pt x="313" y="0"/>
                    <a:pt x="30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 fontScale="25000" lnSpcReduction="20000"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91ABC08A-97B1-4FB9-AD2B-BF680FEFDC24}"/>
                </a:ext>
              </a:extLst>
            </p:cNvPr>
            <p:cNvSpPr/>
            <p:nvPr/>
          </p:nvSpPr>
          <p:spPr>
            <a:xfrm>
              <a:off x="9800113" y="3060170"/>
              <a:ext cx="574055" cy="83375"/>
            </a:xfrm>
            <a:custGeom>
              <a:avLst/>
              <a:gdLst/>
              <a:ahLst/>
              <a:cxnLst/>
              <a:rect l="l" t="t" r="r" b="b"/>
              <a:pathLst>
                <a:path w="324" h="47" extrusionOk="0">
                  <a:moveTo>
                    <a:pt x="24" y="47"/>
                  </a:moveTo>
                  <a:cubicBezTo>
                    <a:pt x="300" y="47"/>
                    <a:pt x="300" y="47"/>
                    <a:pt x="300" y="47"/>
                  </a:cubicBezTo>
                  <a:cubicBezTo>
                    <a:pt x="313" y="47"/>
                    <a:pt x="324" y="36"/>
                    <a:pt x="324" y="23"/>
                  </a:cubicBezTo>
                  <a:cubicBezTo>
                    <a:pt x="324" y="10"/>
                    <a:pt x="313" y="0"/>
                    <a:pt x="30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0"/>
                    <a:pt x="0" y="23"/>
                  </a:cubicBezTo>
                  <a:cubicBezTo>
                    <a:pt x="0" y="36"/>
                    <a:pt x="11" y="47"/>
                    <a:pt x="24" y="4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 fontScale="25000" lnSpcReduction="20000"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DB1E9731-1C6F-4EAD-B90D-4D9332C179C1}"/>
                </a:ext>
              </a:extLst>
            </p:cNvPr>
            <p:cNvSpPr/>
            <p:nvPr/>
          </p:nvSpPr>
          <p:spPr>
            <a:xfrm>
              <a:off x="9448846" y="3265189"/>
              <a:ext cx="1276588" cy="1610087"/>
            </a:xfrm>
            <a:custGeom>
              <a:avLst/>
              <a:gdLst/>
              <a:ahLst/>
              <a:cxnLst/>
              <a:rect l="l" t="t" r="r" b="b"/>
              <a:pathLst>
                <a:path w="720" h="912" extrusionOk="0">
                  <a:moveTo>
                    <a:pt x="360" y="0"/>
                  </a:moveTo>
                  <a:cubicBezTo>
                    <a:pt x="284" y="0"/>
                    <a:pt x="245" y="6"/>
                    <a:pt x="216" y="21"/>
                  </a:cubicBezTo>
                  <a:cubicBezTo>
                    <a:pt x="173" y="44"/>
                    <a:pt x="164" y="81"/>
                    <a:pt x="157" y="109"/>
                  </a:cubicBezTo>
                  <a:cubicBezTo>
                    <a:pt x="155" y="116"/>
                    <a:pt x="153" y="123"/>
                    <a:pt x="150" y="131"/>
                  </a:cubicBezTo>
                  <a:cubicBezTo>
                    <a:pt x="148" y="138"/>
                    <a:pt x="146" y="146"/>
                    <a:pt x="143" y="154"/>
                  </a:cubicBezTo>
                  <a:cubicBezTo>
                    <a:pt x="135" y="184"/>
                    <a:pt x="125" y="217"/>
                    <a:pt x="103" y="249"/>
                  </a:cubicBezTo>
                  <a:cubicBezTo>
                    <a:pt x="70" y="299"/>
                    <a:pt x="46" y="342"/>
                    <a:pt x="30" y="387"/>
                  </a:cubicBezTo>
                  <a:cubicBezTo>
                    <a:pt x="10" y="440"/>
                    <a:pt x="0" y="494"/>
                    <a:pt x="0" y="552"/>
                  </a:cubicBezTo>
                  <a:cubicBezTo>
                    <a:pt x="0" y="648"/>
                    <a:pt x="38" y="738"/>
                    <a:pt x="106" y="806"/>
                  </a:cubicBezTo>
                  <a:cubicBezTo>
                    <a:pt x="174" y="874"/>
                    <a:pt x="264" y="912"/>
                    <a:pt x="360" y="912"/>
                  </a:cubicBezTo>
                  <a:cubicBezTo>
                    <a:pt x="456" y="912"/>
                    <a:pt x="546" y="874"/>
                    <a:pt x="614" y="806"/>
                  </a:cubicBezTo>
                  <a:cubicBezTo>
                    <a:pt x="682" y="738"/>
                    <a:pt x="720" y="648"/>
                    <a:pt x="720" y="552"/>
                  </a:cubicBezTo>
                  <a:cubicBezTo>
                    <a:pt x="720" y="494"/>
                    <a:pt x="710" y="440"/>
                    <a:pt x="690" y="387"/>
                  </a:cubicBezTo>
                  <a:cubicBezTo>
                    <a:pt x="674" y="342"/>
                    <a:pt x="650" y="299"/>
                    <a:pt x="617" y="249"/>
                  </a:cubicBezTo>
                  <a:cubicBezTo>
                    <a:pt x="595" y="217"/>
                    <a:pt x="585" y="184"/>
                    <a:pt x="577" y="154"/>
                  </a:cubicBezTo>
                  <a:cubicBezTo>
                    <a:pt x="574" y="146"/>
                    <a:pt x="572" y="138"/>
                    <a:pt x="570" y="131"/>
                  </a:cubicBezTo>
                  <a:cubicBezTo>
                    <a:pt x="567" y="123"/>
                    <a:pt x="565" y="116"/>
                    <a:pt x="563" y="109"/>
                  </a:cubicBezTo>
                  <a:cubicBezTo>
                    <a:pt x="556" y="81"/>
                    <a:pt x="547" y="44"/>
                    <a:pt x="504" y="21"/>
                  </a:cubicBezTo>
                  <a:cubicBezTo>
                    <a:pt x="475" y="6"/>
                    <a:pt x="436" y="0"/>
                    <a:pt x="360" y="0"/>
                  </a:cubicBezTo>
                  <a:moveTo>
                    <a:pt x="524" y="146"/>
                  </a:moveTo>
                  <a:cubicBezTo>
                    <a:pt x="526" y="153"/>
                    <a:pt x="528" y="160"/>
                    <a:pt x="531" y="168"/>
                  </a:cubicBezTo>
                  <a:cubicBezTo>
                    <a:pt x="540" y="199"/>
                    <a:pt x="551" y="238"/>
                    <a:pt x="577" y="276"/>
                  </a:cubicBezTo>
                  <a:cubicBezTo>
                    <a:pt x="608" y="322"/>
                    <a:pt x="630" y="363"/>
                    <a:pt x="645" y="404"/>
                  </a:cubicBezTo>
                  <a:cubicBezTo>
                    <a:pt x="663" y="452"/>
                    <a:pt x="672" y="500"/>
                    <a:pt x="672" y="552"/>
                  </a:cubicBezTo>
                  <a:cubicBezTo>
                    <a:pt x="672" y="635"/>
                    <a:pt x="639" y="714"/>
                    <a:pt x="580" y="772"/>
                  </a:cubicBezTo>
                  <a:cubicBezTo>
                    <a:pt x="522" y="831"/>
                    <a:pt x="443" y="864"/>
                    <a:pt x="360" y="864"/>
                  </a:cubicBezTo>
                  <a:cubicBezTo>
                    <a:pt x="277" y="864"/>
                    <a:pt x="198" y="831"/>
                    <a:pt x="140" y="772"/>
                  </a:cubicBezTo>
                  <a:cubicBezTo>
                    <a:pt x="81" y="714"/>
                    <a:pt x="48" y="635"/>
                    <a:pt x="48" y="552"/>
                  </a:cubicBezTo>
                  <a:cubicBezTo>
                    <a:pt x="48" y="500"/>
                    <a:pt x="57" y="452"/>
                    <a:pt x="75" y="404"/>
                  </a:cubicBezTo>
                  <a:cubicBezTo>
                    <a:pt x="90" y="363"/>
                    <a:pt x="112" y="322"/>
                    <a:pt x="143" y="276"/>
                  </a:cubicBezTo>
                  <a:cubicBezTo>
                    <a:pt x="169" y="238"/>
                    <a:pt x="180" y="199"/>
                    <a:pt x="189" y="168"/>
                  </a:cubicBezTo>
                  <a:cubicBezTo>
                    <a:pt x="192" y="160"/>
                    <a:pt x="194" y="153"/>
                    <a:pt x="196" y="146"/>
                  </a:cubicBezTo>
                  <a:cubicBezTo>
                    <a:pt x="199" y="137"/>
                    <a:pt x="201" y="128"/>
                    <a:pt x="203" y="121"/>
                  </a:cubicBezTo>
                  <a:cubicBezTo>
                    <a:pt x="209" y="97"/>
                    <a:pt x="215" y="76"/>
                    <a:pt x="239" y="63"/>
                  </a:cubicBezTo>
                  <a:cubicBezTo>
                    <a:pt x="260" y="52"/>
                    <a:pt x="294" y="48"/>
                    <a:pt x="360" y="48"/>
                  </a:cubicBezTo>
                  <a:cubicBezTo>
                    <a:pt x="426" y="48"/>
                    <a:pt x="460" y="52"/>
                    <a:pt x="481" y="63"/>
                  </a:cubicBezTo>
                  <a:cubicBezTo>
                    <a:pt x="505" y="76"/>
                    <a:pt x="511" y="97"/>
                    <a:pt x="517" y="121"/>
                  </a:cubicBezTo>
                  <a:cubicBezTo>
                    <a:pt x="519" y="128"/>
                    <a:pt x="521" y="137"/>
                    <a:pt x="524" y="146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6E5D2E91-5D40-453F-BED8-CAA53479B4D0}"/>
                </a:ext>
              </a:extLst>
            </p:cNvPr>
            <p:cNvSpPr/>
            <p:nvPr/>
          </p:nvSpPr>
          <p:spPr>
            <a:xfrm>
              <a:off x="9448845" y="3265189"/>
              <a:ext cx="893885" cy="1422836"/>
            </a:xfrm>
            <a:custGeom>
              <a:avLst/>
              <a:gdLst/>
              <a:ahLst/>
              <a:cxnLst/>
              <a:rect l="l" t="t" r="r" b="b"/>
              <a:pathLst>
                <a:path w="504" h="806" extrusionOk="0">
                  <a:moveTo>
                    <a:pt x="360" y="0"/>
                  </a:moveTo>
                  <a:cubicBezTo>
                    <a:pt x="284" y="0"/>
                    <a:pt x="245" y="6"/>
                    <a:pt x="216" y="21"/>
                  </a:cubicBezTo>
                  <a:cubicBezTo>
                    <a:pt x="173" y="44"/>
                    <a:pt x="164" y="81"/>
                    <a:pt x="157" y="109"/>
                  </a:cubicBezTo>
                  <a:cubicBezTo>
                    <a:pt x="155" y="116"/>
                    <a:pt x="153" y="123"/>
                    <a:pt x="150" y="131"/>
                  </a:cubicBezTo>
                  <a:cubicBezTo>
                    <a:pt x="148" y="138"/>
                    <a:pt x="146" y="146"/>
                    <a:pt x="143" y="154"/>
                  </a:cubicBezTo>
                  <a:cubicBezTo>
                    <a:pt x="135" y="184"/>
                    <a:pt x="125" y="217"/>
                    <a:pt x="103" y="249"/>
                  </a:cubicBezTo>
                  <a:cubicBezTo>
                    <a:pt x="70" y="299"/>
                    <a:pt x="46" y="342"/>
                    <a:pt x="30" y="387"/>
                  </a:cubicBezTo>
                  <a:cubicBezTo>
                    <a:pt x="10" y="440"/>
                    <a:pt x="0" y="494"/>
                    <a:pt x="0" y="552"/>
                  </a:cubicBezTo>
                  <a:cubicBezTo>
                    <a:pt x="0" y="648"/>
                    <a:pt x="38" y="738"/>
                    <a:pt x="106" y="806"/>
                  </a:cubicBezTo>
                  <a:cubicBezTo>
                    <a:pt x="129" y="761"/>
                    <a:pt x="129" y="761"/>
                    <a:pt x="129" y="761"/>
                  </a:cubicBezTo>
                  <a:cubicBezTo>
                    <a:pt x="77" y="704"/>
                    <a:pt x="48" y="630"/>
                    <a:pt x="48" y="552"/>
                  </a:cubicBezTo>
                  <a:cubicBezTo>
                    <a:pt x="48" y="500"/>
                    <a:pt x="57" y="452"/>
                    <a:pt x="75" y="404"/>
                  </a:cubicBezTo>
                  <a:cubicBezTo>
                    <a:pt x="90" y="363"/>
                    <a:pt x="112" y="322"/>
                    <a:pt x="143" y="276"/>
                  </a:cubicBezTo>
                  <a:cubicBezTo>
                    <a:pt x="169" y="238"/>
                    <a:pt x="180" y="199"/>
                    <a:pt x="189" y="168"/>
                  </a:cubicBezTo>
                  <a:cubicBezTo>
                    <a:pt x="192" y="160"/>
                    <a:pt x="194" y="153"/>
                    <a:pt x="196" y="146"/>
                  </a:cubicBezTo>
                  <a:cubicBezTo>
                    <a:pt x="199" y="137"/>
                    <a:pt x="201" y="128"/>
                    <a:pt x="203" y="121"/>
                  </a:cubicBezTo>
                  <a:cubicBezTo>
                    <a:pt x="209" y="97"/>
                    <a:pt x="215" y="76"/>
                    <a:pt x="239" y="63"/>
                  </a:cubicBezTo>
                  <a:cubicBezTo>
                    <a:pt x="260" y="52"/>
                    <a:pt x="294" y="48"/>
                    <a:pt x="360" y="48"/>
                  </a:cubicBezTo>
                  <a:cubicBezTo>
                    <a:pt x="426" y="48"/>
                    <a:pt x="460" y="52"/>
                    <a:pt x="481" y="63"/>
                  </a:cubicBezTo>
                  <a:cubicBezTo>
                    <a:pt x="482" y="64"/>
                    <a:pt x="482" y="64"/>
                    <a:pt x="482" y="64"/>
                  </a:cubicBezTo>
                  <a:cubicBezTo>
                    <a:pt x="504" y="21"/>
                    <a:pt x="504" y="21"/>
                    <a:pt x="504" y="21"/>
                  </a:cubicBezTo>
                  <a:cubicBezTo>
                    <a:pt x="475" y="6"/>
                    <a:pt x="436" y="0"/>
                    <a:pt x="360" y="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114" name="文本框 113">
              <a:extLst>
                <a:ext uri="{FF2B5EF4-FFF2-40B4-BE49-F238E27FC236}">
                  <a16:creationId xmlns:a16="http://schemas.microsoft.com/office/drawing/2014/main" id="{89B57133-A50B-4FFC-9FAC-DD40FAAA8FBA}"/>
                </a:ext>
              </a:extLst>
            </p:cNvPr>
            <p:cNvSpPr txBox="1"/>
            <p:nvPr/>
          </p:nvSpPr>
          <p:spPr>
            <a:xfrm>
              <a:off x="9760322" y="3768172"/>
              <a:ext cx="684083" cy="5847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40" tIns="45720" rIns="91440" bIns="45720" anchor="t" anchorCtr="0">
              <a:norm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3200" dirty="0">
                  <a:solidFill>
                    <a:schemeClr val="lt1"/>
                  </a:solidFill>
                </a:rPr>
                <a:t>A</a:t>
              </a:r>
              <a:endParaRPr dirty="0"/>
            </a:p>
          </p:txBody>
        </p:sp>
      </p:grpSp>
      <p:sp>
        <p:nvSpPr>
          <p:cNvPr id="56" name="矩形 55">
            <a:extLst>
              <a:ext uri="{FF2B5EF4-FFF2-40B4-BE49-F238E27FC236}">
                <a16:creationId xmlns:a16="http://schemas.microsoft.com/office/drawing/2014/main" id="{57035871-9D4C-4727-9AA6-9B49751CA163}"/>
              </a:ext>
            </a:extLst>
          </p:cNvPr>
          <p:cNvSpPr/>
          <p:nvPr/>
        </p:nvSpPr>
        <p:spPr bwMode="auto">
          <a:xfrm>
            <a:off x="914192" y="4391301"/>
            <a:ext cx="2520950" cy="658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option to retain text……</a:t>
            </a:r>
          </a:p>
        </p:txBody>
      </p:sp>
      <p:sp>
        <p:nvSpPr>
          <p:cNvPr id="91" name="任意多边形: 形状 90">
            <a:extLst>
              <a:ext uri="{FF2B5EF4-FFF2-40B4-BE49-F238E27FC236}">
                <a16:creationId xmlns:a16="http://schemas.microsoft.com/office/drawing/2014/main" id="{E8FC4442-60D0-46CA-8936-7C1DA80FA4CE}"/>
              </a:ext>
            </a:extLst>
          </p:cNvPr>
          <p:cNvSpPr/>
          <p:nvPr/>
        </p:nvSpPr>
        <p:spPr>
          <a:xfrm>
            <a:off x="4704676" y="1257585"/>
            <a:ext cx="83520" cy="1027001"/>
          </a:xfrm>
          <a:custGeom>
            <a:avLst/>
            <a:gdLst>
              <a:gd name="connsiteX0" fmla="*/ 0 w 63849"/>
              <a:gd name="connsiteY0" fmla="*/ 0 h 1441893"/>
              <a:gd name="connsiteX1" fmla="*/ 63849 w 63849"/>
              <a:gd name="connsiteY1" fmla="*/ 0 h 1441893"/>
              <a:gd name="connsiteX2" fmla="*/ 63849 w 63849"/>
              <a:gd name="connsiteY2" fmla="*/ 9539 h 1441893"/>
              <a:gd name="connsiteX3" fmla="*/ 63849 w 63849"/>
              <a:gd name="connsiteY3" fmla="*/ 1441893 h 1441893"/>
              <a:gd name="connsiteX4" fmla="*/ 0 w 63849"/>
              <a:gd name="connsiteY4" fmla="*/ 1441893 h 1441893"/>
              <a:gd name="connsiteX5" fmla="*/ 0 w 63849"/>
              <a:gd name="connsiteY5" fmla="*/ 138519 h 1441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849" h="1441893">
                <a:moveTo>
                  <a:pt x="0" y="0"/>
                </a:moveTo>
                <a:lnTo>
                  <a:pt x="63849" y="0"/>
                </a:lnTo>
                <a:lnTo>
                  <a:pt x="63849" y="9539"/>
                </a:lnTo>
                <a:cubicBezTo>
                  <a:pt x="63849" y="391953"/>
                  <a:pt x="63849" y="862616"/>
                  <a:pt x="63849" y="1441893"/>
                </a:cubicBezTo>
                <a:lnTo>
                  <a:pt x="0" y="1441893"/>
                </a:lnTo>
                <a:cubicBezTo>
                  <a:pt x="0" y="1441893"/>
                  <a:pt x="0" y="1441893"/>
                  <a:pt x="0" y="1385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40" tIns="45720" rIns="91440" bIns="45720" anchor="t" anchorCtr="0">
            <a:norm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dk1"/>
              </a:solidFill>
            </a:endParaRPr>
          </a:p>
        </p:txBody>
      </p:sp>
      <p:grpSp>
        <p:nvGrpSpPr>
          <p:cNvPr id="92" name="组合 91">
            <a:extLst>
              <a:ext uri="{FF2B5EF4-FFF2-40B4-BE49-F238E27FC236}">
                <a16:creationId xmlns:a16="http://schemas.microsoft.com/office/drawing/2014/main" id="{FF1721F8-1997-4045-B5B3-4F1C7380ABDD}"/>
              </a:ext>
            </a:extLst>
          </p:cNvPr>
          <p:cNvGrpSpPr/>
          <p:nvPr/>
        </p:nvGrpSpPr>
        <p:grpSpPr>
          <a:xfrm>
            <a:off x="4108142" y="2273301"/>
            <a:ext cx="1276589" cy="2417864"/>
            <a:chOff x="9448845" y="2822347"/>
            <a:chExt cx="1276589" cy="2417864"/>
          </a:xfrm>
        </p:grpSpPr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B9543B2C-29D8-4D1A-956B-0EDF00224FFE}"/>
                </a:ext>
              </a:extLst>
            </p:cNvPr>
            <p:cNvSpPr/>
            <p:nvPr/>
          </p:nvSpPr>
          <p:spPr>
            <a:xfrm>
              <a:off x="10294894" y="4938148"/>
              <a:ext cx="179051" cy="232355"/>
            </a:xfrm>
            <a:custGeom>
              <a:avLst/>
              <a:gdLst/>
              <a:ahLst/>
              <a:cxnLst/>
              <a:rect l="l" t="t" r="r" b="b"/>
              <a:pathLst>
                <a:path w="101" h="131" extrusionOk="0">
                  <a:moveTo>
                    <a:pt x="73" y="131"/>
                  </a:moveTo>
                  <a:cubicBezTo>
                    <a:pt x="65" y="131"/>
                    <a:pt x="57" y="127"/>
                    <a:pt x="52" y="11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0" y="28"/>
                    <a:pt x="4" y="13"/>
                    <a:pt x="15" y="6"/>
                  </a:cubicBezTo>
                  <a:cubicBezTo>
                    <a:pt x="26" y="0"/>
                    <a:pt x="41" y="4"/>
                    <a:pt x="48" y="15"/>
                  </a:cubicBezTo>
                  <a:cubicBezTo>
                    <a:pt x="94" y="95"/>
                    <a:pt x="94" y="95"/>
                    <a:pt x="94" y="95"/>
                  </a:cubicBezTo>
                  <a:cubicBezTo>
                    <a:pt x="101" y="106"/>
                    <a:pt x="97" y="121"/>
                    <a:pt x="85" y="128"/>
                  </a:cubicBezTo>
                  <a:cubicBezTo>
                    <a:pt x="81" y="130"/>
                    <a:pt x="77" y="131"/>
                    <a:pt x="73" y="1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 fontScale="77500" lnSpcReduction="20000"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246428A6-5456-4F87-849C-D65019CB08D2}"/>
                </a:ext>
              </a:extLst>
            </p:cNvPr>
            <p:cNvSpPr/>
            <p:nvPr/>
          </p:nvSpPr>
          <p:spPr>
            <a:xfrm>
              <a:off x="9700337" y="4938148"/>
              <a:ext cx="179051" cy="232355"/>
            </a:xfrm>
            <a:custGeom>
              <a:avLst/>
              <a:gdLst/>
              <a:ahLst/>
              <a:cxnLst/>
              <a:rect l="l" t="t" r="r" b="b"/>
              <a:pathLst>
                <a:path w="101" h="131" extrusionOk="0">
                  <a:moveTo>
                    <a:pt x="28" y="131"/>
                  </a:moveTo>
                  <a:cubicBezTo>
                    <a:pt x="24" y="131"/>
                    <a:pt x="20" y="130"/>
                    <a:pt x="16" y="128"/>
                  </a:cubicBezTo>
                  <a:cubicBezTo>
                    <a:pt x="4" y="121"/>
                    <a:pt x="0" y="106"/>
                    <a:pt x="7" y="95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60" y="4"/>
                    <a:pt x="75" y="0"/>
                    <a:pt x="86" y="6"/>
                  </a:cubicBezTo>
                  <a:cubicBezTo>
                    <a:pt x="97" y="13"/>
                    <a:pt x="101" y="28"/>
                    <a:pt x="95" y="39"/>
                  </a:cubicBezTo>
                  <a:cubicBezTo>
                    <a:pt x="49" y="119"/>
                    <a:pt x="49" y="119"/>
                    <a:pt x="49" y="119"/>
                  </a:cubicBezTo>
                  <a:cubicBezTo>
                    <a:pt x="44" y="127"/>
                    <a:pt x="36" y="131"/>
                    <a:pt x="28" y="13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 fontScale="77500" lnSpcReduction="20000"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10627B31-2895-4350-BCA7-3AF17F7B8F75}"/>
                </a:ext>
              </a:extLst>
            </p:cNvPr>
            <p:cNvSpPr/>
            <p:nvPr/>
          </p:nvSpPr>
          <p:spPr>
            <a:xfrm>
              <a:off x="10044769" y="4994188"/>
              <a:ext cx="84741" cy="246023"/>
            </a:xfrm>
            <a:custGeom>
              <a:avLst/>
              <a:gdLst/>
              <a:ahLst/>
              <a:cxnLst/>
              <a:rect l="l" t="t" r="r" b="b"/>
              <a:pathLst>
                <a:path w="48" h="140" extrusionOk="0">
                  <a:moveTo>
                    <a:pt x="24" y="140"/>
                  </a:moveTo>
                  <a:cubicBezTo>
                    <a:pt x="11" y="140"/>
                    <a:pt x="0" y="129"/>
                    <a:pt x="0" y="1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116"/>
                    <a:pt x="48" y="116"/>
                    <a:pt x="48" y="116"/>
                  </a:cubicBezTo>
                  <a:cubicBezTo>
                    <a:pt x="48" y="129"/>
                    <a:pt x="37" y="140"/>
                    <a:pt x="24" y="14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 fontScale="85000" lnSpcReduction="20000"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3374321E-55EC-4C06-9916-E19759BAA660}"/>
                </a:ext>
              </a:extLst>
            </p:cNvPr>
            <p:cNvSpPr/>
            <p:nvPr/>
          </p:nvSpPr>
          <p:spPr>
            <a:xfrm>
              <a:off x="9518553" y="3330795"/>
              <a:ext cx="1137175" cy="1482975"/>
            </a:xfrm>
            <a:custGeom>
              <a:avLst/>
              <a:gdLst/>
              <a:ahLst/>
              <a:cxnLst/>
              <a:rect l="l" t="t" r="r" b="b"/>
              <a:pathLst>
                <a:path w="642" h="840" extrusionOk="0">
                  <a:moveTo>
                    <a:pt x="94" y="746"/>
                  </a:moveTo>
                  <a:cubicBezTo>
                    <a:pt x="155" y="807"/>
                    <a:pt x="235" y="840"/>
                    <a:pt x="321" y="840"/>
                  </a:cubicBezTo>
                  <a:cubicBezTo>
                    <a:pt x="407" y="840"/>
                    <a:pt x="487" y="807"/>
                    <a:pt x="548" y="746"/>
                  </a:cubicBezTo>
                  <a:cubicBezTo>
                    <a:pt x="609" y="685"/>
                    <a:pt x="642" y="605"/>
                    <a:pt x="642" y="519"/>
                  </a:cubicBezTo>
                  <a:cubicBezTo>
                    <a:pt x="642" y="466"/>
                    <a:pt x="633" y="416"/>
                    <a:pt x="615" y="366"/>
                  </a:cubicBezTo>
                  <a:cubicBezTo>
                    <a:pt x="599" y="324"/>
                    <a:pt x="577" y="283"/>
                    <a:pt x="544" y="235"/>
                  </a:cubicBezTo>
                  <a:cubicBezTo>
                    <a:pt x="517" y="196"/>
                    <a:pt x="506" y="156"/>
                    <a:pt x="497" y="123"/>
                  </a:cubicBezTo>
                  <a:cubicBezTo>
                    <a:pt x="494" y="115"/>
                    <a:pt x="492" y="108"/>
                    <a:pt x="490" y="101"/>
                  </a:cubicBezTo>
                  <a:cubicBezTo>
                    <a:pt x="487" y="92"/>
                    <a:pt x="485" y="83"/>
                    <a:pt x="483" y="75"/>
                  </a:cubicBezTo>
                  <a:cubicBezTo>
                    <a:pt x="476" y="51"/>
                    <a:pt x="471" y="29"/>
                    <a:pt x="446" y="16"/>
                  </a:cubicBezTo>
                  <a:cubicBezTo>
                    <a:pt x="424" y="4"/>
                    <a:pt x="389" y="0"/>
                    <a:pt x="321" y="0"/>
                  </a:cubicBezTo>
                  <a:cubicBezTo>
                    <a:pt x="253" y="0"/>
                    <a:pt x="218" y="4"/>
                    <a:pt x="196" y="16"/>
                  </a:cubicBezTo>
                  <a:cubicBezTo>
                    <a:pt x="171" y="29"/>
                    <a:pt x="166" y="51"/>
                    <a:pt x="159" y="75"/>
                  </a:cubicBezTo>
                  <a:cubicBezTo>
                    <a:pt x="157" y="83"/>
                    <a:pt x="155" y="92"/>
                    <a:pt x="152" y="101"/>
                  </a:cubicBezTo>
                  <a:cubicBezTo>
                    <a:pt x="150" y="108"/>
                    <a:pt x="148" y="115"/>
                    <a:pt x="145" y="123"/>
                  </a:cubicBezTo>
                  <a:cubicBezTo>
                    <a:pt x="136" y="156"/>
                    <a:pt x="125" y="196"/>
                    <a:pt x="98" y="235"/>
                  </a:cubicBezTo>
                  <a:cubicBezTo>
                    <a:pt x="65" y="283"/>
                    <a:pt x="43" y="324"/>
                    <a:pt x="27" y="366"/>
                  </a:cubicBezTo>
                  <a:cubicBezTo>
                    <a:pt x="9" y="416"/>
                    <a:pt x="0" y="466"/>
                    <a:pt x="0" y="519"/>
                  </a:cubicBezTo>
                  <a:cubicBezTo>
                    <a:pt x="0" y="605"/>
                    <a:pt x="33" y="685"/>
                    <a:pt x="94" y="746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27D82E09-335A-472D-A421-7EA66541F5D4}"/>
                </a:ext>
              </a:extLst>
            </p:cNvPr>
            <p:cNvSpPr/>
            <p:nvPr/>
          </p:nvSpPr>
          <p:spPr>
            <a:xfrm>
              <a:off x="9800113" y="2822347"/>
              <a:ext cx="574055" cy="220055"/>
            </a:xfrm>
            <a:custGeom>
              <a:avLst/>
              <a:gdLst/>
              <a:ahLst/>
              <a:cxnLst/>
              <a:rect l="l" t="t" r="r" b="b"/>
              <a:pathLst>
                <a:path w="324" h="125" extrusionOk="0">
                  <a:moveTo>
                    <a:pt x="146" y="0"/>
                  </a:moveTo>
                  <a:cubicBezTo>
                    <a:pt x="100" y="6"/>
                    <a:pt x="62" y="36"/>
                    <a:pt x="45" y="78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11" y="78"/>
                    <a:pt x="0" y="88"/>
                    <a:pt x="0" y="101"/>
                  </a:cubicBezTo>
                  <a:cubicBezTo>
                    <a:pt x="0" y="114"/>
                    <a:pt x="11" y="125"/>
                    <a:pt x="24" y="125"/>
                  </a:cubicBezTo>
                  <a:cubicBezTo>
                    <a:pt x="36" y="125"/>
                    <a:pt x="36" y="125"/>
                    <a:pt x="36" y="125"/>
                  </a:cubicBezTo>
                  <a:cubicBezTo>
                    <a:pt x="288" y="125"/>
                    <a:pt x="288" y="125"/>
                    <a:pt x="288" y="125"/>
                  </a:cubicBezTo>
                  <a:cubicBezTo>
                    <a:pt x="300" y="125"/>
                    <a:pt x="300" y="125"/>
                    <a:pt x="300" y="125"/>
                  </a:cubicBezTo>
                  <a:cubicBezTo>
                    <a:pt x="313" y="125"/>
                    <a:pt x="324" y="114"/>
                    <a:pt x="324" y="101"/>
                  </a:cubicBezTo>
                  <a:cubicBezTo>
                    <a:pt x="324" y="88"/>
                    <a:pt x="313" y="78"/>
                    <a:pt x="300" y="78"/>
                  </a:cubicBezTo>
                  <a:cubicBezTo>
                    <a:pt x="279" y="78"/>
                    <a:pt x="279" y="78"/>
                    <a:pt x="279" y="78"/>
                  </a:cubicBezTo>
                  <a:cubicBezTo>
                    <a:pt x="263" y="37"/>
                    <a:pt x="226" y="7"/>
                    <a:pt x="182" y="0"/>
                  </a:cubicBezTo>
                  <a:lnTo>
                    <a:pt x="146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 fontScale="70000" lnSpcReduction="20000"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5675328F-1176-45A8-B3B3-12185485FD4F}"/>
                </a:ext>
              </a:extLst>
            </p:cNvPr>
            <p:cNvSpPr/>
            <p:nvPr/>
          </p:nvSpPr>
          <p:spPr>
            <a:xfrm>
              <a:off x="9800113" y="3159946"/>
              <a:ext cx="574055" cy="84741"/>
            </a:xfrm>
            <a:custGeom>
              <a:avLst/>
              <a:gdLst/>
              <a:ahLst/>
              <a:cxnLst/>
              <a:rect l="l" t="t" r="r" b="b"/>
              <a:pathLst>
                <a:path w="324" h="48" extrusionOk="0">
                  <a:moveTo>
                    <a:pt x="24" y="48"/>
                  </a:moveTo>
                  <a:cubicBezTo>
                    <a:pt x="300" y="48"/>
                    <a:pt x="300" y="48"/>
                    <a:pt x="300" y="48"/>
                  </a:cubicBezTo>
                  <a:cubicBezTo>
                    <a:pt x="313" y="48"/>
                    <a:pt x="324" y="37"/>
                    <a:pt x="324" y="24"/>
                  </a:cubicBezTo>
                  <a:cubicBezTo>
                    <a:pt x="324" y="11"/>
                    <a:pt x="313" y="0"/>
                    <a:pt x="30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 fontScale="25000" lnSpcReduction="20000"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7B880FBC-D61D-4CFE-95BF-EA89D0FB9E03}"/>
                </a:ext>
              </a:extLst>
            </p:cNvPr>
            <p:cNvSpPr/>
            <p:nvPr/>
          </p:nvSpPr>
          <p:spPr>
            <a:xfrm>
              <a:off x="9800113" y="3060170"/>
              <a:ext cx="574055" cy="83375"/>
            </a:xfrm>
            <a:custGeom>
              <a:avLst/>
              <a:gdLst/>
              <a:ahLst/>
              <a:cxnLst/>
              <a:rect l="l" t="t" r="r" b="b"/>
              <a:pathLst>
                <a:path w="324" h="47" extrusionOk="0">
                  <a:moveTo>
                    <a:pt x="24" y="47"/>
                  </a:moveTo>
                  <a:cubicBezTo>
                    <a:pt x="300" y="47"/>
                    <a:pt x="300" y="47"/>
                    <a:pt x="300" y="47"/>
                  </a:cubicBezTo>
                  <a:cubicBezTo>
                    <a:pt x="313" y="47"/>
                    <a:pt x="324" y="36"/>
                    <a:pt x="324" y="23"/>
                  </a:cubicBezTo>
                  <a:cubicBezTo>
                    <a:pt x="324" y="10"/>
                    <a:pt x="313" y="0"/>
                    <a:pt x="30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0"/>
                    <a:pt x="0" y="23"/>
                  </a:cubicBezTo>
                  <a:cubicBezTo>
                    <a:pt x="0" y="36"/>
                    <a:pt x="11" y="47"/>
                    <a:pt x="24" y="4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 fontScale="25000" lnSpcReduction="20000"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0B4557F0-DF81-466C-A6F3-FF4661A495DD}"/>
                </a:ext>
              </a:extLst>
            </p:cNvPr>
            <p:cNvSpPr/>
            <p:nvPr/>
          </p:nvSpPr>
          <p:spPr>
            <a:xfrm>
              <a:off x="9448846" y="3265189"/>
              <a:ext cx="1276588" cy="1610087"/>
            </a:xfrm>
            <a:custGeom>
              <a:avLst/>
              <a:gdLst/>
              <a:ahLst/>
              <a:cxnLst/>
              <a:rect l="l" t="t" r="r" b="b"/>
              <a:pathLst>
                <a:path w="720" h="912" extrusionOk="0">
                  <a:moveTo>
                    <a:pt x="360" y="0"/>
                  </a:moveTo>
                  <a:cubicBezTo>
                    <a:pt x="284" y="0"/>
                    <a:pt x="245" y="6"/>
                    <a:pt x="216" y="21"/>
                  </a:cubicBezTo>
                  <a:cubicBezTo>
                    <a:pt x="173" y="44"/>
                    <a:pt x="164" y="81"/>
                    <a:pt x="157" y="109"/>
                  </a:cubicBezTo>
                  <a:cubicBezTo>
                    <a:pt x="155" y="116"/>
                    <a:pt x="153" y="123"/>
                    <a:pt x="150" y="131"/>
                  </a:cubicBezTo>
                  <a:cubicBezTo>
                    <a:pt x="148" y="138"/>
                    <a:pt x="146" y="146"/>
                    <a:pt x="143" y="154"/>
                  </a:cubicBezTo>
                  <a:cubicBezTo>
                    <a:pt x="135" y="184"/>
                    <a:pt x="125" y="217"/>
                    <a:pt x="103" y="249"/>
                  </a:cubicBezTo>
                  <a:cubicBezTo>
                    <a:pt x="70" y="299"/>
                    <a:pt x="46" y="342"/>
                    <a:pt x="30" y="387"/>
                  </a:cubicBezTo>
                  <a:cubicBezTo>
                    <a:pt x="10" y="440"/>
                    <a:pt x="0" y="494"/>
                    <a:pt x="0" y="552"/>
                  </a:cubicBezTo>
                  <a:cubicBezTo>
                    <a:pt x="0" y="648"/>
                    <a:pt x="38" y="738"/>
                    <a:pt x="106" y="806"/>
                  </a:cubicBezTo>
                  <a:cubicBezTo>
                    <a:pt x="174" y="874"/>
                    <a:pt x="264" y="912"/>
                    <a:pt x="360" y="912"/>
                  </a:cubicBezTo>
                  <a:cubicBezTo>
                    <a:pt x="456" y="912"/>
                    <a:pt x="546" y="874"/>
                    <a:pt x="614" y="806"/>
                  </a:cubicBezTo>
                  <a:cubicBezTo>
                    <a:pt x="682" y="738"/>
                    <a:pt x="720" y="648"/>
                    <a:pt x="720" y="552"/>
                  </a:cubicBezTo>
                  <a:cubicBezTo>
                    <a:pt x="720" y="494"/>
                    <a:pt x="710" y="440"/>
                    <a:pt x="690" y="387"/>
                  </a:cubicBezTo>
                  <a:cubicBezTo>
                    <a:pt x="674" y="342"/>
                    <a:pt x="650" y="299"/>
                    <a:pt x="617" y="249"/>
                  </a:cubicBezTo>
                  <a:cubicBezTo>
                    <a:pt x="595" y="217"/>
                    <a:pt x="585" y="184"/>
                    <a:pt x="577" y="154"/>
                  </a:cubicBezTo>
                  <a:cubicBezTo>
                    <a:pt x="574" y="146"/>
                    <a:pt x="572" y="138"/>
                    <a:pt x="570" y="131"/>
                  </a:cubicBezTo>
                  <a:cubicBezTo>
                    <a:pt x="567" y="123"/>
                    <a:pt x="565" y="116"/>
                    <a:pt x="563" y="109"/>
                  </a:cubicBezTo>
                  <a:cubicBezTo>
                    <a:pt x="556" y="81"/>
                    <a:pt x="547" y="44"/>
                    <a:pt x="504" y="21"/>
                  </a:cubicBezTo>
                  <a:cubicBezTo>
                    <a:pt x="475" y="6"/>
                    <a:pt x="436" y="0"/>
                    <a:pt x="360" y="0"/>
                  </a:cubicBezTo>
                  <a:moveTo>
                    <a:pt x="524" y="146"/>
                  </a:moveTo>
                  <a:cubicBezTo>
                    <a:pt x="526" y="153"/>
                    <a:pt x="528" y="160"/>
                    <a:pt x="531" y="168"/>
                  </a:cubicBezTo>
                  <a:cubicBezTo>
                    <a:pt x="540" y="199"/>
                    <a:pt x="551" y="238"/>
                    <a:pt x="577" y="276"/>
                  </a:cubicBezTo>
                  <a:cubicBezTo>
                    <a:pt x="608" y="322"/>
                    <a:pt x="630" y="363"/>
                    <a:pt x="645" y="404"/>
                  </a:cubicBezTo>
                  <a:cubicBezTo>
                    <a:pt x="663" y="452"/>
                    <a:pt x="672" y="500"/>
                    <a:pt x="672" y="552"/>
                  </a:cubicBezTo>
                  <a:cubicBezTo>
                    <a:pt x="672" y="635"/>
                    <a:pt x="639" y="714"/>
                    <a:pt x="580" y="772"/>
                  </a:cubicBezTo>
                  <a:cubicBezTo>
                    <a:pt x="522" y="831"/>
                    <a:pt x="443" y="864"/>
                    <a:pt x="360" y="864"/>
                  </a:cubicBezTo>
                  <a:cubicBezTo>
                    <a:pt x="277" y="864"/>
                    <a:pt x="198" y="831"/>
                    <a:pt x="140" y="772"/>
                  </a:cubicBezTo>
                  <a:cubicBezTo>
                    <a:pt x="81" y="714"/>
                    <a:pt x="48" y="635"/>
                    <a:pt x="48" y="552"/>
                  </a:cubicBezTo>
                  <a:cubicBezTo>
                    <a:pt x="48" y="500"/>
                    <a:pt x="57" y="452"/>
                    <a:pt x="75" y="404"/>
                  </a:cubicBezTo>
                  <a:cubicBezTo>
                    <a:pt x="90" y="363"/>
                    <a:pt x="112" y="322"/>
                    <a:pt x="143" y="276"/>
                  </a:cubicBezTo>
                  <a:cubicBezTo>
                    <a:pt x="169" y="238"/>
                    <a:pt x="180" y="199"/>
                    <a:pt x="189" y="168"/>
                  </a:cubicBezTo>
                  <a:cubicBezTo>
                    <a:pt x="192" y="160"/>
                    <a:pt x="194" y="153"/>
                    <a:pt x="196" y="146"/>
                  </a:cubicBezTo>
                  <a:cubicBezTo>
                    <a:pt x="199" y="137"/>
                    <a:pt x="201" y="128"/>
                    <a:pt x="203" y="121"/>
                  </a:cubicBezTo>
                  <a:cubicBezTo>
                    <a:pt x="209" y="97"/>
                    <a:pt x="215" y="76"/>
                    <a:pt x="239" y="63"/>
                  </a:cubicBezTo>
                  <a:cubicBezTo>
                    <a:pt x="260" y="52"/>
                    <a:pt x="294" y="48"/>
                    <a:pt x="360" y="48"/>
                  </a:cubicBezTo>
                  <a:cubicBezTo>
                    <a:pt x="426" y="48"/>
                    <a:pt x="460" y="52"/>
                    <a:pt x="481" y="63"/>
                  </a:cubicBezTo>
                  <a:cubicBezTo>
                    <a:pt x="505" y="76"/>
                    <a:pt x="511" y="97"/>
                    <a:pt x="517" y="121"/>
                  </a:cubicBezTo>
                  <a:cubicBezTo>
                    <a:pt x="519" y="128"/>
                    <a:pt x="521" y="137"/>
                    <a:pt x="524" y="146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79C28798-932D-42D4-8CC4-204CD6E23428}"/>
                </a:ext>
              </a:extLst>
            </p:cNvPr>
            <p:cNvSpPr/>
            <p:nvPr/>
          </p:nvSpPr>
          <p:spPr>
            <a:xfrm>
              <a:off x="9448845" y="3265189"/>
              <a:ext cx="893885" cy="1422836"/>
            </a:xfrm>
            <a:custGeom>
              <a:avLst/>
              <a:gdLst/>
              <a:ahLst/>
              <a:cxnLst/>
              <a:rect l="l" t="t" r="r" b="b"/>
              <a:pathLst>
                <a:path w="504" h="806" extrusionOk="0">
                  <a:moveTo>
                    <a:pt x="360" y="0"/>
                  </a:moveTo>
                  <a:cubicBezTo>
                    <a:pt x="284" y="0"/>
                    <a:pt x="245" y="6"/>
                    <a:pt x="216" y="21"/>
                  </a:cubicBezTo>
                  <a:cubicBezTo>
                    <a:pt x="173" y="44"/>
                    <a:pt x="164" y="81"/>
                    <a:pt x="157" y="109"/>
                  </a:cubicBezTo>
                  <a:cubicBezTo>
                    <a:pt x="155" y="116"/>
                    <a:pt x="153" y="123"/>
                    <a:pt x="150" y="131"/>
                  </a:cubicBezTo>
                  <a:cubicBezTo>
                    <a:pt x="148" y="138"/>
                    <a:pt x="146" y="146"/>
                    <a:pt x="143" y="154"/>
                  </a:cubicBezTo>
                  <a:cubicBezTo>
                    <a:pt x="135" y="184"/>
                    <a:pt x="125" y="217"/>
                    <a:pt x="103" y="249"/>
                  </a:cubicBezTo>
                  <a:cubicBezTo>
                    <a:pt x="70" y="299"/>
                    <a:pt x="46" y="342"/>
                    <a:pt x="30" y="387"/>
                  </a:cubicBezTo>
                  <a:cubicBezTo>
                    <a:pt x="10" y="440"/>
                    <a:pt x="0" y="494"/>
                    <a:pt x="0" y="552"/>
                  </a:cubicBezTo>
                  <a:cubicBezTo>
                    <a:pt x="0" y="648"/>
                    <a:pt x="38" y="738"/>
                    <a:pt x="106" y="806"/>
                  </a:cubicBezTo>
                  <a:cubicBezTo>
                    <a:pt x="129" y="761"/>
                    <a:pt x="129" y="761"/>
                    <a:pt x="129" y="761"/>
                  </a:cubicBezTo>
                  <a:cubicBezTo>
                    <a:pt x="77" y="704"/>
                    <a:pt x="48" y="630"/>
                    <a:pt x="48" y="552"/>
                  </a:cubicBezTo>
                  <a:cubicBezTo>
                    <a:pt x="48" y="500"/>
                    <a:pt x="57" y="452"/>
                    <a:pt x="75" y="404"/>
                  </a:cubicBezTo>
                  <a:cubicBezTo>
                    <a:pt x="90" y="363"/>
                    <a:pt x="112" y="322"/>
                    <a:pt x="143" y="276"/>
                  </a:cubicBezTo>
                  <a:cubicBezTo>
                    <a:pt x="169" y="238"/>
                    <a:pt x="180" y="199"/>
                    <a:pt x="189" y="168"/>
                  </a:cubicBezTo>
                  <a:cubicBezTo>
                    <a:pt x="192" y="160"/>
                    <a:pt x="194" y="153"/>
                    <a:pt x="196" y="146"/>
                  </a:cubicBezTo>
                  <a:cubicBezTo>
                    <a:pt x="199" y="137"/>
                    <a:pt x="201" y="128"/>
                    <a:pt x="203" y="121"/>
                  </a:cubicBezTo>
                  <a:cubicBezTo>
                    <a:pt x="209" y="97"/>
                    <a:pt x="215" y="76"/>
                    <a:pt x="239" y="63"/>
                  </a:cubicBezTo>
                  <a:cubicBezTo>
                    <a:pt x="260" y="52"/>
                    <a:pt x="294" y="48"/>
                    <a:pt x="360" y="48"/>
                  </a:cubicBezTo>
                  <a:cubicBezTo>
                    <a:pt x="426" y="48"/>
                    <a:pt x="460" y="52"/>
                    <a:pt x="481" y="63"/>
                  </a:cubicBezTo>
                  <a:cubicBezTo>
                    <a:pt x="482" y="64"/>
                    <a:pt x="482" y="64"/>
                    <a:pt x="482" y="64"/>
                  </a:cubicBezTo>
                  <a:cubicBezTo>
                    <a:pt x="504" y="21"/>
                    <a:pt x="504" y="21"/>
                    <a:pt x="504" y="21"/>
                  </a:cubicBezTo>
                  <a:cubicBezTo>
                    <a:pt x="475" y="6"/>
                    <a:pt x="436" y="0"/>
                    <a:pt x="360" y="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102" name="文本框 101">
              <a:extLst>
                <a:ext uri="{FF2B5EF4-FFF2-40B4-BE49-F238E27FC236}">
                  <a16:creationId xmlns:a16="http://schemas.microsoft.com/office/drawing/2014/main" id="{310203FC-6954-47F1-9285-A8490239BE3F}"/>
                </a:ext>
              </a:extLst>
            </p:cNvPr>
            <p:cNvSpPr txBox="1"/>
            <p:nvPr/>
          </p:nvSpPr>
          <p:spPr>
            <a:xfrm>
              <a:off x="9760322" y="3768172"/>
              <a:ext cx="684083" cy="5847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40" tIns="45720" rIns="91440" bIns="45720" anchor="t" anchorCtr="0">
              <a:norm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3200" dirty="0">
                  <a:solidFill>
                    <a:schemeClr val="lt1"/>
                  </a:solidFill>
                </a:rPr>
                <a:t>B</a:t>
              </a:r>
              <a:endParaRPr dirty="0"/>
            </a:p>
          </p:txBody>
        </p:sp>
      </p:grpSp>
      <p:sp>
        <p:nvSpPr>
          <p:cNvPr id="58" name="矩形 57">
            <a:extLst>
              <a:ext uri="{FF2B5EF4-FFF2-40B4-BE49-F238E27FC236}">
                <a16:creationId xmlns:a16="http://schemas.microsoft.com/office/drawing/2014/main" id="{3A237C70-C6D3-4B17-8E04-2DDA3283DBD8}"/>
              </a:ext>
            </a:extLst>
          </p:cNvPr>
          <p:cNvSpPr/>
          <p:nvPr/>
        </p:nvSpPr>
        <p:spPr bwMode="auto">
          <a:xfrm>
            <a:off x="3485961" y="4756921"/>
            <a:ext cx="2520950" cy="658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option to retain text……</a:t>
            </a:r>
          </a:p>
        </p:txBody>
      </p:sp>
      <p:sp>
        <p:nvSpPr>
          <p:cNvPr id="79" name="任意多边形: 形状 78">
            <a:extLst>
              <a:ext uri="{FF2B5EF4-FFF2-40B4-BE49-F238E27FC236}">
                <a16:creationId xmlns:a16="http://schemas.microsoft.com/office/drawing/2014/main" id="{50E796DE-2ED0-440D-B27D-80832D7B28B8}"/>
              </a:ext>
            </a:extLst>
          </p:cNvPr>
          <p:cNvSpPr/>
          <p:nvPr/>
        </p:nvSpPr>
        <p:spPr>
          <a:xfrm>
            <a:off x="7276445" y="1257586"/>
            <a:ext cx="83520" cy="1385776"/>
          </a:xfrm>
          <a:custGeom>
            <a:avLst/>
            <a:gdLst>
              <a:gd name="connsiteX0" fmla="*/ 0 w 63849"/>
              <a:gd name="connsiteY0" fmla="*/ 0 h 1441893"/>
              <a:gd name="connsiteX1" fmla="*/ 63849 w 63849"/>
              <a:gd name="connsiteY1" fmla="*/ 0 h 1441893"/>
              <a:gd name="connsiteX2" fmla="*/ 63849 w 63849"/>
              <a:gd name="connsiteY2" fmla="*/ 9539 h 1441893"/>
              <a:gd name="connsiteX3" fmla="*/ 63849 w 63849"/>
              <a:gd name="connsiteY3" fmla="*/ 1441893 h 1441893"/>
              <a:gd name="connsiteX4" fmla="*/ 0 w 63849"/>
              <a:gd name="connsiteY4" fmla="*/ 1441893 h 1441893"/>
              <a:gd name="connsiteX5" fmla="*/ 0 w 63849"/>
              <a:gd name="connsiteY5" fmla="*/ 138519 h 1441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849" h="1441893">
                <a:moveTo>
                  <a:pt x="0" y="0"/>
                </a:moveTo>
                <a:lnTo>
                  <a:pt x="63849" y="0"/>
                </a:lnTo>
                <a:lnTo>
                  <a:pt x="63849" y="9539"/>
                </a:lnTo>
                <a:cubicBezTo>
                  <a:pt x="63849" y="391953"/>
                  <a:pt x="63849" y="862616"/>
                  <a:pt x="63849" y="1441893"/>
                </a:cubicBezTo>
                <a:lnTo>
                  <a:pt x="0" y="1441893"/>
                </a:lnTo>
                <a:cubicBezTo>
                  <a:pt x="0" y="1441893"/>
                  <a:pt x="0" y="1441893"/>
                  <a:pt x="0" y="1385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40" tIns="45720" rIns="91440" bIns="45720" anchor="t" anchorCtr="0">
            <a:norm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dk1"/>
              </a:solidFill>
            </a:endParaRPr>
          </a:p>
        </p:txBody>
      </p:sp>
      <p:grpSp>
        <p:nvGrpSpPr>
          <p:cNvPr id="80" name="组合 79">
            <a:extLst>
              <a:ext uri="{FF2B5EF4-FFF2-40B4-BE49-F238E27FC236}">
                <a16:creationId xmlns:a16="http://schemas.microsoft.com/office/drawing/2014/main" id="{FFF8D7B0-9AF6-43AF-B72E-4FF56BB521BD}"/>
              </a:ext>
            </a:extLst>
          </p:cNvPr>
          <p:cNvGrpSpPr/>
          <p:nvPr/>
        </p:nvGrpSpPr>
        <p:grpSpPr>
          <a:xfrm>
            <a:off x="6679911" y="2632076"/>
            <a:ext cx="1276589" cy="2417864"/>
            <a:chOff x="9448845" y="2822347"/>
            <a:chExt cx="1276589" cy="2417864"/>
          </a:xfrm>
        </p:grpSpPr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81608AB8-BD25-48E6-B2C3-01E60E8677F0}"/>
                </a:ext>
              </a:extLst>
            </p:cNvPr>
            <p:cNvSpPr/>
            <p:nvPr/>
          </p:nvSpPr>
          <p:spPr>
            <a:xfrm>
              <a:off x="10294894" y="4938148"/>
              <a:ext cx="179051" cy="232355"/>
            </a:xfrm>
            <a:custGeom>
              <a:avLst/>
              <a:gdLst/>
              <a:ahLst/>
              <a:cxnLst/>
              <a:rect l="l" t="t" r="r" b="b"/>
              <a:pathLst>
                <a:path w="101" h="131" extrusionOk="0">
                  <a:moveTo>
                    <a:pt x="73" y="131"/>
                  </a:moveTo>
                  <a:cubicBezTo>
                    <a:pt x="65" y="131"/>
                    <a:pt x="57" y="127"/>
                    <a:pt x="52" y="11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0" y="28"/>
                    <a:pt x="4" y="13"/>
                    <a:pt x="15" y="6"/>
                  </a:cubicBezTo>
                  <a:cubicBezTo>
                    <a:pt x="26" y="0"/>
                    <a:pt x="41" y="4"/>
                    <a:pt x="48" y="15"/>
                  </a:cubicBezTo>
                  <a:cubicBezTo>
                    <a:pt x="94" y="95"/>
                    <a:pt x="94" y="95"/>
                    <a:pt x="94" y="95"/>
                  </a:cubicBezTo>
                  <a:cubicBezTo>
                    <a:pt x="101" y="106"/>
                    <a:pt x="97" y="121"/>
                    <a:pt x="85" y="128"/>
                  </a:cubicBezTo>
                  <a:cubicBezTo>
                    <a:pt x="81" y="130"/>
                    <a:pt x="77" y="131"/>
                    <a:pt x="73" y="13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 fontScale="77500" lnSpcReduction="20000"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7757C69A-7FB9-4DCA-A79F-6DA508464113}"/>
                </a:ext>
              </a:extLst>
            </p:cNvPr>
            <p:cNvSpPr/>
            <p:nvPr/>
          </p:nvSpPr>
          <p:spPr>
            <a:xfrm>
              <a:off x="9700337" y="4938148"/>
              <a:ext cx="179051" cy="232355"/>
            </a:xfrm>
            <a:custGeom>
              <a:avLst/>
              <a:gdLst/>
              <a:ahLst/>
              <a:cxnLst/>
              <a:rect l="l" t="t" r="r" b="b"/>
              <a:pathLst>
                <a:path w="101" h="131" extrusionOk="0">
                  <a:moveTo>
                    <a:pt x="28" y="131"/>
                  </a:moveTo>
                  <a:cubicBezTo>
                    <a:pt x="24" y="131"/>
                    <a:pt x="20" y="130"/>
                    <a:pt x="16" y="128"/>
                  </a:cubicBezTo>
                  <a:cubicBezTo>
                    <a:pt x="4" y="121"/>
                    <a:pt x="0" y="106"/>
                    <a:pt x="7" y="95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60" y="4"/>
                    <a:pt x="75" y="0"/>
                    <a:pt x="86" y="6"/>
                  </a:cubicBezTo>
                  <a:cubicBezTo>
                    <a:pt x="97" y="13"/>
                    <a:pt x="101" y="28"/>
                    <a:pt x="95" y="39"/>
                  </a:cubicBezTo>
                  <a:cubicBezTo>
                    <a:pt x="49" y="119"/>
                    <a:pt x="49" y="119"/>
                    <a:pt x="49" y="119"/>
                  </a:cubicBezTo>
                  <a:cubicBezTo>
                    <a:pt x="44" y="127"/>
                    <a:pt x="36" y="131"/>
                    <a:pt x="28" y="13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 fontScale="77500" lnSpcReduction="20000"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D701887B-B95A-4C63-8472-6F0928B98A8D}"/>
                </a:ext>
              </a:extLst>
            </p:cNvPr>
            <p:cNvSpPr/>
            <p:nvPr/>
          </p:nvSpPr>
          <p:spPr>
            <a:xfrm>
              <a:off x="10044769" y="4994188"/>
              <a:ext cx="84741" cy="246023"/>
            </a:xfrm>
            <a:custGeom>
              <a:avLst/>
              <a:gdLst/>
              <a:ahLst/>
              <a:cxnLst/>
              <a:rect l="l" t="t" r="r" b="b"/>
              <a:pathLst>
                <a:path w="48" h="140" extrusionOk="0">
                  <a:moveTo>
                    <a:pt x="24" y="140"/>
                  </a:moveTo>
                  <a:cubicBezTo>
                    <a:pt x="11" y="140"/>
                    <a:pt x="0" y="129"/>
                    <a:pt x="0" y="1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116"/>
                    <a:pt x="48" y="116"/>
                    <a:pt x="48" y="116"/>
                  </a:cubicBezTo>
                  <a:cubicBezTo>
                    <a:pt x="48" y="129"/>
                    <a:pt x="37" y="140"/>
                    <a:pt x="24" y="14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 fontScale="85000" lnSpcReduction="20000"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27DC5C70-3B3E-4ACB-A9D7-C80E5DAB64FE}"/>
                </a:ext>
              </a:extLst>
            </p:cNvPr>
            <p:cNvSpPr/>
            <p:nvPr/>
          </p:nvSpPr>
          <p:spPr>
            <a:xfrm>
              <a:off x="9518553" y="3330795"/>
              <a:ext cx="1137175" cy="1482975"/>
            </a:xfrm>
            <a:custGeom>
              <a:avLst/>
              <a:gdLst/>
              <a:ahLst/>
              <a:cxnLst/>
              <a:rect l="l" t="t" r="r" b="b"/>
              <a:pathLst>
                <a:path w="642" h="840" extrusionOk="0">
                  <a:moveTo>
                    <a:pt x="94" y="746"/>
                  </a:moveTo>
                  <a:cubicBezTo>
                    <a:pt x="155" y="807"/>
                    <a:pt x="235" y="840"/>
                    <a:pt x="321" y="840"/>
                  </a:cubicBezTo>
                  <a:cubicBezTo>
                    <a:pt x="407" y="840"/>
                    <a:pt x="487" y="807"/>
                    <a:pt x="548" y="746"/>
                  </a:cubicBezTo>
                  <a:cubicBezTo>
                    <a:pt x="609" y="685"/>
                    <a:pt x="642" y="605"/>
                    <a:pt x="642" y="519"/>
                  </a:cubicBezTo>
                  <a:cubicBezTo>
                    <a:pt x="642" y="466"/>
                    <a:pt x="633" y="416"/>
                    <a:pt x="615" y="366"/>
                  </a:cubicBezTo>
                  <a:cubicBezTo>
                    <a:pt x="599" y="324"/>
                    <a:pt x="577" y="283"/>
                    <a:pt x="544" y="235"/>
                  </a:cubicBezTo>
                  <a:cubicBezTo>
                    <a:pt x="517" y="196"/>
                    <a:pt x="506" y="156"/>
                    <a:pt x="497" y="123"/>
                  </a:cubicBezTo>
                  <a:cubicBezTo>
                    <a:pt x="494" y="115"/>
                    <a:pt x="492" y="108"/>
                    <a:pt x="490" y="101"/>
                  </a:cubicBezTo>
                  <a:cubicBezTo>
                    <a:pt x="487" y="92"/>
                    <a:pt x="485" y="83"/>
                    <a:pt x="483" y="75"/>
                  </a:cubicBezTo>
                  <a:cubicBezTo>
                    <a:pt x="476" y="51"/>
                    <a:pt x="471" y="29"/>
                    <a:pt x="446" y="16"/>
                  </a:cubicBezTo>
                  <a:cubicBezTo>
                    <a:pt x="424" y="4"/>
                    <a:pt x="389" y="0"/>
                    <a:pt x="321" y="0"/>
                  </a:cubicBezTo>
                  <a:cubicBezTo>
                    <a:pt x="253" y="0"/>
                    <a:pt x="218" y="4"/>
                    <a:pt x="196" y="16"/>
                  </a:cubicBezTo>
                  <a:cubicBezTo>
                    <a:pt x="171" y="29"/>
                    <a:pt x="166" y="51"/>
                    <a:pt x="159" y="75"/>
                  </a:cubicBezTo>
                  <a:cubicBezTo>
                    <a:pt x="157" y="83"/>
                    <a:pt x="155" y="92"/>
                    <a:pt x="152" y="101"/>
                  </a:cubicBezTo>
                  <a:cubicBezTo>
                    <a:pt x="150" y="108"/>
                    <a:pt x="148" y="115"/>
                    <a:pt x="145" y="123"/>
                  </a:cubicBezTo>
                  <a:cubicBezTo>
                    <a:pt x="136" y="156"/>
                    <a:pt x="125" y="196"/>
                    <a:pt x="98" y="235"/>
                  </a:cubicBezTo>
                  <a:cubicBezTo>
                    <a:pt x="65" y="283"/>
                    <a:pt x="43" y="324"/>
                    <a:pt x="27" y="366"/>
                  </a:cubicBezTo>
                  <a:cubicBezTo>
                    <a:pt x="9" y="416"/>
                    <a:pt x="0" y="466"/>
                    <a:pt x="0" y="519"/>
                  </a:cubicBezTo>
                  <a:cubicBezTo>
                    <a:pt x="0" y="605"/>
                    <a:pt x="33" y="685"/>
                    <a:pt x="94" y="746"/>
                  </a:cubicBezTo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1C64887D-6611-4307-A8C5-B8EE6FBECAFA}"/>
                </a:ext>
              </a:extLst>
            </p:cNvPr>
            <p:cNvSpPr/>
            <p:nvPr/>
          </p:nvSpPr>
          <p:spPr>
            <a:xfrm>
              <a:off x="9800113" y="2822347"/>
              <a:ext cx="574055" cy="220055"/>
            </a:xfrm>
            <a:custGeom>
              <a:avLst/>
              <a:gdLst/>
              <a:ahLst/>
              <a:cxnLst/>
              <a:rect l="l" t="t" r="r" b="b"/>
              <a:pathLst>
                <a:path w="324" h="125" extrusionOk="0">
                  <a:moveTo>
                    <a:pt x="146" y="0"/>
                  </a:moveTo>
                  <a:cubicBezTo>
                    <a:pt x="100" y="6"/>
                    <a:pt x="62" y="36"/>
                    <a:pt x="45" y="78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11" y="78"/>
                    <a:pt x="0" y="88"/>
                    <a:pt x="0" y="101"/>
                  </a:cubicBezTo>
                  <a:cubicBezTo>
                    <a:pt x="0" y="114"/>
                    <a:pt x="11" y="125"/>
                    <a:pt x="24" y="125"/>
                  </a:cubicBezTo>
                  <a:cubicBezTo>
                    <a:pt x="36" y="125"/>
                    <a:pt x="36" y="125"/>
                    <a:pt x="36" y="125"/>
                  </a:cubicBezTo>
                  <a:cubicBezTo>
                    <a:pt x="288" y="125"/>
                    <a:pt x="288" y="125"/>
                    <a:pt x="288" y="125"/>
                  </a:cubicBezTo>
                  <a:cubicBezTo>
                    <a:pt x="300" y="125"/>
                    <a:pt x="300" y="125"/>
                    <a:pt x="300" y="125"/>
                  </a:cubicBezTo>
                  <a:cubicBezTo>
                    <a:pt x="313" y="125"/>
                    <a:pt x="324" y="114"/>
                    <a:pt x="324" y="101"/>
                  </a:cubicBezTo>
                  <a:cubicBezTo>
                    <a:pt x="324" y="88"/>
                    <a:pt x="313" y="78"/>
                    <a:pt x="300" y="78"/>
                  </a:cubicBezTo>
                  <a:cubicBezTo>
                    <a:pt x="279" y="78"/>
                    <a:pt x="279" y="78"/>
                    <a:pt x="279" y="78"/>
                  </a:cubicBezTo>
                  <a:cubicBezTo>
                    <a:pt x="263" y="37"/>
                    <a:pt x="226" y="7"/>
                    <a:pt x="182" y="0"/>
                  </a:cubicBezTo>
                  <a:lnTo>
                    <a:pt x="146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 fontScale="70000" lnSpcReduction="20000"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66570D02-900C-4AD5-BD90-6E9D02559D87}"/>
                </a:ext>
              </a:extLst>
            </p:cNvPr>
            <p:cNvSpPr/>
            <p:nvPr/>
          </p:nvSpPr>
          <p:spPr>
            <a:xfrm>
              <a:off x="9800113" y="3159946"/>
              <a:ext cx="574055" cy="84741"/>
            </a:xfrm>
            <a:custGeom>
              <a:avLst/>
              <a:gdLst/>
              <a:ahLst/>
              <a:cxnLst/>
              <a:rect l="l" t="t" r="r" b="b"/>
              <a:pathLst>
                <a:path w="324" h="48" extrusionOk="0">
                  <a:moveTo>
                    <a:pt x="24" y="48"/>
                  </a:moveTo>
                  <a:cubicBezTo>
                    <a:pt x="300" y="48"/>
                    <a:pt x="300" y="48"/>
                    <a:pt x="300" y="48"/>
                  </a:cubicBezTo>
                  <a:cubicBezTo>
                    <a:pt x="313" y="48"/>
                    <a:pt x="324" y="37"/>
                    <a:pt x="324" y="24"/>
                  </a:cubicBezTo>
                  <a:cubicBezTo>
                    <a:pt x="324" y="11"/>
                    <a:pt x="313" y="0"/>
                    <a:pt x="30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 fontScale="25000" lnSpcReduction="20000"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B46335CE-E7D0-4F53-8A35-700915430AE3}"/>
                </a:ext>
              </a:extLst>
            </p:cNvPr>
            <p:cNvSpPr/>
            <p:nvPr/>
          </p:nvSpPr>
          <p:spPr>
            <a:xfrm>
              <a:off x="9800113" y="3060170"/>
              <a:ext cx="574055" cy="83375"/>
            </a:xfrm>
            <a:custGeom>
              <a:avLst/>
              <a:gdLst/>
              <a:ahLst/>
              <a:cxnLst/>
              <a:rect l="l" t="t" r="r" b="b"/>
              <a:pathLst>
                <a:path w="324" h="47" extrusionOk="0">
                  <a:moveTo>
                    <a:pt x="24" y="47"/>
                  </a:moveTo>
                  <a:cubicBezTo>
                    <a:pt x="300" y="47"/>
                    <a:pt x="300" y="47"/>
                    <a:pt x="300" y="47"/>
                  </a:cubicBezTo>
                  <a:cubicBezTo>
                    <a:pt x="313" y="47"/>
                    <a:pt x="324" y="36"/>
                    <a:pt x="324" y="23"/>
                  </a:cubicBezTo>
                  <a:cubicBezTo>
                    <a:pt x="324" y="10"/>
                    <a:pt x="313" y="0"/>
                    <a:pt x="30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0"/>
                    <a:pt x="0" y="23"/>
                  </a:cubicBezTo>
                  <a:cubicBezTo>
                    <a:pt x="0" y="36"/>
                    <a:pt x="11" y="47"/>
                    <a:pt x="24" y="4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 fontScale="25000" lnSpcReduction="20000"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3ECF25E7-80A7-4885-A696-15D381FD9E4D}"/>
                </a:ext>
              </a:extLst>
            </p:cNvPr>
            <p:cNvSpPr/>
            <p:nvPr/>
          </p:nvSpPr>
          <p:spPr>
            <a:xfrm>
              <a:off x="9448846" y="3265189"/>
              <a:ext cx="1276588" cy="1610087"/>
            </a:xfrm>
            <a:custGeom>
              <a:avLst/>
              <a:gdLst/>
              <a:ahLst/>
              <a:cxnLst/>
              <a:rect l="l" t="t" r="r" b="b"/>
              <a:pathLst>
                <a:path w="720" h="912" extrusionOk="0">
                  <a:moveTo>
                    <a:pt x="360" y="0"/>
                  </a:moveTo>
                  <a:cubicBezTo>
                    <a:pt x="284" y="0"/>
                    <a:pt x="245" y="6"/>
                    <a:pt x="216" y="21"/>
                  </a:cubicBezTo>
                  <a:cubicBezTo>
                    <a:pt x="173" y="44"/>
                    <a:pt x="164" y="81"/>
                    <a:pt x="157" y="109"/>
                  </a:cubicBezTo>
                  <a:cubicBezTo>
                    <a:pt x="155" y="116"/>
                    <a:pt x="153" y="123"/>
                    <a:pt x="150" y="131"/>
                  </a:cubicBezTo>
                  <a:cubicBezTo>
                    <a:pt x="148" y="138"/>
                    <a:pt x="146" y="146"/>
                    <a:pt x="143" y="154"/>
                  </a:cubicBezTo>
                  <a:cubicBezTo>
                    <a:pt x="135" y="184"/>
                    <a:pt x="125" y="217"/>
                    <a:pt x="103" y="249"/>
                  </a:cubicBezTo>
                  <a:cubicBezTo>
                    <a:pt x="70" y="299"/>
                    <a:pt x="46" y="342"/>
                    <a:pt x="30" y="387"/>
                  </a:cubicBezTo>
                  <a:cubicBezTo>
                    <a:pt x="10" y="440"/>
                    <a:pt x="0" y="494"/>
                    <a:pt x="0" y="552"/>
                  </a:cubicBezTo>
                  <a:cubicBezTo>
                    <a:pt x="0" y="648"/>
                    <a:pt x="38" y="738"/>
                    <a:pt x="106" y="806"/>
                  </a:cubicBezTo>
                  <a:cubicBezTo>
                    <a:pt x="174" y="874"/>
                    <a:pt x="264" y="912"/>
                    <a:pt x="360" y="912"/>
                  </a:cubicBezTo>
                  <a:cubicBezTo>
                    <a:pt x="456" y="912"/>
                    <a:pt x="546" y="874"/>
                    <a:pt x="614" y="806"/>
                  </a:cubicBezTo>
                  <a:cubicBezTo>
                    <a:pt x="682" y="738"/>
                    <a:pt x="720" y="648"/>
                    <a:pt x="720" y="552"/>
                  </a:cubicBezTo>
                  <a:cubicBezTo>
                    <a:pt x="720" y="494"/>
                    <a:pt x="710" y="440"/>
                    <a:pt x="690" y="387"/>
                  </a:cubicBezTo>
                  <a:cubicBezTo>
                    <a:pt x="674" y="342"/>
                    <a:pt x="650" y="299"/>
                    <a:pt x="617" y="249"/>
                  </a:cubicBezTo>
                  <a:cubicBezTo>
                    <a:pt x="595" y="217"/>
                    <a:pt x="585" y="184"/>
                    <a:pt x="577" y="154"/>
                  </a:cubicBezTo>
                  <a:cubicBezTo>
                    <a:pt x="574" y="146"/>
                    <a:pt x="572" y="138"/>
                    <a:pt x="570" y="131"/>
                  </a:cubicBezTo>
                  <a:cubicBezTo>
                    <a:pt x="567" y="123"/>
                    <a:pt x="565" y="116"/>
                    <a:pt x="563" y="109"/>
                  </a:cubicBezTo>
                  <a:cubicBezTo>
                    <a:pt x="556" y="81"/>
                    <a:pt x="547" y="44"/>
                    <a:pt x="504" y="21"/>
                  </a:cubicBezTo>
                  <a:cubicBezTo>
                    <a:pt x="475" y="6"/>
                    <a:pt x="436" y="0"/>
                    <a:pt x="360" y="0"/>
                  </a:cubicBezTo>
                  <a:moveTo>
                    <a:pt x="524" y="146"/>
                  </a:moveTo>
                  <a:cubicBezTo>
                    <a:pt x="526" y="153"/>
                    <a:pt x="528" y="160"/>
                    <a:pt x="531" y="168"/>
                  </a:cubicBezTo>
                  <a:cubicBezTo>
                    <a:pt x="540" y="199"/>
                    <a:pt x="551" y="238"/>
                    <a:pt x="577" y="276"/>
                  </a:cubicBezTo>
                  <a:cubicBezTo>
                    <a:pt x="608" y="322"/>
                    <a:pt x="630" y="363"/>
                    <a:pt x="645" y="404"/>
                  </a:cubicBezTo>
                  <a:cubicBezTo>
                    <a:pt x="663" y="452"/>
                    <a:pt x="672" y="500"/>
                    <a:pt x="672" y="552"/>
                  </a:cubicBezTo>
                  <a:cubicBezTo>
                    <a:pt x="672" y="635"/>
                    <a:pt x="639" y="714"/>
                    <a:pt x="580" y="772"/>
                  </a:cubicBezTo>
                  <a:cubicBezTo>
                    <a:pt x="522" y="831"/>
                    <a:pt x="443" y="864"/>
                    <a:pt x="360" y="864"/>
                  </a:cubicBezTo>
                  <a:cubicBezTo>
                    <a:pt x="277" y="864"/>
                    <a:pt x="198" y="831"/>
                    <a:pt x="140" y="772"/>
                  </a:cubicBezTo>
                  <a:cubicBezTo>
                    <a:pt x="81" y="714"/>
                    <a:pt x="48" y="635"/>
                    <a:pt x="48" y="552"/>
                  </a:cubicBezTo>
                  <a:cubicBezTo>
                    <a:pt x="48" y="500"/>
                    <a:pt x="57" y="452"/>
                    <a:pt x="75" y="404"/>
                  </a:cubicBezTo>
                  <a:cubicBezTo>
                    <a:pt x="90" y="363"/>
                    <a:pt x="112" y="322"/>
                    <a:pt x="143" y="276"/>
                  </a:cubicBezTo>
                  <a:cubicBezTo>
                    <a:pt x="169" y="238"/>
                    <a:pt x="180" y="199"/>
                    <a:pt x="189" y="168"/>
                  </a:cubicBezTo>
                  <a:cubicBezTo>
                    <a:pt x="192" y="160"/>
                    <a:pt x="194" y="153"/>
                    <a:pt x="196" y="146"/>
                  </a:cubicBezTo>
                  <a:cubicBezTo>
                    <a:pt x="199" y="137"/>
                    <a:pt x="201" y="128"/>
                    <a:pt x="203" y="121"/>
                  </a:cubicBezTo>
                  <a:cubicBezTo>
                    <a:pt x="209" y="97"/>
                    <a:pt x="215" y="76"/>
                    <a:pt x="239" y="63"/>
                  </a:cubicBezTo>
                  <a:cubicBezTo>
                    <a:pt x="260" y="52"/>
                    <a:pt x="294" y="48"/>
                    <a:pt x="360" y="48"/>
                  </a:cubicBezTo>
                  <a:cubicBezTo>
                    <a:pt x="426" y="48"/>
                    <a:pt x="460" y="52"/>
                    <a:pt x="481" y="63"/>
                  </a:cubicBezTo>
                  <a:cubicBezTo>
                    <a:pt x="505" y="76"/>
                    <a:pt x="511" y="97"/>
                    <a:pt x="517" y="121"/>
                  </a:cubicBezTo>
                  <a:cubicBezTo>
                    <a:pt x="519" y="128"/>
                    <a:pt x="521" y="137"/>
                    <a:pt x="524" y="146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2DAA7C32-2EE7-4B43-8794-0D8E9EA977C0}"/>
                </a:ext>
              </a:extLst>
            </p:cNvPr>
            <p:cNvSpPr/>
            <p:nvPr/>
          </p:nvSpPr>
          <p:spPr>
            <a:xfrm>
              <a:off x="9448845" y="3265189"/>
              <a:ext cx="893885" cy="1422836"/>
            </a:xfrm>
            <a:custGeom>
              <a:avLst/>
              <a:gdLst/>
              <a:ahLst/>
              <a:cxnLst/>
              <a:rect l="l" t="t" r="r" b="b"/>
              <a:pathLst>
                <a:path w="504" h="806" extrusionOk="0">
                  <a:moveTo>
                    <a:pt x="360" y="0"/>
                  </a:moveTo>
                  <a:cubicBezTo>
                    <a:pt x="284" y="0"/>
                    <a:pt x="245" y="6"/>
                    <a:pt x="216" y="21"/>
                  </a:cubicBezTo>
                  <a:cubicBezTo>
                    <a:pt x="173" y="44"/>
                    <a:pt x="164" y="81"/>
                    <a:pt x="157" y="109"/>
                  </a:cubicBezTo>
                  <a:cubicBezTo>
                    <a:pt x="155" y="116"/>
                    <a:pt x="153" y="123"/>
                    <a:pt x="150" y="131"/>
                  </a:cubicBezTo>
                  <a:cubicBezTo>
                    <a:pt x="148" y="138"/>
                    <a:pt x="146" y="146"/>
                    <a:pt x="143" y="154"/>
                  </a:cubicBezTo>
                  <a:cubicBezTo>
                    <a:pt x="135" y="184"/>
                    <a:pt x="125" y="217"/>
                    <a:pt x="103" y="249"/>
                  </a:cubicBezTo>
                  <a:cubicBezTo>
                    <a:pt x="70" y="299"/>
                    <a:pt x="46" y="342"/>
                    <a:pt x="30" y="387"/>
                  </a:cubicBezTo>
                  <a:cubicBezTo>
                    <a:pt x="10" y="440"/>
                    <a:pt x="0" y="494"/>
                    <a:pt x="0" y="552"/>
                  </a:cubicBezTo>
                  <a:cubicBezTo>
                    <a:pt x="0" y="648"/>
                    <a:pt x="38" y="738"/>
                    <a:pt x="106" y="806"/>
                  </a:cubicBezTo>
                  <a:cubicBezTo>
                    <a:pt x="129" y="761"/>
                    <a:pt x="129" y="761"/>
                    <a:pt x="129" y="761"/>
                  </a:cubicBezTo>
                  <a:cubicBezTo>
                    <a:pt x="77" y="704"/>
                    <a:pt x="48" y="630"/>
                    <a:pt x="48" y="552"/>
                  </a:cubicBezTo>
                  <a:cubicBezTo>
                    <a:pt x="48" y="500"/>
                    <a:pt x="57" y="452"/>
                    <a:pt x="75" y="404"/>
                  </a:cubicBezTo>
                  <a:cubicBezTo>
                    <a:pt x="90" y="363"/>
                    <a:pt x="112" y="322"/>
                    <a:pt x="143" y="276"/>
                  </a:cubicBezTo>
                  <a:cubicBezTo>
                    <a:pt x="169" y="238"/>
                    <a:pt x="180" y="199"/>
                    <a:pt x="189" y="168"/>
                  </a:cubicBezTo>
                  <a:cubicBezTo>
                    <a:pt x="192" y="160"/>
                    <a:pt x="194" y="153"/>
                    <a:pt x="196" y="146"/>
                  </a:cubicBezTo>
                  <a:cubicBezTo>
                    <a:pt x="199" y="137"/>
                    <a:pt x="201" y="128"/>
                    <a:pt x="203" y="121"/>
                  </a:cubicBezTo>
                  <a:cubicBezTo>
                    <a:pt x="209" y="97"/>
                    <a:pt x="215" y="76"/>
                    <a:pt x="239" y="63"/>
                  </a:cubicBezTo>
                  <a:cubicBezTo>
                    <a:pt x="260" y="52"/>
                    <a:pt x="294" y="48"/>
                    <a:pt x="360" y="48"/>
                  </a:cubicBezTo>
                  <a:cubicBezTo>
                    <a:pt x="426" y="48"/>
                    <a:pt x="460" y="52"/>
                    <a:pt x="481" y="63"/>
                  </a:cubicBezTo>
                  <a:cubicBezTo>
                    <a:pt x="482" y="64"/>
                    <a:pt x="482" y="64"/>
                    <a:pt x="482" y="64"/>
                  </a:cubicBezTo>
                  <a:cubicBezTo>
                    <a:pt x="504" y="21"/>
                    <a:pt x="504" y="21"/>
                    <a:pt x="504" y="21"/>
                  </a:cubicBezTo>
                  <a:cubicBezTo>
                    <a:pt x="475" y="6"/>
                    <a:pt x="436" y="0"/>
                    <a:pt x="360" y="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90" name="文本框 89">
              <a:extLst>
                <a:ext uri="{FF2B5EF4-FFF2-40B4-BE49-F238E27FC236}">
                  <a16:creationId xmlns:a16="http://schemas.microsoft.com/office/drawing/2014/main" id="{47A01747-BF7D-4A2C-ABD8-B847B0FD0A26}"/>
                </a:ext>
              </a:extLst>
            </p:cNvPr>
            <p:cNvSpPr txBox="1"/>
            <p:nvPr/>
          </p:nvSpPr>
          <p:spPr>
            <a:xfrm>
              <a:off x="9760322" y="3768172"/>
              <a:ext cx="684083" cy="5847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40" tIns="45720" rIns="91440" bIns="45720" anchor="t" anchorCtr="0">
              <a:norm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3200" dirty="0">
                  <a:solidFill>
                    <a:schemeClr val="lt1"/>
                  </a:solidFill>
                </a:rPr>
                <a:t>C</a:t>
              </a:r>
              <a:endParaRPr dirty="0"/>
            </a:p>
          </p:txBody>
        </p:sp>
      </p:grpSp>
      <p:sp>
        <p:nvSpPr>
          <p:cNvPr id="60" name="矩形 59">
            <a:extLst>
              <a:ext uri="{FF2B5EF4-FFF2-40B4-BE49-F238E27FC236}">
                <a16:creationId xmlns:a16="http://schemas.microsoft.com/office/drawing/2014/main" id="{3E23D84A-46EE-401A-A01E-E3BD0A60F76E}"/>
              </a:ext>
            </a:extLst>
          </p:cNvPr>
          <p:cNvSpPr/>
          <p:nvPr/>
        </p:nvSpPr>
        <p:spPr bwMode="auto">
          <a:xfrm>
            <a:off x="6057730" y="5122541"/>
            <a:ext cx="2520950" cy="658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option to retain text……</a:t>
            </a:r>
          </a:p>
        </p:txBody>
      </p:sp>
      <p:sp>
        <p:nvSpPr>
          <p:cNvPr id="67" name="任意多边形: 形状 66">
            <a:extLst>
              <a:ext uri="{FF2B5EF4-FFF2-40B4-BE49-F238E27FC236}">
                <a16:creationId xmlns:a16="http://schemas.microsoft.com/office/drawing/2014/main" id="{23E04D02-4DFC-4DDB-A788-A88437B771E1}"/>
              </a:ext>
            </a:extLst>
          </p:cNvPr>
          <p:cNvSpPr/>
          <p:nvPr/>
        </p:nvSpPr>
        <p:spPr>
          <a:xfrm>
            <a:off x="9848214" y="1257587"/>
            <a:ext cx="83520" cy="1750710"/>
          </a:xfrm>
          <a:custGeom>
            <a:avLst/>
            <a:gdLst>
              <a:gd name="connsiteX0" fmla="*/ 0 w 63849"/>
              <a:gd name="connsiteY0" fmla="*/ 0 h 1441893"/>
              <a:gd name="connsiteX1" fmla="*/ 63849 w 63849"/>
              <a:gd name="connsiteY1" fmla="*/ 0 h 1441893"/>
              <a:gd name="connsiteX2" fmla="*/ 63849 w 63849"/>
              <a:gd name="connsiteY2" fmla="*/ 9539 h 1441893"/>
              <a:gd name="connsiteX3" fmla="*/ 63849 w 63849"/>
              <a:gd name="connsiteY3" fmla="*/ 1441893 h 1441893"/>
              <a:gd name="connsiteX4" fmla="*/ 0 w 63849"/>
              <a:gd name="connsiteY4" fmla="*/ 1441893 h 1441893"/>
              <a:gd name="connsiteX5" fmla="*/ 0 w 63849"/>
              <a:gd name="connsiteY5" fmla="*/ 138519 h 1441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849" h="1441893">
                <a:moveTo>
                  <a:pt x="0" y="0"/>
                </a:moveTo>
                <a:lnTo>
                  <a:pt x="63849" y="0"/>
                </a:lnTo>
                <a:lnTo>
                  <a:pt x="63849" y="9539"/>
                </a:lnTo>
                <a:cubicBezTo>
                  <a:pt x="63849" y="391953"/>
                  <a:pt x="63849" y="862616"/>
                  <a:pt x="63849" y="1441893"/>
                </a:cubicBezTo>
                <a:lnTo>
                  <a:pt x="0" y="1441893"/>
                </a:lnTo>
                <a:cubicBezTo>
                  <a:pt x="0" y="1441893"/>
                  <a:pt x="0" y="1441893"/>
                  <a:pt x="0" y="1385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40" tIns="45720" rIns="91440" bIns="45720" anchor="t" anchorCtr="0">
            <a:norm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400">
              <a:solidFill>
                <a:schemeClr val="dk1"/>
              </a:solidFill>
            </a:endParaRPr>
          </a:p>
        </p:txBody>
      </p:sp>
      <p:grpSp>
        <p:nvGrpSpPr>
          <p:cNvPr id="68" name="组合 67">
            <a:extLst>
              <a:ext uri="{FF2B5EF4-FFF2-40B4-BE49-F238E27FC236}">
                <a16:creationId xmlns:a16="http://schemas.microsoft.com/office/drawing/2014/main" id="{A353107A-6081-4508-8D95-25D23BAF0C16}"/>
              </a:ext>
            </a:extLst>
          </p:cNvPr>
          <p:cNvGrpSpPr/>
          <p:nvPr/>
        </p:nvGrpSpPr>
        <p:grpSpPr>
          <a:xfrm>
            <a:off x="9251680" y="2997011"/>
            <a:ext cx="1276589" cy="2417864"/>
            <a:chOff x="9448845" y="2822347"/>
            <a:chExt cx="1276589" cy="2417864"/>
          </a:xfrm>
        </p:grpSpPr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0E8FDAB4-15A2-491E-8857-1BD5C4DD13D6}"/>
                </a:ext>
              </a:extLst>
            </p:cNvPr>
            <p:cNvSpPr/>
            <p:nvPr/>
          </p:nvSpPr>
          <p:spPr>
            <a:xfrm>
              <a:off x="10294894" y="4938148"/>
              <a:ext cx="179051" cy="232355"/>
            </a:xfrm>
            <a:custGeom>
              <a:avLst/>
              <a:gdLst/>
              <a:ahLst/>
              <a:cxnLst/>
              <a:rect l="l" t="t" r="r" b="b"/>
              <a:pathLst>
                <a:path w="101" h="131" extrusionOk="0">
                  <a:moveTo>
                    <a:pt x="73" y="131"/>
                  </a:moveTo>
                  <a:cubicBezTo>
                    <a:pt x="65" y="131"/>
                    <a:pt x="57" y="127"/>
                    <a:pt x="52" y="119"/>
                  </a:cubicBezTo>
                  <a:cubicBezTo>
                    <a:pt x="6" y="39"/>
                    <a:pt x="6" y="39"/>
                    <a:pt x="6" y="39"/>
                  </a:cubicBezTo>
                  <a:cubicBezTo>
                    <a:pt x="0" y="28"/>
                    <a:pt x="4" y="13"/>
                    <a:pt x="15" y="6"/>
                  </a:cubicBezTo>
                  <a:cubicBezTo>
                    <a:pt x="26" y="0"/>
                    <a:pt x="41" y="4"/>
                    <a:pt x="48" y="15"/>
                  </a:cubicBezTo>
                  <a:cubicBezTo>
                    <a:pt x="94" y="95"/>
                    <a:pt x="94" y="95"/>
                    <a:pt x="94" y="95"/>
                  </a:cubicBezTo>
                  <a:cubicBezTo>
                    <a:pt x="101" y="106"/>
                    <a:pt x="97" y="121"/>
                    <a:pt x="85" y="128"/>
                  </a:cubicBezTo>
                  <a:cubicBezTo>
                    <a:pt x="81" y="130"/>
                    <a:pt x="77" y="131"/>
                    <a:pt x="73" y="13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 fontScale="77500" lnSpcReduction="20000"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13301C90-51FE-4DD8-8930-5F7F7F7674CA}"/>
                </a:ext>
              </a:extLst>
            </p:cNvPr>
            <p:cNvSpPr/>
            <p:nvPr/>
          </p:nvSpPr>
          <p:spPr>
            <a:xfrm>
              <a:off x="9700337" y="4938148"/>
              <a:ext cx="179051" cy="232355"/>
            </a:xfrm>
            <a:custGeom>
              <a:avLst/>
              <a:gdLst/>
              <a:ahLst/>
              <a:cxnLst/>
              <a:rect l="l" t="t" r="r" b="b"/>
              <a:pathLst>
                <a:path w="101" h="131" extrusionOk="0">
                  <a:moveTo>
                    <a:pt x="28" y="131"/>
                  </a:moveTo>
                  <a:cubicBezTo>
                    <a:pt x="24" y="131"/>
                    <a:pt x="20" y="130"/>
                    <a:pt x="16" y="128"/>
                  </a:cubicBezTo>
                  <a:cubicBezTo>
                    <a:pt x="4" y="121"/>
                    <a:pt x="0" y="106"/>
                    <a:pt x="7" y="95"/>
                  </a:cubicBezTo>
                  <a:cubicBezTo>
                    <a:pt x="53" y="15"/>
                    <a:pt x="53" y="15"/>
                    <a:pt x="53" y="15"/>
                  </a:cubicBezTo>
                  <a:cubicBezTo>
                    <a:pt x="60" y="4"/>
                    <a:pt x="75" y="0"/>
                    <a:pt x="86" y="6"/>
                  </a:cubicBezTo>
                  <a:cubicBezTo>
                    <a:pt x="97" y="13"/>
                    <a:pt x="101" y="28"/>
                    <a:pt x="95" y="39"/>
                  </a:cubicBezTo>
                  <a:cubicBezTo>
                    <a:pt x="49" y="119"/>
                    <a:pt x="49" y="119"/>
                    <a:pt x="49" y="119"/>
                  </a:cubicBezTo>
                  <a:cubicBezTo>
                    <a:pt x="44" y="127"/>
                    <a:pt x="36" y="131"/>
                    <a:pt x="28" y="13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 fontScale="77500" lnSpcReduction="20000"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52363FA0-01A9-4926-AF98-B0B1EDA0C72A}"/>
                </a:ext>
              </a:extLst>
            </p:cNvPr>
            <p:cNvSpPr/>
            <p:nvPr/>
          </p:nvSpPr>
          <p:spPr>
            <a:xfrm>
              <a:off x="10044769" y="4994188"/>
              <a:ext cx="84741" cy="246023"/>
            </a:xfrm>
            <a:custGeom>
              <a:avLst/>
              <a:gdLst/>
              <a:ahLst/>
              <a:cxnLst/>
              <a:rect l="l" t="t" r="r" b="b"/>
              <a:pathLst>
                <a:path w="48" h="140" extrusionOk="0">
                  <a:moveTo>
                    <a:pt x="24" y="140"/>
                  </a:moveTo>
                  <a:cubicBezTo>
                    <a:pt x="11" y="140"/>
                    <a:pt x="0" y="129"/>
                    <a:pt x="0" y="11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7" y="0"/>
                    <a:pt x="48" y="10"/>
                    <a:pt x="48" y="24"/>
                  </a:cubicBezTo>
                  <a:cubicBezTo>
                    <a:pt x="48" y="116"/>
                    <a:pt x="48" y="116"/>
                    <a:pt x="48" y="116"/>
                  </a:cubicBezTo>
                  <a:cubicBezTo>
                    <a:pt x="48" y="129"/>
                    <a:pt x="37" y="140"/>
                    <a:pt x="24" y="14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 fontScale="85000" lnSpcReduction="20000"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555EC828-A690-4735-9E88-3717D2DE1EC7}"/>
                </a:ext>
              </a:extLst>
            </p:cNvPr>
            <p:cNvSpPr/>
            <p:nvPr/>
          </p:nvSpPr>
          <p:spPr>
            <a:xfrm>
              <a:off x="9518553" y="3330795"/>
              <a:ext cx="1137175" cy="1482975"/>
            </a:xfrm>
            <a:custGeom>
              <a:avLst/>
              <a:gdLst/>
              <a:ahLst/>
              <a:cxnLst/>
              <a:rect l="l" t="t" r="r" b="b"/>
              <a:pathLst>
                <a:path w="642" h="840" extrusionOk="0">
                  <a:moveTo>
                    <a:pt x="94" y="746"/>
                  </a:moveTo>
                  <a:cubicBezTo>
                    <a:pt x="155" y="807"/>
                    <a:pt x="235" y="840"/>
                    <a:pt x="321" y="840"/>
                  </a:cubicBezTo>
                  <a:cubicBezTo>
                    <a:pt x="407" y="840"/>
                    <a:pt x="487" y="807"/>
                    <a:pt x="548" y="746"/>
                  </a:cubicBezTo>
                  <a:cubicBezTo>
                    <a:pt x="609" y="685"/>
                    <a:pt x="642" y="605"/>
                    <a:pt x="642" y="519"/>
                  </a:cubicBezTo>
                  <a:cubicBezTo>
                    <a:pt x="642" y="466"/>
                    <a:pt x="633" y="416"/>
                    <a:pt x="615" y="366"/>
                  </a:cubicBezTo>
                  <a:cubicBezTo>
                    <a:pt x="599" y="324"/>
                    <a:pt x="577" y="283"/>
                    <a:pt x="544" y="235"/>
                  </a:cubicBezTo>
                  <a:cubicBezTo>
                    <a:pt x="517" y="196"/>
                    <a:pt x="506" y="156"/>
                    <a:pt x="497" y="123"/>
                  </a:cubicBezTo>
                  <a:cubicBezTo>
                    <a:pt x="494" y="115"/>
                    <a:pt x="492" y="108"/>
                    <a:pt x="490" y="101"/>
                  </a:cubicBezTo>
                  <a:cubicBezTo>
                    <a:pt x="487" y="92"/>
                    <a:pt x="485" y="83"/>
                    <a:pt x="483" y="75"/>
                  </a:cubicBezTo>
                  <a:cubicBezTo>
                    <a:pt x="476" y="51"/>
                    <a:pt x="471" y="29"/>
                    <a:pt x="446" y="16"/>
                  </a:cubicBezTo>
                  <a:cubicBezTo>
                    <a:pt x="424" y="4"/>
                    <a:pt x="389" y="0"/>
                    <a:pt x="321" y="0"/>
                  </a:cubicBezTo>
                  <a:cubicBezTo>
                    <a:pt x="253" y="0"/>
                    <a:pt x="218" y="4"/>
                    <a:pt x="196" y="16"/>
                  </a:cubicBezTo>
                  <a:cubicBezTo>
                    <a:pt x="171" y="29"/>
                    <a:pt x="166" y="51"/>
                    <a:pt x="159" y="75"/>
                  </a:cubicBezTo>
                  <a:cubicBezTo>
                    <a:pt x="157" y="83"/>
                    <a:pt x="155" y="92"/>
                    <a:pt x="152" y="101"/>
                  </a:cubicBezTo>
                  <a:cubicBezTo>
                    <a:pt x="150" y="108"/>
                    <a:pt x="148" y="115"/>
                    <a:pt x="145" y="123"/>
                  </a:cubicBezTo>
                  <a:cubicBezTo>
                    <a:pt x="136" y="156"/>
                    <a:pt x="125" y="196"/>
                    <a:pt x="98" y="235"/>
                  </a:cubicBezTo>
                  <a:cubicBezTo>
                    <a:pt x="65" y="283"/>
                    <a:pt x="43" y="324"/>
                    <a:pt x="27" y="366"/>
                  </a:cubicBezTo>
                  <a:cubicBezTo>
                    <a:pt x="9" y="416"/>
                    <a:pt x="0" y="466"/>
                    <a:pt x="0" y="519"/>
                  </a:cubicBezTo>
                  <a:cubicBezTo>
                    <a:pt x="0" y="605"/>
                    <a:pt x="33" y="685"/>
                    <a:pt x="94" y="746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1ACF952F-BCAF-4895-826E-A025B25BE61C}"/>
                </a:ext>
              </a:extLst>
            </p:cNvPr>
            <p:cNvSpPr/>
            <p:nvPr/>
          </p:nvSpPr>
          <p:spPr>
            <a:xfrm>
              <a:off x="9800113" y="2822347"/>
              <a:ext cx="574055" cy="220055"/>
            </a:xfrm>
            <a:custGeom>
              <a:avLst/>
              <a:gdLst/>
              <a:ahLst/>
              <a:cxnLst/>
              <a:rect l="l" t="t" r="r" b="b"/>
              <a:pathLst>
                <a:path w="324" h="125" extrusionOk="0">
                  <a:moveTo>
                    <a:pt x="146" y="0"/>
                  </a:moveTo>
                  <a:cubicBezTo>
                    <a:pt x="100" y="6"/>
                    <a:pt x="62" y="36"/>
                    <a:pt x="45" y="78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11" y="78"/>
                    <a:pt x="0" y="88"/>
                    <a:pt x="0" y="101"/>
                  </a:cubicBezTo>
                  <a:cubicBezTo>
                    <a:pt x="0" y="114"/>
                    <a:pt x="11" y="125"/>
                    <a:pt x="24" y="125"/>
                  </a:cubicBezTo>
                  <a:cubicBezTo>
                    <a:pt x="36" y="125"/>
                    <a:pt x="36" y="125"/>
                    <a:pt x="36" y="125"/>
                  </a:cubicBezTo>
                  <a:cubicBezTo>
                    <a:pt x="288" y="125"/>
                    <a:pt x="288" y="125"/>
                    <a:pt x="288" y="125"/>
                  </a:cubicBezTo>
                  <a:cubicBezTo>
                    <a:pt x="300" y="125"/>
                    <a:pt x="300" y="125"/>
                    <a:pt x="300" y="125"/>
                  </a:cubicBezTo>
                  <a:cubicBezTo>
                    <a:pt x="313" y="125"/>
                    <a:pt x="324" y="114"/>
                    <a:pt x="324" y="101"/>
                  </a:cubicBezTo>
                  <a:cubicBezTo>
                    <a:pt x="324" y="88"/>
                    <a:pt x="313" y="78"/>
                    <a:pt x="300" y="78"/>
                  </a:cubicBezTo>
                  <a:cubicBezTo>
                    <a:pt x="279" y="78"/>
                    <a:pt x="279" y="78"/>
                    <a:pt x="279" y="78"/>
                  </a:cubicBezTo>
                  <a:cubicBezTo>
                    <a:pt x="263" y="37"/>
                    <a:pt x="226" y="7"/>
                    <a:pt x="182" y="0"/>
                  </a:cubicBezTo>
                  <a:lnTo>
                    <a:pt x="146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 fontScale="70000" lnSpcReduction="20000"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BA3A913E-29A4-44F0-8AC7-BB64282DB496}"/>
                </a:ext>
              </a:extLst>
            </p:cNvPr>
            <p:cNvSpPr/>
            <p:nvPr/>
          </p:nvSpPr>
          <p:spPr>
            <a:xfrm>
              <a:off x="9800113" y="3159946"/>
              <a:ext cx="574055" cy="84741"/>
            </a:xfrm>
            <a:custGeom>
              <a:avLst/>
              <a:gdLst/>
              <a:ahLst/>
              <a:cxnLst/>
              <a:rect l="l" t="t" r="r" b="b"/>
              <a:pathLst>
                <a:path w="324" h="48" extrusionOk="0">
                  <a:moveTo>
                    <a:pt x="24" y="48"/>
                  </a:moveTo>
                  <a:cubicBezTo>
                    <a:pt x="300" y="48"/>
                    <a:pt x="300" y="48"/>
                    <a:pt x="300" y="48"/>
                  </a:cubicBezTo>
                  <a:cubicBezTo>
                    <a:pt x="313" y="48"/>
                    <a:pt x="324" y="37"/>
                    <a:pt x="324" y="24"/>
                  </a:cubicBezTo>
                  <a:cubicBezTo>
                    <a:pt x="324" y="11"/>
                    <a:pt x="313" y="0"/>
                    <a:pt x="30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 fontScale="25000" lnSpcReduction="20000"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45A4ADFF-BD23-4447-924B-3F406BCD8318}"/>
                </a:ext>
              </a:extLst>
            </p:cNvPr>
            <p:cNvSpPr/>
            <p:nvPr/>
          </p:nvSpPr>
          <p:spPr>
            <a:xfrm>
              <a:off x="9800113" y="3060170"/>
              <a:ext cx="574055" cy="83375"/>
            </a:xfrm>
            <a:custGeom>
              <a:avLst/>
              <a:gdLst/>
              <a:ahLst/>
              <a:cxnLst/>
              <a:rect l="l" t="t" r="r" b="b"/>
              <a:pathLst>
                <a:path w="324" h="47" extrusionOk="0">
                  <a:moveTo>
                    <a:pt x="24" y="47"/>
                  </a:moveTo>
                  <a:cubicBezTo>
                    <a:pt x="300" y="47"/>
                    <a:pt x="300" y="47"/>
                    <a:pt x="300" y="47"/>
                  </a:cubicBezTo>
                  <a:cubicBezTo>
                    <a:pt x="313" y="47"/>
                    <a:pt x="324" y="36"/>
                    <a:pt x="324" y="23"/>
                  </a:cubicBezTo>
                  <a:cubicBezTo>
                    <a:pt x="324" y="10"/>
                    <a:pt x="313" y="0"/>
                    <a:pt x="300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0"/>
                    <a:pt x="0" y="23"/>
                  </a:cubicBezTo>
                  <a:cubicBezTo>
                    <a:pt x="0" y="36"/>
                    <a:pt x="11" y="47"/>
                    <a:pt x="24" y="4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 fontScale="25000" lnSpcReduction="20000"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13299596-9407-4228-A0C4-CE14F12B31BB}"/>
                </a:ext>
              </a:extLst>
            </p:cNvPr>
            <p:cNvSpPr/>
            <p:nvPr/>
          </p:nvSpPr>
          <p:spPr>
            <a:xfrm>
              <a:off x="9448846" y="3265189"/>
              <a:ext cx="1276588" cy="1610087"/>
            </a:xfrm>
            <a:custGeom>
              <a:avLst/>
              <a:gdLst/>
              <a:ahLst/>
              <a:cxnLst/>
              <a:rect l="l" t="t" r="r" b="b"/>
              <a:pathLst>
                <a:path w="720" h="912" extrusionOk="0">
                  <a:moveTo>
                    <a:pt x="360" y="0"/>
                  </a:moveTo>
                  <a:cubicBezTo>
                    <a:pt x="284" y="0"/>
                    <a:pt x="245" y="6"/>
                    <a:pt x="216" y="21"/>
                  </a:cubicBezTo>
                  <a:cubicBezTo>
                    <a:pt x="173" y="44"/>
                    <a:pt x="164" y="81"/>
                    <a:pt x="157" y="109"/>
                  </a:cubicBezTo>
                  <a:cubicBezTo>
                    <a:pt x="155" y="116"/>
                    <a:pt x="153" y="123"/>
                    <a:pt x="150" y="131"/>
                  </a:cubicBezTo>
                  <a:cubicBezTo>
                    <a:pt x="148" y="138"/>
                    <a:pt x="146" y="146"/>
                    <a:pt x="143" y="154"/>
                  </a:cubicBezTo>
                  <a:cubicBezTo>
                    <a:pt x="135" y="184"/>
                    <a:pt x="125" y="217"/>
                    <a:pt x="103" y="249"/>
                  </a:cubicBezTo>
                  <a:cubicBezTo>
                    <a:pt x="70" y="299"/>
                    <a:pt x="46" y="342"/>
                    <a:pt x="30" y="387"/>
                  </a:cubicBezTo>
                  <a:cubicBezTo>
                    <a:pt x="10" y="440"/>
                    <a:pt x="0" y="494"/>
                    <a:pt x="0" y="552"/>
                  </a:cubicBezTo>
                  <a:cubicBezTo>
                    <a:pt x="0" y="648"/>
                    <a:pt x="38" y="738"/>
                    <a:pt x="106" y="806"/>
                  </a:cubicBezTo>
                  <a:cubicBezTo>
                    <a:pt x="174" y="874"/>
                    <a:pt x="264" y="912"/>
                    <a:pt x="360" y="912"/>
                  </a:cubicBezTo>
                  <a:cubicBezTo>
                    <a:pt x="456" y="912"/>
                    <a:pt x="546" y="874"/>
                    <a:pt x="614" y="806"/>
                  </a:cubicBezTo>
                  <a:cubicBezTo>
                    <a:pt x="682" y="738"/>
                    <a:pt x="720" y="648"/>
                    <a:pt x="720" y="552"/>
                  </a:cubicBezTo>
                  <a:cubicBezTo>
                    <a:pt x="720" y="494"/>
                    <a:pt x="710" y="440"/>
                    <a:pt x="690" y="387"/>
                  </a:cubicBezTo>
                  <a:cubicBezTo>
                    <a:pt x="674" y="342"/>
                    <a:pt x="650" y="299"/>
                    <a:pt x="617" y="249"/>
                  </a:cubicBezTo>
                  <a:cubicBezTo>
                    <a:pt x="595" y="217"/>
                    <a:pt x="585" y="184"/>
                    <a:pt x="577" y="154"/>
                  </a:cubicBezTo>
                  <a:cubicBezTo>
                    <a:pt x="574" y="146"/>
                    <a:pt x="572" y="138"/>
                    <a:pt x="570" y="131"/>
                  </a:cubicBezTo>
                  <a:cubicBezTo>
                    <a:pt x="567" y="123"/>
                    <a:pt x="565" y="116"/>
                    <a:pt x="563" y="109"/>
                  </a:cubicBezTo>
                  <a:cubicBezTo>
                    <a:pt x="556" y="81"/>
                    <a:pt x="547" y="44"/>
                    <a:pt x="504" y="21"/>
                  </a:cubicBezTo>
                  <a:cubicBezTo>
                    <a:pt x="475" y="6"/>
                    <a:pt x="436" y="0"/>
                    <a:pt x="360" y="0"/>
                  </a:cubicBezTo>
                  <a:moveTo>
                    <a:pt x="524" y="146"/>
                  </a:moveTo>
                  <a:cubicBezTo>
                    <a:pt x="526" y="153"/>
                    <a:pt x="528" y="160"/>
                    <a:pt x="531" y="168"/>
                  </a:cubicBezTo>
                  <a:cubicBezTo>
                    <a:pt x="540" y="199"/>
                    <a:pt x="551" y="238"/>
                    <a:pt x="577" y="276"/>
                  </a:cubicBezTo>
                  <a:cubicBezTo>
                    <a:pt x="608" y="322"/>
                    <a:pt x="630" y="363"/>
                    <a:pt x="645" y="404"/>
                  </a:cubicBezTo>
                  <a:cubicBezTo>
                    <a:pt x="663" y="452"/>
                    <a:pt x="672" y="500"/>
                    <a:pt x="672" y="552"/>
                  </a:cubicBezTo>
                  <a:cubicBezTo>
                    <a:pt x="672" y="635"/>
                    <a:pt x="639" y="714"/>
                    <a:pt x="580" y="772"/>
                  </a:cubicBezTo>
                  <a:cubicBezTo>
                    <a:pt x="522" y="831"/>
                    <a:pt x="443" y="864"/>
                    <a:pt x="360" y="864"/>
                  </a:cubicBezTo>
                  <a:cubicBezTo>
                    <a:pt x="277" y="864"/>
                    <a:pt x="198" y="831"/>
                    <a:pt x="140" y="772"/>
                  </a:cubicBezTo>
                  <a:cubicBezTo>
                    <a:pt x="81" y="714"/>
                    <a:pt x="48" y="635"/>
                    <a:pt x="48" y="552"/>
                  </a:cubicBezTo>
                  <a:cubicBezTo>
                    <a:pt x="48" y="500"/>
                    <a:pt x="57" y="452"/>
                    <a:pt x="75" y="404"/>
                  </a:cubicBezTo>
                  <a:cubicBezTo>
                    <a:pt x="90" y="363"/>
                    <a:pt x="112" y="322"/>
                    <a:pt x="143" y="276"/>
                  </a:cubicBezTo>
                  <a:cubicBezTo>
                    <a:pt x="169" y="238"/>
                    <a:pt x="180" y="199"/>
                    <a:pt x="189" y="168"/>
                  </a:cubicBezTo>
                  <a:cubicBezTo>
                    <a:pt x="192" y="160"/>
                    <a:pt x="194" y="153"/>
                    <a:pt x="196" y="146"/>
                  </a:cubicBezTo>
                  <a:cubicBezTo>
                    <a:pt x="199" y="137"/>
                    <a:pt x="201" y="128"/>
                    <a:pt x="203" y="121"/>
                  </a:cubicBezTo>
                  <a:cubicBezTo>
                    <a:pt x="209" y="97"/>
                    <a:pt x="215" y="76"/>
                    <a:pt x="239" y="63"/>
                  </a:cubicBezTo>
                  <a:cubicBezTo>
                    <a:pt x="260" y="52"/>
                    <a:pt x="294" y="48"/>
                    <a:pt x="360" y="48"/>
                  </a:cubicBezTo>
                  <a:cubicBezTo>
                    <a:pt x="426" y="48"/>
                    <a:pt x="460" y="52"/>
                    <a:pt x="481" y="63"/>
                  </a:cubicBezTo>
                  <a:cubicBezTo>
                    <a:pt x="505" y="76"/>
                    <a:pt x="511" y="97"/>
                    <a:pt x="517" y="121"/>
                  </a:cubicBezTo>
                  <a:cubicBezTo>
                    <a:pt x="519" y="128"/>
                    <a:pt x="521" y="137"/>
                    <a:pt x="524" y="146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39BD696B-7550-4291-9662-C806F6577B6D}"/>
                </a:ext>
              </a:extLst>
            </p:cNvPr>
            <p:cNvSpPr/>
            <p:nvPr/>
          </p:nvSpPr>
          <p:spPr>
            <a:xfrm>
              <a:off x="9448845" y="3265189"/>
              <a:ext cx="893885" cy="1422836"/>
            </a:xfrm>
            <a:custGeom>
              <a:avLst/>
              <a:gdLst/>
              <a:ahLst/>
              <a:cxnLst/>
              <a:rect l="l" t="t" r="r" b="b"/>
              <a:pathLst>
                <a:path w="504" h="806" extrusionOk="0">
                  <a:moveTo>
                    <a:pt x="360" y="0"/>
                  </a:moveTo>
                  <a:cubicBezTo>
                    <a:pt x="284" y="0"/>
                    <a:pt x="245" y="6"/>
                    <a:pt x="216" y="21"/>
                  </a:cubicBezTo>
                  <a:cubicBezTo>
                    <a:pt x="173" y="44"/>
                    <a:pt x="164" y="81"/>
                    <a:pt x="157" y="109"/>
                  </a:cubicBezTo>
                  <a:cubicBezTo>
                    <a:pt x="155" y="116"/>
                    <a:pt x="153" y="123"/>
                    <a:pt x="150" y="131"/>
                  </a:cubicBezTo>
                  <a:cubicBezTo>
                    <a:pt x="148" y="138"/>
                    <a:pt x="146" y="146"/>
                    <a:pt x="143" y="154"/>
                  </a:cubicBezTo>
                  <a:cubicBezTo>
                    <a:pt x="135" y="184"/>
                    <a:pt x="125" y="217"/>
                    <a:pt x="103" y="249"/>
                  </a:cubicBezTo>
                  <a:cubicBezTo>
                    <a:pt x="70" y="299"/>
                    <a:pt x="46" y="342"/>
                    <a:pt x="30" y="387"/>
                  </a:cubicBezTo>
                  <a:cubicBezTo>
                    <a:pt x="10" y="440"/>
                    <a:pt x="0" y="494"/>
                    <a:pt x="0" y="552"/>
                  </a:cubicBezTo>
                  <a:cubicBezTo>
                    <a:pt x="0" y="648"/>
                    <a:pt x="38" y="738"/>
                    <a:pt x="106" y="806"/>
                  </a:cubicBezTo>
                  <a:cubicBezTo>
                    <a:pt x="129" y="761"/>
                    <a:pt x="129" y="761"/>
                    <a:pt x="129" y="761"/>
                  </a:cubicBezTo>
                  <a:cubicBezTo>
                    <a:pt x="77" y="704"/>
                    <a:pt x="48" y="630"/>
                    <a:pt x="48" y="552"/>
                  </a:cubicBezTo>
                  <a:cubicBezTo>
                    <a:pt x="48" y="500"/>
                    <a:pt x="57" y="452"/>
                    <a:pt x="75" y="404"/>
                  </a:cubicBezTo>
                  <a:cubicBezTo>
                    <a:pt x="90" y="363"/>
                    <a:pt x="112" y="322"/>
                    <a:pt x="143" y="276"/>
                  </a:cubicBezTo>
                  <a:cubicBezTo>
                    <a:pt x="169" y="238"/>
                    <a:pt x="180" y="199"/>
                    <a:pt x="189" y="168"/>
                  </a:cubicBezTo>
                  <a:cubicBezTo>
                    <a:pt x="192" y="160"/>
                    <a:pt x="194" y="153"/>
                    <a:pt x="196" y="146"/>
                  </a:cubicBezTo>
                  <a:cubicBezTo>
                    <a:pt x="199" y="137"/>
                    <a:pt x="201" y="128"/>
                    <a:pt x="203" y="121"/>
                  </a:cubicBezTo>
                  <a:cubicBezTo>
                    <a:pt x="209" y="97"/>
                    <a:pt x="215" y="76"/>
                    <a:pt x="239" y="63"/>
                  </a:cubicBezTo>
                  <a:cubicBezTo>
                    <a:pt x="260" y="52"/>
                    <a:pt x="294" y="48"/>
                    <a:pt x="360" y="48"/>
                  </a:cubicBezTo>
                  <a:cubicBezTo>
                    <a:pt x="426" y="48"/>
                    <a:pt x="460" y="52"/>
                    <a:pt x="481" y="63"/>
                  </a:cubicBezTo>
                  <a:cubicBezTo>
                    <a:pt x="482" y="64"/>
                    <a:pt x="482" y="64"/>
                    <a:pt x="482" y="64"/>
                  </a:cubicBezTo>
                  <a:cubicBezTo>
                    <a:pt x="504" y="21"/>
                    <a:pt x="504" y="21"/>
                    <a:pt x="504" y="21"/>
                  </a:cubicBezTo>
                  <a:cubicBezTo>
                    <a:pt x="475" y="6"/>
                    <a:pt x="436" y="0"/>
                    <a:pt x="360" y="0"/>
                  </a:cubicBezTo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t" anchorCtr="0">
              <a:norm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400">
                <a:solidFill>
                  <a:schemeClr val="dk1"/>
                </a:solidFill>
              </a:endParaRPr>
            </a:p>
          </p:txBody>
        </p:sp>
        <p:sp>
          <p:nvSpPr>
            <p:cNvPr id="78" name="文本框 77">
              <a:extLst>
                <a:ext uri="{FF2B5EF4-FFF2-40B4-BE49-F238E27FC236}">
                  <a16:creationId xmlns:a16="http://schemas.microsoft.com/office/drawing/2014/main" id="{006FF81E-619C-4812-A3FC-FB019CF439F9}"/>
                </a:ext>
              </a:extLst>
            </p:cNvPr>
            <p:cNvSpPr txBox="1"/>
            <p:nvPr/>
          </p:nvSpPr>
          <p:spPr>
            <a:xfrm>
              <a:off x="9760322" y="3768172"/>
              <a:ext cx="684083" cy="58477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40" tIns="45720" rIns="91440" bIns="45720" anchor="t" anchorCtr="0">
              <a:norm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3200" dirty="0">
                  <a:solidFill>
                    <a:schemeClr val="lt1"/>
                  </a:solidFill>
                </a:rPr>
                <a:t>D</a:t>
              </a:r>
              <a:endParaRPr dirty="0"/>
            </a:p>
          </p:txBody>
        </p:sp>
      </p:grpSp>
      <p:sp>
        <p:nvSpPr>
          <p:cNvPr id="62" name="矩形 61">
            <a:extLst>
              <a:ext uri="{FF2B5EF4-FFF2-40B4-BE49-F238E27FC236}">
                <a16:creationId xmlns:a16="http://schemas.microsoft.com/office/drawing/2014/main" id="{1B9F8A7F-4D9A-443F-B6C9-34BFA0C5F23A}"/>
              </a:ext>
            </a:extLst>
          </p:cNvPr>
          <p:cNvSpPr/>
          <p:nvPr/>
        </p:nvSpPr>
        <p:spPr bwMode="auto">
          <a:xfrm>
            <a:off x="8629499" y="5488161"/>
            <a:ext cx="2520950" cy="658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option to retain text……</a:t>
            </a:r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A1B7420C-7AF8-44C8-9C7F-C99DC47D9361}"/>
              </a:ext>
            </a:extLst>
          </p:cNvPr>
          <p:cNvSpPr txBox="1"/>
          <p:nvPr/>
        </p:nvSpPr>
        <p:spPr bwMode="auto">
          <a:xfrm>
            <a:off x="914192" y="1123951"/>
            <a:ext cx="2520950" cy="513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zh-CN" sz="2000" b="1" dirty="0"/>
              <a:t>Text Here</a:t>
            </a:r>
            <a:endParaRPr lang="zh-CN" altLang="en-US" sz="2000" b="1" dirty="0"/>
          </a:p>
        </p:txBody>
      </p:sp>
      <p:sp>
        <p:nvSpPr>
          <p:cNvPr id="64" name="文本框 63">
            <a:extLst>
              <a:ext uri="{FF2B5EF4-FFF2-40B4-BE49-F238E27FC236}">
                <a16:creationId xmlns:a16="http://schemas.microsoft.com/office/drawing/2014/main" id="{DFFE6792-EC7F-40FE-9886-63992B179879}"/>
              </a:ext>
            </a:extLst>
          </p:cNvPr>
          <p:cNvSpPr txBox="1"/>
          <p:nvPr/>
        </p:nvSpPr>
        <p:spPr bwMode="auto">
          <a:xfrm>
            <a:off x="3606460" y="1123951"/>
            <a:ext cx="2279952" cy="513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zh-CN" sz="2000" b="1" dirty="0"/>
              <a:t>Text Here</a:t>
            </a:r>
            <a:endParaRPr lang="zh-CN" altLang="en-US" sz="2000" b="1" dirty="0"/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F19D8087-5AA6-48AE-9CB3-2D20F0DCD137}"/>
              </a:ext>
            </a:extLst>
          </p:cNvPr>
          <p:cNvSpPr txBox="1"/>
          <p:nvPr/>
        </p:nvSpPr>
        <p:spPr bwMode="auto">
          <a:xfrm>
            <a:off x="6178229" y="1123951"/>
            <a:ext cx="2279952" cy="513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zh-CN" sz="2000" b="1" dirty="0"/>
              <a:t>Text Here</a:t>
            </a:r>
            <a:endParaRPr lang="zh-CN" altLang="en-US" sz="2000" b="1" dirty="0"/>
          </a:p>
        </p:txBody>
      </p:sp>
      <p:sp>
        <p:nvSpPr>
          <p:cNvPr id="66" name="文本框 65">
            <a:extLst>
              <a:ext uri="{FF2B5EF4-FFF2-40B4-BE49-F238E27FC236}">
                <a16:creationId xmlns:a16="http://schemas.microsoft.com/office/drawing/2014/main" id="{56FEFC33-DE7E-4E59-B567-DEFF17AE6331}"/>
              </a:ext>
            </a:extLst>
          </p:cNvPr>
          <p:cNvSpPr txBox="1"/>
          <p:nvPr/>
        </p:nvSpPr>
        <p:spPr bwMode="auto">
          <a:xfrm>
            <a:off x="8749998" y="1123951"/>
            <a:ext cx="2279952" cy="513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zh-CN" sz="2000" b="1" dirty="0"/>
              <a:t>Text Here</a:t>
            </a:r>
            <a:endParaRPr lang="zh-CN" alt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97081683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C4EE8AF-6BE0-4331-BA83-DEE590425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3EC40F8-7ED5-4703-8B59-65204BB9F3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E0D1BA5-1D17-4A28-B1E8-E2C22F3227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5</a:t>
            </a:fld>
            <a:endParaRPr lang="zh-CN" altLang="en-US" dirty="0"/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98EFC8A4-28D9-45A4-8113-3D15CBC2E780}"/>
              </a:ext>
            </a:extLst>
          </p:cNvPr>
          <p:cNvSpPr/>
          <p:nvPr/>
        </p:nvSpPr>
        <p:spPr>
          <a:xfrm>
            <a:off x="673100" y="2143967"/>
            <a:ext cx="10845800" cy="1978436"/>
          </a:xfrm>
          <a:prstGeom prst="rect">
            <a:avLst/>
          </a:prstGeom>
          <a:pattFill prst="ltUp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/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D4C434CD-61A6-4E9E-9655-37F595444F92}"/>
              </a:ext>
            </a:extLst>
          </p:cNvPr>
          <p:cNvSpPr/>
          <p:nvPr/>
        </p:nvSpPr>
        <p:spPr bwMode="auto">
          <a:xfrm>
            <a:off x="965327" y="4383632"/>
            <a:ext cx="3235982" cy="8074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100" dirty="0"/>
              <a:t>Supporting text here. 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8F6B8EBA-6A08-4823-9051-C9ABA97949C9}"/>
              </a:ext>
            </a:extLst>
          </p:cNvPr>
          <p:cNvSpPr txBox="1"/>
          <p:nvPr/>
        </p:nvSpPr>
        <p:spPr bwMode="auto">
          <a:xfrm>
            <a:off x="965327" y="3895977"/>
            <a:ext cx="3235982" cy="487655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zh-CN" b="1" dirty="0">
                <a:solidFill>
                  <a:schemeClr val="bg1"/>
                </a:solidFill>
              </a:rPr>
              <a:t>Text Here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CAFE49B7-EC35-4E70-BB80-2ABB6EADB843}"/>
              </a:ext>
            </a:extLst>
          </p:cNvPr>
          <p:cNvSpPr/>
          <p:nvPr/>
        </p:nvSpPr>
        <p:spPr bwMode="auto">
          <a:xfrm>
            <a:off x="4478008" y="4383632"/>
            <a:ext cx="3235982" cy="8074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100" dirty="0"/>
              <a:t>Supporting text here. 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0D723A66-2541-4696-892F-C95E0E67B461}"/>
              </a:ext>
            </a:extLst>
          </p:cNvPr>
          <p:cNvSpPr txBox="1"/>
          <p:nvPr/>
        </p:nvSpPr>
        <p:spPr bwMode="auto">
          <a:xfrm>
            <a:off x="4478008" y="3895977"/>
            <a:ext cx="3235982" cy="487655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algn="ctr">
              <a:spcBef>
                <a:spcPct val="0"/>
              </a:spcBef>
              <a:buFontTx/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 altLang="zh-CN" sz="1800" dirty="0"/>
              <a:t>Text Here</a:t>
            </a:r>
            <a:endParaRPr lang="zh-CN" altLang="en-US" sz="1800" dirty="0"/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AF1AE3E5-F620-4550-933F-59CB0A06C408}"/>
              </a:ext>
            </a:extLst>
          </p:cNvPr>
          <p:cNvSpPr/>
          <p:nvPr/>
        </p:nvSpPr>
        <p:spPr bwMode="auto">
          <a:xfrm>
            <a:off x="7990690" y="4383632"/>
            <a:ext cx="3235982" cy="8074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100" dirty="0"/>
              <a:t>Supporting text here. 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1F4A0B39-8FC8-4A54-8897-6B80052E09C0}"/>
              </a:ext>
            </a:extLst>
          </p:cNvPr>
          <p:cNvSpPr txBox="1"/>
          <p:nvPr/>
        </p:nvSpPr>
        <p:spPr bwMode="auto">
          <a:xfrm>
            <a:off x="7990690" y="3895977"/>
            <a:ext cx="3235982" cy="487655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algn="ctr">
              <a:spcBef>
                <a:spcPct val="0"/>
              </a:spcBef>
              <a:buFontTx/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 altLang="zh-CN" sz="1800" dirty="0"/>
              <a:t>Text Here</a:t>
            </a:r>
            <a:endParaRPr lang="zh-CN" altLang="en-US" sz="1800" dirty="0"/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9F235BDD-78A9-4746-A02F-56F44E796F88}"/>
              </a:ext>
            </a:extLst>
          </p:cNvPr>
          <p:cNvSpPr/>
          <p:nvPr/>
        </p:nvSpPr>
        <p:spPr bwMode="auto">
          <a:xfrm>
            <a:off x="1239239" y="2412942"/>
            <a:ext cx="9518995" cy="122180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1085CFF8-AE77-445A-8DC0-1F7D275CF409}"/>
              </a:ext>
            </a:extLst>
          </p:cNvPr>
          <p:cNvSpPr txBox="1"/>
          <p:nvPr/>
        </p:nvSpPr>
        <p:spPr bwMode="auto">
          <a:xfrm>
            <a:off x="4495799" y="1858213"/>
            <a:ext cx="3200402" cy="55472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/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zh-CN" b="1" dirty="0">
                <a:solidFill>
                  <a:schemeClr val="bg1"/>
                </a:solidFill>
              </a:rPr>
              <a:t>Text Here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24" name="任意多边形: 形状 23">
            <a:extLst>
              <a:ext uri="{FF2B5EF4-FFF2-40B4-BE49-F238E27FC236}">
                <a16:creationId xmlns:a16="http://schemas.microsoft.com/office/drawing/2014/main" id="{B397FA3D-236B-4547-B964-25E8A94D668B}"/>
              </a:ext>
            </a:extLst>
          </p:cNvPr>
          <p:cNvSpPr/>
          <p:nvPr/>
        </p:nvSpPr>
        <p:spPr bwMode="auto">
          <a:xfrm>
            <a:off x="5947236" y="1511565"/>
            <a:ext cx="297529" cy="289494"/>
          </a:xfrm>
          <a:custGeom>
            <a:avLst/>
            <a:gdLst>
              <a:gd name="connsiteX0" fmla="*/ 273512 w 601147"/>
              <a:gd name="connsiteY0" fmla="*/ 584635 h 584917"/>
              <a:gd name="connsiteX1" fmla="*/ 273513 w 601147"/>
              <a:gd name="connsiteY1" fmla="*/ 584635 h 584917"/>
              <a:gd name="connsiteX2" fmla="*/ 273583 w 601147"/>
              <a:gd name="connsiteY2" fmla="*/ 584635 h 584917"/>
              <a:gd name="connsiteX3" fmla="*/ 273583 w 601147"/>
              <a:gd name="connsiteY3" fmla="*/ 584917 h 584917"/>
              <a:gd name="connsiteX4" fmla="*/ 273512 w 601147"/>
              <a:gd name="connsiteY4" fmla="*/ 584917 h 584917"/>
              <a:gd name="connsiteX5" fmla="*/ 509977 w 601147"/>
              <a:gd name="connsiteY5" fmla="*/ 386927 h 584917"/>
              <a:gd name="connsiteX6" fmla="*/ 441599 w 601147"/>
              <a:gd name="connsiteY6" fmla="*/ 411333 h 584917"/>
              <a:gd name="connsiteX7" fmla="*/ 441599 w 601147"/>
              <a:gd name="connsiteY7" fmla="*/ 471114 h 584917"/>
              <a:gd name="connsiteX8" fmla="*/ 509977 w 601147"/>
              <a:gd name="connsiteY8" fmla="*/ 558592 h 584917"/>
              <a:gd name="connsiteX9" fmla="*/ 509977 w 601147"/>
              <a:gd name="connsiteY9" fmla="*/ 356214 h 584917"/>
              <a:gd name="connsiteX10" fmla="*/ 601147 w 601147"/>
              <a:gd name="connsiteY10" fmla="*/ 385008 h 584917"/>
              <a:gd name="connsiteX11" fmla="*/ 601147 w 601147"/>
              <a:gd name="connsiteY11" fmla="*/ 471114 h 584917"/>
              <a:gd name="connsiteX12" fmla="*/ 509977 w 601147"/>
              <a:gd name="connsiteY12" fmla="*/ 584917 h 584917"/>
              <a:gd name="connsiteX13" fmla="*/ 418806 w 601147"/>
              <a:gd name="connsiteY13" fmla="*/ 471114 h 584917"/>
              <a:gd name="connsiteX14" fmla="*/ 418806 w 601147"/>
              <a:gd name="connsiteY14" fmla="*/ 385008 h 584917"/>
              <a:gd name="connsiteX15" fmla="*/ 509977 w 601147"/>
              <a:gd name="connsiteY15" fmla="*/ 356214 h 584917"/>
              <a:gd name="connsiteX16" fmla="*/ 273513 w 601147"/>
              <a:gd name="connsiteY16" fmla="*/ 0 h 584917"/>
              <a:gd name="connsiteX17" fmla="*/ 424549 w 601147"/>
              <a:gd name="connsiteY17" fmla="*/ 150820 h 584917"/>
              <a:gd name="connsiteX18" fmla="*/ 341067 w 601147"/>
              <a:gd name="connsiteY18" fmla="*/ 308771 h 584917"/>
              <a:gd name="connsiteX19" fmla="*/ 453383 w 601147"/>
              <a:gd name="connsiteY19" fmla="*/ 364163 h 584917"/>
              <a:gd name="connsiteX20" fmla="*/ 427570 w 601147"/>
              <a:gd name="connsiteY20" fmla="*/ 363889 h 584917"/>
              <a:gd name="connsiteX21" fmla="*/ 395989 w 601147"/>
              <a:gd name="connsiteY21" fmla="*/ 351000 h 584917"/>
              <a:gd name="connsiteX22" fmla="*/ 395989 w 601147"/>
              <a:gd name="connsiteY22" fmla="*/ 471108 h 584917"/>
              <a:gd name="connsiteX23" fmla="*/ 449264 w 601147"/>
              <a:gd name="connsiteY23" fmla="*/ 570376 h 584917"/>
              <a:gd name="connsiteX24" fmla="*/ 273513 w 601147"/>
              <a:gd name="connsiteY24" fmla="*/ 584635 h 584917"/>
              <a:gd name="connsiteX25" fmla="*/ 350129 w 601147"/>
              <a:gd name="connsiteY25" fmla="*/ 508402 h 584917"/>
              <a:gd name="connsiteX26" fmla="*/ 285595 w 601147"/>
              <a:gd name="connsiteY26" fmla="*/ 352646 h 584917"/>
              <a:gd name="connsiteX27" fmla="*/ 286419 w 601147"/>
              <a:gd name="connsiteY27" fmla="*/ 352646 h 584917"/>
              <a:gd name="connsiteX28" fmla="*/ 311409 w 601147"/>
              <a:gd name="connsiteY28" fmla="*/ 323853 h 584917"/>
              <a:gd name="connsiteX29" fmla="*/ 273513 w 601147"/>
              <a:gd name="connsiteY29" fmla="*/ 330708 h 584917"/>
              <a:gd name="connsiteX30" fmla="*/ 235616 w 601147"/>
              <a:gd name="connsiteY30" fmla="*/ 323853 h 584917"/>
              <a:gd name="connsiteX31" fmla="*/ 260880 w 601147"/>
              <a:gd name="connsiteY31" fmla="*/ 352646 h 584917"/>
              <a:gd name="connsiteX32" fmla="*/ 261430 w 601147"/>
              <a:gd name="connsiteY32" fmla="*/ 352646 h 584917"/>
              <a:gd name="connsiteX33" fmla="*/ 196896 w 601147"/>
              <a:gd name="connsiteY33" fmla="*/ 508402 h 584917"/>
              <a:gd name="connsiteX34" fmla="*/ 273513 w 601147"/>
              <a:gd name="connsiteY34" fmla="*/ 584635 h 584917"/>
              <a:gd name="connsiteX35" fmla="*/ 0 w 601147"/>
              <a:gd name="connsiteY35" fmla="*/ 517451 h 584917"/>
              <a:gd name="connsiteX36" fmla="*/ 205958 w 601147"/>
              <a:gd name="connsiteY36" fmla="*/ 308771 h 584917"/>
              <a:gd name="connsiteX37" fmla="*/ 122476 w 601147"/>
              <a:gd name="connsiteY37" fmla="*/ 150820 h 584917"/>
              <a:gd name="connsiteX38" fmla="*/ 273513 w 601147"/>
              <a:gd name="connsiteY38" fmla="*/ 0 h 5849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601147" h="584917">
                <a:moveTo>
                  <a:pt x="273512" y="584635"/>
                </a:moveTo>
                <a:lnTo>
                  <a:pt x="273513" y="584635"/>
                </a:lnTo>
                <a:lnTo>
                  <a:pt x="273583" y="584635"/>
                </a:lnTo>
                <a:lnTo>
                  <a:pt x="273583" y="584917"/>
                </a:lnTo>
                <a:lnTo>
                  <a:pt x="273512" y="584917"/>
                </a:lnTo>
                <a:close/>
                <a:moveTo>
                  <a:pt x="509977" y="386927"/>
                </a:moveTo>
                <a:cubicBezTo>
                  <a:pt x="484163" y="406671"/>
                  <a:pt x="459448" y="411333"/>
                  <a:pt x="441599" y="411333"/>
                </a:cubicBezTo>
                <a:lnTo>
                  <a:pt x="441599" y="471114"/>
                </a:lnTo>
                <a:cubicBezTo>
                  <a:pt x="441599" y="509505"/>
                  <a:pt x="484438" y="543235"/>
                  <a:pt x="509977" y="558592"/>
                </a:cubicBezTo>
                <a:close/>
                <a:moveTo>
                  <a:pt x="509977" y="356214"/>
                </a:moveTo>
                <a:cubicBezTo>
                  <a:pt x="555562" y="403929"/>
                  <a:pt x="601147" y="385008"/>
                  <a:pt x="601147" y="385008"/>
                </a:cubicBezTo>
                <a:lnTo>
                  <a:pt x="601147" y="471114"/>
                </a:lnTo>
                <a:cubicBezTo>
                  <a:pt x="601147" y="539396"/>
                  <a:pt x="509977" y="584917"/>
                  <a:pt x="509977" y="584917"/>
                </a:cubicBezTo>
                <a:cubicBezTo>
                  <a:pt x="509977" y="584917"/>
                  <a:pt x="418806" y="539396"/>
                  <a:pt x="418806" y="471114"/>
                </a:cubicBezTo>
                <a:lnTo>
                  <a:pt x="418806" y="385008"/>
                </a:lnTo>
                <a:cubicBezTo>
                  <a:pt x="418806" y="385008"/>
                  <a:pt x="464391" y="403929"/>
                  <a:pt x="509977" y="356214"/>
                </a:cubicBezTo>
                <a:close/>
                <a:moveTo>
                  <a:pt x="273513" y="0"/>
                </a:moveTo>
                <a:cubicBezTo>
                  <a:pt x="356994" y="0"/>
                  <a:pt x="424549" y="67458"/>
                  <a:pt x="424549" y="150820"/>
                </a:cubicBezTo>
                <a:cubicBezTo>
                  <a:pt x="424549" y="210052"/>
                  <a:pt x="390497" y="275590"/>
                  <a:pt x="341067" y="308771"/>
                </a:cubicBezTo>
                <a:cubicBezTo>
                  <a:pt x="383357" y="319465"/>
                  <a:pt x="421528" y="339483"/>
                  <a:pt x="453383" y="364163"/>
                </a:cubicBezTo>
                <a:cubicBezTo>
                  <a:pt x="438280" y="367454"/>
                  <a:pt x="427570" y="363889"/>
                  <a:pt x="427570" y="363889"/>
                </a:cubicBezTo>
                <a:lnTo>
                  <a:pt x="395989" y="351000"/>
                </a:lnTo>
                <a:lnTo>
                  <a:pt x="395989" y="471108"/>
                </a:lnTo>
                <a:cubicBezTo>
                  <a:pt x="395989" y="513338"/>
                  <a:pt x="422901" y="547341"/>
                  <a:pt x="449264" y="570376"/>
                </a:cubicBezTo>
                <a:cubicBezTo>
                  <a:pt x="399559" y="579973"/>
                  <a:pt x="336673" y="584635"/>
                  <a:pt x="273513" y="584635"/>
                </a:cubicBezTo>
                <a:lnTo>
                  <a:pt x="350129" y="508402"/>
                </a:lnTo>
                <a:lnTo>
                  <a:pt x="285595" y="352646"/>
                </a:lnTo>
                <a:lnTo>
                  <a:pt x="286419" y="352646"/>
                </a:lnTo>
                <a:lnTo>
                  <a:pt x="311409" y="323853"/>
                </a:lnTo>
                <a:cubicBezTo>
                  <a:pt x="299326" y="328240"/>
                  <a:pt x="286694" y="330708"/>
                  <a:pt x="273513" y="330708"/>
                </a:cubicBezTo>
                <a:cubicBezTo>
                  <a:pt x="260331" y="330708"/>
                  <a:pt x="247699" y="328240"/>
                  <a:pt x="235616" y="323853"/>
                </a:cubicBezTo>
                <a:lnTo>
                  <a:pt x="260880" y="352646"/>
                </a:lnTo>
                <a:lnTo>
                  <a:pt x="261430" y="352646"/>
                </a:lnTo>
                <a:lnTo>
                  <a:pt x="196896" y="508402"/>
                </a:lnTo>
                <a:lnTo>
                  <a:pt x="273513" y="584635"/>
                </a:lnTo>
                <a:cubicBezTo>
                  <a:pt x="136756" y="584635"/>
                  <a:pt x="0" y="562423"/>
                  <a:pt x="0" y="517451"/>
                </a:cubicBezTo>
                <a:cubicBezTo>
                  <a:pt x="0" y="441218"/>
                  <a:pt x="87601" y="338661"/>
                  <a:pt x="205958" y="308771"/>
                </a:cubicBezTo>
                <a:cubicBezTo>
                  <a:pt x="156528" y="275590"/>
                  <a:pt x="122476" y="210052"/>
                  <a:pt x="122476" y="150820"/>
                </a:cubicBezTo>
                <a:cubicBezTo>
                  <a:pt x="122476" y="67458"/>
                  <a:pt x="190031" y="0"/>
                  <a:pt x="273513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962F45E1-A34C-4FB4-B4F1-710356024E31}"/>
              </a:ext>
            </a:extLst>
          </p:cNvPr>
          <p:cNvSpPr/>
          <p:nvPr/>
        </p:nvSpPr>
        <p:spPr bwMode="auto">
          <a:xfrm>
            <a:off x="1078129" y="5377963"/>
            <a:ext cx="3123180" cy="3875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400" i="1" u="sng" dirty="0">
                <a:solidFill>
                  <a:schemeClr val="accent2"/>
                </a:solidFill>
              </a:rPr>
              <a:t>... </a:t>
            </a:r>
            <a:r>
              <a:rPr lang="zh-CN" altLang="en-US" sz="1400" i="1" u="sng" dirty="0">
                <a:solidFill>
                  <a:schemeClr val="accent2"/>
                </a:solidFill>
              </a:rPr>
              <a:t>￥ </a:t>
            </a:r>
            <a:r>
              <a:rPr lang="en-US" altLang="zh-CN" sz="1400" i="1" u="sng" dirty="0">
                <a:solidFill>
                  <a:schemeClr val="accent2"/>
                </a:solidFill>
              </a:rPr>
              <a:t>| 27 %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88677135-4E1D-4909-8E8F-4298FFC66CDC}"/>
              </a:ext>
            </a:extLst>
          </p:cNvPr>
          <p:cNvSpPr/>
          <p:nvPr/>
        </p:nvSpPr>
        <p:spPr bwMode="auto">
          <a:xfrm>
            <a:off x="4534409" y="5377963"/>
            <a:ext cx="3123180" cy="3875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400" i="1" u="sng" dirty="0">
                <a:solidFill>
                  <a:schemeClr val="accent2"/>
                </a:solidFill>
              </a:rPr>
              <a:t>... </a:t>
            </a:r>
            <a:r>
              <a:rPr lang="zh-CN" altLang="en-US" sz="1400" i="1" u="sng" dirty="0">
                <a:solidFill>
                  <a:schemeClr val="accent2"/>
                </a:solidFill>
              </a:rPr>
              <a:t>￥ </a:t>
            </a:r>
            <a:r>
              <a:rPr lang="en-US" altLang="zh-CN" sz="1400" i="1" u="sng" dirty="0">
                <a:solidFill>
                  <a:schemeClr val="accent2"/>
                </a:solidFill>
              </a:rPr>
              <a:t>| 54 %</a:t>
            </a: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3B16DE21-D850-4CFB-9CA3-3BC187E48A51}"/>
              </a:ext>
            </a:extLst>
          </p:cNvPr>
          <p:cNvSpPr/>
          <p:nvPr/>
        </p:nvSpPr>
        <p:spPr bwMode="auto">
          <a:xfrm>
            <a:off x="7990689" y="5377963"/>
            <a:ext cx="3123180" cy="3875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400" i="1" u="sng" dirty="0">
                <a:solidFill>
                  <a:schemeClr val="accent2"/>
                </a:solidFill>
              </a:rPr>
              <a:t>... </a:t>
            </a:r>
            <a:r>
              <a:rPr lang="zh-CN" altLang="en-US" sz="1400" i="1" u="sng" dirty="0">
                <a:solidFill>
                  <a:schemeClr val="accent2"/>
                </a:solidFill>
              </a:rPr>
              <a:t>￥ </a:t>
            </a:r>
            <a:r>
              <a:rPr lang="en-US" altLang="zh-CN" sz="1400" i="1" u="sng" dirty="0">
                <a:solidFill>
                  <a:schemeClr val="accent2"/>
                </a:solidFill>
              </a:rPr>
              <a:t>| 19 %</a:t>
            </a:r>
          </a:p>
        </p:txBody>
      </p:sp>
    </p:spTree>
    <p:extLst>
      <p:ext uri="{BB962C8B-B14F-4D97-AF65-F5344CB8AC3E}">
        <p14:creationId xmlns:p14="http://schemas.microsoft.com/office/powerpoint/2010/main" val="35928986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6</a:t>
            </a:fld>
            <a:endParaRPr lang="zh-CN" altLang="en-US"/>
          </a:p>
        </p:txBody>
      </p:sp>
      <p:sp>
        <p:nvSpPr>
          <p:cNvPr id="32" name="任意多边形: 形状 31">
            <a:extLst>
              <a:ext uri="{FF2B5EF4-FFF2-40B4-BE49-F238E27FC236}">
                <a16:creationId xmlns:a16="http://schemas.microsoft.com/office/drawing/2014/main" id="{CC9D7802-C0FC-42D1-AA19-8948C76406C2}"/>
              </a:ext>
            </a:extLst>
          </p:cNvPr>
          <p:cNvSpPr/>
          <p:nvPr/>
        </p:nvSpPr>
        <p:spPr bwMode="auto">
          <a:xfrm>
            <a:off x="6531391" y="2431274"/>
            <a:ext cx="434643" cy="469137"/>
          </a:xfrm>
          <a:custGeom>
            <a:avLst/>
            <a:gdLst>
              <a:gd name="T0" fmla="*/ 171 w 345"/>
              <a:gd name="T1" fmla="*/ 0 h 372"/>
              <a:gd name="T2" fmla="*/ 0 w 345"/>
              <a:gd name="T3" fmla="*/ 171 h 372"/>
              <a:gd name="T4" fmla="*/ 0 w 345"/>
              <a:gd name="T5" fmla="*/ 372 h 372"/>
              <a:gd name="T6" fmla="*/ 345 w 345"/>
              <a:gd name="T7" fmla="*/ 372 h 372"/>
              <a:gd name="T8" fmla="*/ 345 w 345"/>
              <a:gd name="T9" fmla="*/ 171 h 372"/>
              <a:gd name="T10" fmla="*/ 171 w 345"/>
              <a:gd name="T11" fmla="*/ 0 h 3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45" h="372">
                <a:moveTo>
                  <a:pt x="171" y="0"/>
                </a:moveTo>
                <a:cubicBezTo>
                  <a:pt x="75" y="0"/>
                  <a:pt x="0" y="78"/>
                  <a:pt x="0" y="171"/>
                </a:cubicBezTo>
                <a:cubicBezTo>
                  <a:pt x="0" y="372"/>
                  <a:pt x="0" y="372"/>
                  <a:pt x="0" y="372"/>
                </a:cubicBezTo>
                <a:cubicBezTo>
                  <a:pt x="345" y="372"/>
                  <a:pt x="345" y="372"/>
                  <a:pt x="345" y="372"/>
                </a:cubicBezTo>
                <a:cubicBezTo>
                  <a:pt x="345" y="171"/>
                  <a:pt x="345" y="171"/>
                  <a:pt x="345" y="171"/>
                </a:cubicBezTo>
                <a:cubicBezTo>
                  <a:pt x="345" y="78"/>
                  <a:pt x="267" y="0"/>
                  <a:pt x="171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985145D4-7025-4201-AC34-F33330F8F44D}"/>
              </a:ext>
            </a:extLst>
          </p:cNvPr>
          <p:cNvSpPr/>
          <p:nvPr/>
        </p:nvSpPr>
        <p:spPr bwMode="auto">
          <a:xfrm>
            <a:off x="6746988" y="2434724"/>
            <a:ext cx="1740295" cy="2073176"/>
          </a:xfrm>
          <a:custGeom>
            <a:avLst/>
            <a:gdLst>
              <a:gd name="T0" fmla="*/ 1378 w 1378"/>
              <a:gd name="T1" fmla="*/ 171 h 1642"/>
              <a:gd name="T2" fmla="*/ 1207 w 1378"/>
              <a:gd name="T3" fmla="*/ 0 h 1642"/>
              <a:gd name="T4" fmla="*/ 0 w 1378"/>
              <a:gd name="T5" fmla="*/ 0 h 1642"/>
              <a:gd name="T6" fmla="*/ 171 w 1378"/>
              <a:gd name="T7" fmla="*/ 171 h 1642"/>
              <a:gd name="T8" fmla="*/ 171 w 1378"/>
              <a:gd name="T9" fmla="*/ 174 h 1642"/>
              <a:gd name="T10" fmla="*/ 171 w 1378"/>
              <a:gd name="T11" fmla="*/ 373 h 1642"/>
              <a:gd name="T12" fmla="*/ 171 w 1378"/>
              <a:gd name="T13" fmla="*/ 1549 h 1642"/>
              <a:gd name="T14" fmla="*/ 264 w 1378"/>
              <a:gd name="T15" fmla="*/ 1642 h 1642"/>
              <a:gd name="T16" fmla="*/ 1005 w 1378"/>
              <a:gd name="T17" fmla="*/ 1642 h 1642"/>
              <a:gd name="T18" fmla="*/ 1378 w 1378"/>
              <a:gd name="T19" fmla="*/ 1269 h 1642"/>
              <a:gd name="T20" fmla="*/ 1378 w 1378"/>
              <a:gd name="T21" fmla="*/ 171 h 16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378" h="1642">
                <a:moveTo>
                  <a:pt x="1378" y="171"/>
                </a:moveTo>
                <a:cubicBezTo>
                  <a:pt x="1378" y="75"/>
                  <a:pt x="1300" y="0"/>
                  <a:pt x="1207" y="0"/>
                </a:cubicBezTo>
                <a:cubicBezTo>
                  <a:pt x="0" y="0"/>
                  <a:pt x="0" y="0"/>
                  <a:pt x="0" y="0"/>
                </a:cubicBezTo>
                <a:cubicBezTo>
                  <a:pt x="96" y="0"/>
                  <a:pt x="171" y="78"/>
                  <a:pt x="171" y="171"/>
                </a:cubicBezTo>
                <a:cubicBezTo>
                  <a:pt x="171" y="174"/>
                  <a:pt x="171" y="174"/>
                  <a:pt x="171" y="174"/>
                </a:cubicBezTo>
                <a:cubicBezTo>
                  <a:pt x="171" y="373"/>
                  <a:pt x="171" y="373"/>
                  <a:pt x="171" y="373"/>
                </a:cubicBezTo>
                <a:cubicBezTo>
                  <a:pt x="171" y="1549"/>
                  <a:pt x="171" y="1549"/>
                  <a:pt x="171" y="1549"/>
                </a:cubicBezTo>
                <a:cubicBezTo>
                  <a:pt x="171" y="1601"/>
                  <a:pt x="211" y="1642"/>
                  <a:pt x="264" y="1642"/>
                </a:cubicBezTo>
                <a:cubicBezTo>
                  <a:pt x="1005" y="1642"/>
                  <a:pt x="1005" y="1642"/>
                  <a:pt x="1005" y="1642"/>
                </a:cubicBezTo>
                <a:cubicBezTo>
                  <a:pt x="1378" y="1269"/>
                  <a:pt x="1378" y="1269"/>
                  <a:pt x="1378" y="1269"/>
                </a:cubicBezTo>
                <a:cubicBezTo>
                  <a:pt x="1378" y="171"/>
                  <a:pt x="1378" y="171"/>
                  <a:pt x="1378" y="171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4" name="任意多边形: 形状 33">
            <a:extLst>
              <a:ext uri="{FF2B5EF4-FFF2-40B4-BE49-F238E27FC236}">
                <a16:creationId xmlns:a16="http://schemas.microsoft.com/office/drawing/2014/main" id="{01EA622B-5477-4255-999E-789312A84642}"/>
              </a:ext>
            </a:extLst>
          </p:cNvPr>
          <p:cNvSpPr/>
          <p:nvPr/>
        </p:nvSpPr>
        <p:spPr bwMode="auto">
          <a:xfrm>
            <a:off x="7119538" y="2591678"/>
            <a:ext cx="1210790" cy="1759268"/>
          </a:xfrm>
          <a:custGeom>
            <a:avLst/>
            <a:gdLst>
              <a:gd name="connsiteX0" fmla="*/ 114300 w 1114425"/>
              <a:gd name="connsiteY0" fmla="*/ 1089024 h 1619250"/>
              <a:gd name="connsiteX1" fmla="*/ 114300 w 1114425"/>
              <a:gd name="connsiteY1" fmla="*/ 1162049 h 1619250"/>
              <a:gd name="connsiteX2" fmla="*/ 998538 w 1114425"/>
              <a:gd name="connsiteY2" fmla="*/ 1162049 h 1619250"/>
              <a:gd name="connsiteX3" fmla="*/ 998538 w 1114425"/>
              <a:gd name="connsiteY3" fmla="*/ 1089024 h 1619250"/>
              <a:gd name="connsiteX4" fmla="*/ 114300 w 1114425"/>
              <a:gd name="connsiteY4" fmla="*/ 887411 h 1619250"/>
              <a:gd name="connsiteX5" fmla="*/ 114300 w 1114425"/>
              <a:gd name="connsiteY5" fmla="*/ 958849 h 1619250"/>
              <a:gd name="connsiteX6" fmla="*/ 998538 w 1114425"/>
              <a:gd name="connsiteY6" fmla="*/ 958849 h 1619250"/>
              <a:gd name="connsiteX7" fmla="*/ 998538 w 1114425"/>
              <a:gd name="connsiteY7" fmla="*/ 887411 h 1619250"/>
              <a:gd name="connsiteX8" fmla="*/ 114300 w 1114425"/>
              <a:gd name="connsiteY8" fmla="*/ 681036 h 1619250"/>
              <a:gd name="connsiteX9" fmla="*/ 114300 w 1114425"/>
              <a:gd name="connsiteY9" fmla="*/ 754061 h 1619250"/>
              <a:gd name="connsiteX10" fmla="*/ 998538 w 1114425"/>
              <a:gd name="connsiteY10" fmla="*/ 754061 h 1619250"/>
              <a:gd name="connsiteX11" fmla="*/ 998538 w 1114425"/>
              <a:gd name="connsiteY11" fmla="*/ 681036 h 1619250"/>
              <a:gd name="connsiteX12" fmla="*/ 114300 w 1114425"/>
              <a:gd name="connsiteY12" fmla="*/ 479424 h 1619250"/>
              <a:gd name="connsiteX13" fmla="*/ 114300 w 1114425"/>
              <a:gd name="connsiteY13" fmla="*/ 550862 h 1619250"/>
              <a:gd name="connsiteX14" fmla="*/ 998538 w 1114425"/>
              <a:gd name="connsiteY14" fmla="*/ 550862 h 1619250"/>
              <a:gd name="connsiteX15" fmla="*/ 998538 w 1114425"/>
              <a:gd name="connsiteY15" fmla="*/ 479424 h 1619250"/>
              <a:gd name="connsiteX16" fmla="*/ 114300 w 1114425"/>
              <a:gd name="connsiteY16" fmla="*/ 277811 h 1619250"/>
              <a:gd name="connsiteX17" fmla="*/ 114300 w 1114425"/>
              <a:gd name="connsiteY17" fmla="*/ 349249 h 1619250"/>
              <a:gd name="connsiteX18" fmla="*/ 998538 w 1114425"/>
              <a:gd name="connsiteY18" fmla="*/ 349249 h 1619250"/>
              <a:gd name="connsiteX19" fmla="*/ 998538 w 1114425"/>
              <a:gd name="connsiteY19" fmla="*/ 277811 h 1619250"/>
              <a:gd name="connsiteX20" fmla="*/ 0 w 1114425"/>
              <a:gd name="connsiteY20" fmla="*/ 0 h 1619250"/>
              <a:gd name="connsiteX21" fmla="*/ 1059808 w 1114425"/>
              <a:gd name="connsiteY21" fmla="*/ 0 h 1619250"/>
              <a:gd name="connsiteX22" fmla="*/ 1114425 w 1114425"/>
              <a:gd name="connsiteY22" fmla="*/ 54595 h 1619250"/>
              <a:gd name="connsiteX23" fmla="*/ 1114425 w 1114425"/>
              <a:gd name="connsiteY23" fmla="*/ 1330015 h 1619250"/>
              <a:gd name="connsiteX24" fmla="*/ 825070 w 1114425"/>
              <a:gd name="connsiteY24" fmla="*/ 1619250 h 1619250"/>
              <a:gd name="connsiteX25" fmla="*/ 3486 w 1114425"/>
              <a:gd name="connsiteY25" fmla="*/ 1619250 h 1619250"/>
              <a:gd name="connsiteX26" fmla="*/ 3486 w 1114425"/>
              <a:gd name="connsiteY26" fmla="*/ 1615765 h 1619250"/>
              <a:gd name="connsiteX27" fmla="*/ 3486 w 1114425"/>
              <a:gd name="connsiteY27" fmla="*/ 58079 h 1619250"/>
              <a:gd name="connsiteX28" fmla="*/ 0 w 1114425"/>
              <a:gd name="connsiteY28" fmla="*/ 0 h 1619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114425" h="1619250">
                <a:moveTo>
                  <a:pt x="114300" y="1089024"/>
                </a:moveTo>
                <a:lnTo>
                  <a:pt x="114300" y="1162049"/>
                </a:lnTo>
                <a:lnTo>
                  <a:pt x="998538" y="1162049"/>
                </a:lnTo>
                <a:lnTo>
                  <a:pt x="998538" y="1089024"/>
                </a:lnTo>
                <a:close/>
                <a:moveTo>
                  <a:pt x="114300" y="887411"/>
                </a:moveTo>
                <a:lnTo>
                  <a:pt x="114300" y="958849"/>
                </a:lnTo>
                <a:lnTo>
                  <a:pt x="998538" y="958849"/>
                </a:lnTo>
                <a:lnTo>
                  <a:pt x="998538" y="887411"/>
                </a:lnTo>
                <a:close/>
                <a:moveTo>
                  <a:pt x="114300" y="681036"/>
                </a:moveTo>
                <a:lnTo>
                  <a:pt x="114300" y="754061"/>
                </a:lnTo>
                <a:lnTo>
                  <a:pt x="998538" y="754061"/>
                </a:lnTo>
                <a:lnTo>
                  <a:pt x="998538" y="681036"/>
                </a:lnTo>
                <a:close/>
                <a:moveTo>
                  <a:pt x="114300" y="479424"/>
                </a:moveTo>
                <a:lnTo>
                  <a:pt x="114300" y="550862"/>
                </a:lnTo>
                <a:lnTo>
                  <a:pt x="998538" y="550862"/>
                </a:lnTo>
                <a:lnTo>
                  <a:pt x="998538" y="479424"/>
                </a:lnTo>
                <a:close/>
                <a:moveTo>
                  <a:pt x="114300" y="277811"/>
                </a:moveTo>
                <a:lnTo>
                  <a:pt x="114300" y="349249"/>
                </a:lnTo>
                <a:lnTo>
                  <a:pt x="998538" y="349249"/>
                </a:lnTo>
                <a:lnTo>
                  <a:pt x="998538" y="277811"/>
                </a:lnTo>
                <a:close/>
                <a:moveTo>
                  <a:pt x="0" y="0"/>
                </a:moveTo>
                <a:cubicBezTo>
                  <a:pt x="1059808" y="0"/>
                  <a:pt x="1059808" y="0"/>
                  <a:pt x="1059808" y="0"/>
                </a:cubicBezTo>
                <a:cubicBezTo>
                  <a:pt x="1092346" y="0"/>
                  <a:pt x="1114425" y="25555"/>
                  <a:pt x="1114425" y="54595"/>
                </a:cubicBezTo>
                <a:cubicBezTo>
                  <a:pt x="1114425" y="1330015"/>
                  <a:pt x="1114425" y="1330015"/>
                  <a:pt x="1114425" y="1330015"/>
                </a:cubicBezTo>
                <a:cubicBezTo>
                  <a:pt x="825070" y="1619250"/>
                  <a:pt x="825070" y="1619250"/>
                  <a:pt x="825070" y="1619250"/>
                </a:cubicBezTo>
                <a:cubicBezTo>
                  <a:pt x="3486" y="1619250"/>
                  <a:pt x="3486" y="1619250"/>
                  <a:pt x="3486" y="1619250"/>
                </a:cubicBezTo>
                <a:lnTo>
                  <a:pt x="3486" y="1615765"/>
                </a:lnTo>
                <a:cubicBezTo>
                  <a:pt x="3486" y="58079"/>
                  <a:pt x="3486" y="58079"/>
                  <a:pt x="3486" y="58079"/>
                </a:cubicBezTo>
                <a:cubicBezTo>
                  <a:pt x="3486" y="36009"/>
                  <a:pt x="3486" y="18585"/>
                  <a:pt x="0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35" name="任意多边形: 形状 34">
            <a:extLst>
              <a:ext uri="{FF2B5EF4-FFF2-40B4-BE49-F238E27FC236}">
                <a16:creationId xmlns:a16="http://schemas.microsoft.com/office/drawing/2014/main" id="{D8B504E6-6D1A-4CD9-8002-E968C7B85D75}"/>
              </a:ext>
            </a:extLst>
          </p:cNvPr>
          <p:cNvSpPr/>
          <p:nvPr/>
        </p:nvSpPr>
        <p:spPr bwMode="auto">
          <a:xfrm>
            <a:off x="8016420" y="4033588"/>
            <a:ext cx="470864" cy="470864"/>
          </a:xfrm>
          <a:custGeom>
            <a:avLst/>
            <a:gdLst>
              <a:gd name="T0" fmla="*/ 0 w 373"/>
              <a:gd name="T1" fmla="*/ 373 h 373"/>
              <a:gd name="T2" fmla="*/ 373 w 373"/>
              <a:gd name="T3" fmla="*/ 0 h 373"/>
              <a:gd name="T4" fmla="*/ 93 w 373"/>
              <a:gd name="T5" fmla="*/ 0 h 373"/>
              <a:gd name="T6" fmla="*/ 0 w 373"/>
              <a:gd name="T7" fmla="*/ 93 h 373"/>
              <a:gd name="T8" fmla="*/ 0 w 373"/>
              <a:gd name="T9" fmla="*/ 373 h 3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3" h="373">
                <a:moveTo>
                  <a:pt x="0" y="373"/>
                </a:moveTo>
                <a:cubicBezTo>
                  <a:pt x="373" y="0"/>
                  <a:pt x="373" y="0"/>
                  <a:pt x="373" y="0"/>
                </a:cubicBezTo>
                <a:cubicBezTo>
                  <a:pt x="93" y="0"/>
                  <a:pt x="93" y="0"/>
                  <a:pt x="93" y="0"/>
                </a:cubicBezTo>
                <a:cubicBezTo>
                  <a:pt x="41" y="0"/>
                  <a:pt x="0" y="41"/>
                  <a:pt x="0" y="93"/>
                </a:cubicBezTo>
                <a:lnTo>
                  <a:pt x="0" y="3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B77F7ACB-9A69-4FC5-B286-92C61165FC77}"/>
              </a:ext>
            </a:extLst>
          </p:cNvPr>
          <p:cNvSpPr/>
          <p:nvPr/>
        </p:nvSpPr>
        <p:spPr bwMode="auto">
          <a:xfrm>
            <a:off x="6491722" y="2395054"/>
            <a:ext cx="513982" cy="550203"/>
          </a:xfrm>
          <a:custGeom>
            <a:avLst/>
            <a:gdLst>
              <a:gd name="T0" fmla="*/ 376 w 407"/>
              <a:gd name="T1" fmla="*/ 435 h 435"/>
              <a:gd name="T2" fmla="*/ 31 w 407"/>
              <a:gd name="T3" fmla="*/ 435 h 435"/>
              <a:gd name="T4" fmla="*/ 0 w 407"/>
              <a:gd name="T5" fmla="*/ 404 h 435"/>
              <a:gd name="T6" fmla="*/ 0 w 407"/>
              <a:gd name="T7" fmla="*/ 202 h 435"/>
              <a:gd name="T8" fmla="*/ 202 w 407"/>
              <a:gd name="T9" fmla="*/ 0 h 435"/>
              <a:gd name="T10" fmla="*/ 404 w 407"/>
              <a:gd name="T11" fmla="*/ 202 h 435"/>
              <a:gd name="T12" fmla="*/ 404 w 407"/>
              <a:gd name="T13" fmla="*/ 404 h 435"/>
              <a:gd name="T14" fmla="*/ 376 w 407"/>
              <a:gd name="T15" fmla="*/ 435 h 435"/>
              <a:gd name="T16" fmla="*/ 62 w 407"/>
              <a:gd name="T17" fmla="*/ 373 h 435"/>
              <a:gd name="T18" fmla="*/ 345 w 407"/>
              <a:gd name="T19" fmla="*/ 373 h 435"/>
              <a:gd name="T20" fmla="*/ 345 w 407"/>
              <a:gd name="T21" fmla="*/ 202 h 435"/>
              <a:gd name="T22" fmla="*/ 205 w 407"/>
              <a:gd name="T23" fmla="*/ 62 h 435"/>
              <a:gd name="T24" fmla="*/ 65 w 407"/>
              <a:gd name="T25" fmla="*/ 202 h 435"/>
              <a:gd name="T26" fmla="*/ 65 w 407"/>
              <a:gd name="T27" fmla="*/ 373 h 435"/>
              <a:gd name="T28" fmla="*/ 62 w 407"/>
              <a:gd name="T29" fmla="*/ 373 h 4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07" h="435">
                <a:moveTo>
                  <a:pt x="376" y="435"/>
                </a:moveTo>
                <a:cubicBezTo>
                  <a:pt x="31" y="435"/>
                  <a:pt x="31" y="435"/>
                  <a:pt x="31" y="435"/>
                </a:cubicBezTo>
                <a:cubicBezTo>
                  <a:pt x="13" y="435"/>
                  <a:pt x="0" y="422"/>
                  <a:pt x="0" y="404"/>
                </a:cubicBezTo>
                <a:cubicBezTo>
                  <a:pt x="0" y="202"/>
                  <a:pt x="0" y="202"/>
                  <a:pt x="0" y="202"/>
                </a:cubicBezTo>
                <a:cubicBezTo>
                  <a:pt x="0" y="90"/>
                  <a:pt x="90" y="0"/>
                  <a:pt x="202" y="0"/>
                </a:cubicBezTo>
                <a:cubicBezTo>
                  <a:pt x="314" y="0"/>
                  <a:pt x="404" y="90"/>
                  <a:pt x="404" y="202"/>
                </a:cubicBezTo>
                <a:cubicBezTo>
                  <a:pt x="404" y="404"/>
                  <a:pt x="404" y="404"/>
                  <a:pt x="404" y="404"/>
                </a:cubicBezTo>
                <a:cubicBezTo>
                  <a:pt x="407" y="419"/>
                  <a:pt x="391" y="435"/>
                  <a:pt x="376" y="435"/>
                </a:cubicBezTo>
                <a:close/>
                <a:moveTo>
                  <a:pt x="62" y="373"/>
                </a:moveTo>
                <a:cubicBezTo>
                  <a:pt x="345" y="373"/>
                  <a:pt x="345" y="373"/>
                  <a:pt x="345" y="373"/>
                </a:cubicBezTo>
                <a:cubicBezTo>
                  <a:pt x="345" y="202"/>
                  <a:pt x="345" y="202"/>
                  <a:pt x="345" y="202"/>
                </a:cubicBezTo>
                <a:cubicBezTo>
                  <a:pt x="345" y="124"/>
                  <a:pt x="283" y="62"/>
                  <a:pt x="205" y="62"/>
                </a:cubicBezTo>
                <a:cubicBezTo>
                  <a:pt x="128" y="62"/>
                  <a:pt x="65" y="124"/>
                  <a:pt x="65" y="202"/>
                </a:cubicBezTo>
                <a:cubicBezTo>
                  <a:pt x="65" y="373"/>
                  <a:pt x="65" y="373"/>
                  <a:pt x="65" y="373"/>
                </a:cubicBezTo>
                <a:lnTo>
                  <a:pt x="62" y="373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7" name="任意多边形: 形状 36">
            <a:extLst>
              <a:ext uri="{FF2B5EF4-FFF2-40B4-BE49-F238E27FC236}">
                <a16:creationId xmlns:a16="http://schemas.microsoft.com/office/drawing/2014/main" id="{B4CA91A6-DFB6-4C10-891E-516D8E75670D}"/>
              </a:ext>
            </a:extLst>
          </p:cNvPr>
          <p:cNvSpPr/>
          <p:nvPr/>
        </p:nvSpPr>
        <p:spPr bwMode="auto">
          <a:xfrm>
            <a:off x="6710769" y="2395054"/>
            <a:ext cx="1816186" cy="2147342"/>
          </a:xfrm>
          <a:custGeom>
            <a:avLst/>
            <a:gdLst>
              <a:gd name="T0" fmla="*/ 1033 w 1437"/>
              <a:gd name="T1" fmla="*/ 1701 h 1701"/>
              <a:gd name="T2" fmla="*/ 295 w 1437"/>
              <a:gd name="T3" fmla="*/ 1701 h 1701"/>
              <a:gd name="T4" fmla="*/ 171 w 1437"/>
              <a:gd name="T5" fmla="*/ 1577 h 1701"/>
              <a:gd name="T6" fmla="*/ 171 w 1437"/>
              <a:gd name="T7" fmla="*/ 205 h 1701"/>
              <a:gd name="T8" fmla="*/ 31 w 1437"/>
              <a:gd name="T9" fmla="*/ 62 h 1701"/>
              <a:gd name="T10" fmla="*/ 0 w 1437"/>
              <a:gd name="T11" fmla="*/ 31 h 1701"/>
              <a:gd name="T12" fmla="*/ 31 w 1437"/>
              <a:gd name="T13" fmla="*/ 0 h 1701"/>
              <a:gd name="T14" fmla="*/ 1235 w 1437"/>
              <a:gd name="T15" fmla="*/ 0 h 1701"/>
              <a:gd name="T16" fmla="*/ 1437 w 1437"/>
              <a:gd name="T17" fmla="*/ 202 h 1701"/>
              <a:gd name="T18" fmla="*/ 1437 w 1437"/>
              <a:gd name="T19" fmla="*/ 1300 h 1701"/>
              <a:gd name="T20" fmla="*/ 1427 w 1437"/>
              <a:gd name="T21" fmla="*/ 1322 h 1701"/>
              <a:gd name="T22" fmla="*/ 1055 w 1437"/>
              <a:gd name="T23" fmla="*/ 1694 h 1701"/>
              <a:gd name="T24" fmla="*/ 1033 w 1437"/>
              <a:gd name="T25" fmla="*/ 1701 h 1701"/>
              <a:gd name="T26" fmla="*/ 174 w 1437"/>
              <a:gd name="T27" fmla="*/ 59 h 1701"/>
              <a:gd name="T28" fmla="*/ 230 w 1437"/>
              <a:gd name="T29" fmla="*/ 199 h 1701"/>
              <a:gd name="T30" fmla="*/ 230 w 1437"/>
              <a:gd name="T31" fmla="*/ 1573 h 1701"/>
              <a:gd name="T32" fmla="*/ 292 w 1437"/>
              <a:gd name="T33" fmla="*/ 1635 h 1701"/>
              <a:gd name="T34" fmla="*/ 1018 w 1437"/>
              <a:gd name="T35" fmla="*/ 1635 h 1701"/>
              <a:gd name="T36" fmla="*/ 1372 w 1437"/>
              <a:gd name="T37" fmla="*/ 1282 h 1701"/>
              <a:gd name="T38" fmla="*/ 1372 w 1437"/>
              <a:gd name="T39" fmla="*/ 202 h 1701"/>
              <a:gd name="T40" fmla="*/ 1232 w 1437"/>
              <a:gd name="T41" fmla="*/ 62 h 1701"/>
              <a:gd name="T42" fmla="*/ 174 w 1437"/>
              <a:gd name="T43" fmla="*/ 62 h 1701"/>
              <a:gd name="T44" fmla="*/ 174 w 1437"/>
              <a:gd name="T45" fmla="*/ 59 h 17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437" h="1701">
                <a:moveTo>
                  <a:pt x="1033" y="1701"/>
                </a:moveTo>
                <a:cubicBezTo>
                  <a:pt x="295" y="1701"/>
                  <a:pt x="295" y="1701"/>
                  <a:pt x="295" y="1701"/>
                </a:cubicBezTo>
                <a:cubicBezTo>
                  <a:pt x="227" y="1701"/>
                  <a:pt x="171" y="1645"/>
                  <a:pt x="171" y="1577"/>
                </a:cubicBezTo>
                <a:cubicBezTo>
                  <a:pt x="171" y="205"/>
                  <a:pt x="171" y="205"/>
                  <a:pt x="171" y="205"/>
                </a:cubicBezTo>
                <a:cubicBezTo>
                  <a:pt x="171" y="124"/>
                  <a:pt x="109" y="62"/>
                  <a:pt x="31" y="62"/>
                </a:cubicBezTo>
                <a:cubicBezTo>
                  <a:pt x="12" y="62"/>
                  <a:pt x="0" y="50"/>
                  <a:pt x="0" y="31"/>
                </a:cubicBezTo>
                <a:cubicBezTo>
                  <a:pt x="0" y="13"/>
                  <a:pt x="12" y="0"/>
                  <a:pt x="31" y="0"/>
                </a:cubicBezTo>
                <a:cubicBezTo>
                  <a:pt x="1235" y="0"/>
                  <a:pt x="1235" y="0"/>
                  <a:pt x="1235" y="0"/>
                </a:cubicBezTo>
                <a:cubicBezTo>
                  <a:pt x="1347" y="0"/>
                  <a:pt x="1437" y="90"/>
                  <a:pt x="1437" y="202"/>
                </a:cubicBezTo>
                <a:cubicBezTo>
                  <a:pt x="1437" y="1300"/>
                  <a:pt x="1437" y="1300"/>
                  <a:pt x="1437" y="1300"/>
                </a:cubicBezTo>
                <a:cubicBezTo>
                  <a:pt x="1437" y="1310"/>
                  <a:pt x="1434" y="1316"/>
                  <a:pt x="1427" y="1322"/>
                </a:cubicBezTo>
                <a:cubicBezTo>
                  <a:pt x="1055" y="1694"/>
                  <a:pt x="1055" y="1694"/>
                  <a:pt x="1055" y="1694"/>
                </a:cubicBezTo>
                <a:cubicBezTo>
                  <a:pt x="1049" y="1698"/>
                  <a:pt x="1043" y="1701"/>
                  <a:pt x="1033" y="1701"/>
                </a:cubicBezTo>
                <a:close/>
                <a:moveTo>
                  <a:pt x="174" y="59"/>
                </a:moveTo>
                <a:cubicBezTo>
                  <a:pt x="208" y="96"/>
                  <a:pt x="230" y="146"/>
                  <a:pt x="230" y="199"/>
                </a:cubicBezTo>
                <a:cubicBezTo>
                  <a:pt x="230" y="1573"/>
                  <a:pt x="230" y="1573"/>
                  <a:pt x="230" y="1573"/>
                </a:cubicBezTo>
                <a:cubicBezTo>
                  <a:pt x="230" y="1608"/>
                  <a:pt x="258" y="1635"/>
                  <a:pt x="292" y="1635"/>
                </a:cubicBezTo>
                <a:cubicBezTo>
                  <a:pt x="1018" y="1635"/>
                  <a:pt x="1018" y="1635"/>
                  <a:pt x="1018" y="1635"/>
                </a:cubicBezTo>
                <a:cubicBezTo>
                  <a:pt x="1372" y="1282"/>
                  <a:pt x="1372" y="1282"/>
                  <a:pt x="1372" y="1282"/>
                </a:cubicBezTo>
                <a:cubicBezTo>
                  <a:pt x="1372" y="202"/>
                  <a:pt x="1372" y="202"/>
                  <a:pt x="1372" y="202"/>
                </a:cubicBezTo>
                <a:cubicBezTo>
                  <a:pt x="1372" y="124"/>
                  <a:pt x="1310" y="62"/>
                  <a:pt x="1232" y="62"/>
                </a:cubicBezTo>
                <a:cubicBezTo>
                  <a:pt x="174" y="62"/>
                  <a:pt x="174" y="62"/>
                  <a:pt x="174" y="62"/>
                </a:cubicBezTo>
                <a:lnTo>
                  <a:pt x="174" y="59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8" name="任意多边形: 形状 37">
            <a:extLst>
              <a:ext uri="{FF2B5EF4-FFF2-40B4-BE49-F238E27FC236}">
                <a16:creationId xmlns:a16="http://schemas.microsoft.com/office/drawing/2014/main" id="{07FF1C02-5814-47B7-A69B-579D115D545B}"/>
              </a:ext>
            </a:extLst>
          </p:cNvPr>
          <p:cNvSpPr/>
          <p:nvPr/>
        </p:nvSpPr>
        <p:spPr bwMode="auto">
          <a:xfrm>
            <a:off x="7976752" y="3993917"/>
            <a:ext cx="553652" cy="548478"/>
          </a:xfrm>
          <a:custGeom>
            <a:avLst/>
            <a:gdLst>
              <a:gd name="T0" fmla="*/ 31 w 438"/>
              <a:gd name="T1" fmla="*/ 435 h 435"/>
              <a:gd name="T2" fmla="*/ 19 w 438"/>
              <a:gd name="T3" fmla="*/ 432 h 435"/>
              <a:gd name="T4" fmla="*/ 0 w 438"/>
              <a:gd name="T5" fmla="*/ 404 h 435"/>
              <a:gd name="T6" fmla="*/ 0 w 438"/>
              <a:gd name="T7" fmla="*/ 124 h 435"/>
              <a:gd name="T8" fmla="*/ 124 w 438"/>
              <a:gd name="T9" fmla="*/ 0 h 435"/>
              <a:gd name="T10" fmla="*/ 404 w 438"/>
              <a:gd name="T11" fmla="*/ 0 h 435"/>
              <a:gd name="T12" fmla="*/ 432 w 438"/>
              <a:gd name="T13" fmla="*/ 19 h 435"/>
              <a:gd name="T14" fmla="*/ 425 w 438"/>
              <a:gd name="T15" fmla="*/ 53 h 435"/>
              <a:gd name="T16" fmla="*/ 53 w 438"/>
              <a:gd name="T17" fmla="*/ 425 h 435"/>
              <a:gd name="T18" fmla="*/ 31 w 438"/>
              <a:gd name="T19" fmla="*/ 435 h 435"/>
              <a:gd name="T20" fmla="*/ 124 w 438"/>
              <a:gd name="T21" fmla="*/ 65 h 435"/>
              <a:gd name="T22" fmla="*/ 62 w 438"/>
              <a:gd name="T23" fmla="*/ 127 h 435"/>
              <a:gd name="T24" fmla="*/ 62 w 438"/>
              <a:gd name="T25" fmla="*/ 332 h 435"/>
              <a:gd name="T26" fmla="*/ 329 w 438"/>
              <a:gd name="T27" fmla="*/ 65 h 435"/>
              <a:gd name="T28" fmla="*/ 124 w 438"/>
              <a:gd name="T29" fmla="*/ 65 h 4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38" h="435">
                <a:moveTo>
                  <a:pt x="31" y="435"/>
                </a:moveTo>
                <a:cubicBezTo>
                  <a:pt x="28" y="435"/>
                  <a:pt x="22" y="435"/>
                  <a:pt x="19" y="432"/>
                </a:cubicBezTo>
                <a:cubicBezTo>
                  <a:pt x="7" y="425"/>
                  <a:pt x="0" y="416"/>
                  <a:pt x="0" y="404"/>
                </a:cubicBezTo>
                <a:cubicBezTo>
                  <a:pt x="0" y="124"/>
                  <a:pt x="0" y="124"/>
                  <a:pt x="0" y="124"/>
                </a:cubicBezTo>
                <a:cubicBezTo>
                  <a:pt x="0" y="56"/>
                  <a:pt x="56" y="0"/>
                  <a:pt x="124" y="0"/>
                </a:cubicBezTo>
                <a:cubicBezTo>
                  <a:pt x="404" y="0"/>
                  <a:pt x="404" y="0"/>
                  <a:pt x="404" y="0"/>
                </a:cubicBezTo>
                <a:cubicBezTo>
                  <a:pt x="416" y="0"/>
                  <a:pt x="429" y="6"/>
                  <a:pt x="432" y="19"/>
                </a:cubicBezTo>
                <a:cubicBezTo>
                  <a:pt x="438" y="31"/>
                  <a:pt x="435" y="44"/>
                  <a:pt x="425" y="53"/>
                </a:cubicBezTo>
                <a:cubicBezTo>
                  <a:pt x="53" y="425"/>
                  <a:pt x="53" y="425"/>
                  <a:pt x="53" y="425"/>
                </a:cubicBezTo>
                <a:cubicBezTo>
                  <a:pt x="47" y="432"/>
                  <a:pt x="41" y="435"/>
                  <a:pt x="31" y="435"/>
                </a:cubicBezTo>
                <a:close/>
                <a:moveTo>
                  <a:pt x="124" y="65"/>
                </a:moveTo>
                <a:cubicBezTo>
                  <a:pt x="90" y="65"/>
                  <a:pt x="62" y="93"/>
                  <a:pt x="62" y="127"/>
                </a:cubicBezTo>
                <a:cubicBezTo>
                  <a:pt x="62" y="332"/>
                  <a:pt x="62" y="332"/>
                  <a:pt x="62" y="332"/>
                </a:cubicBezTo>
                <a:cubicBezTo>
                  <a:pt x="329" y="65"/>
                  <a:pt x="329" y="65"/>
                  <a:pt x="329" y="65"/>
                </a:cubicBezTo>
                <a:cubicBezTo>
                  <a:pt x="124" y="65"/>
                  <a:pt x="124" y="65"/>
                  <a:pt x="124" y="65"/>
                </a:cubicBez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39" name="任意多边形: 形状 38">
            <a:extLst>
              <a:ext uri="{FF2B5EF4-FFF2-40B4-BE49-F238E27FC236}">
                <a16:creationId xmlns:a16="http://schemas.microsoft.com/office/drawing/2014/main" id="{5D7D085B-6D09-4BA7-8401-FFA38B17F107}"/>
              </a:ext>
            </a:extLst>
          </p:cNvPr>
          <p:cNvSpPr/>
          <p:nvPr/>
        </p:nvSpPr>
        <p:spPr bwMode="auto">
          <a:xfrm>
            <a:off x="7243723" y="3997367"/>
            <a:ext cx="550203" cy="77615"/>
          </a:xfrm>
          <a:custGeom>
            <a:avLst/>
            <a:gdLst>
              <a:gd name="connsiteX0" fmla="*/ 433388 w 506413"/>
              <a:gd name="connsiteY0" fmla="*/ 0 h 71438"/>
              <a:gd name="connsiteX1" fmla="*/ 506413 w 506413"/>
              <a:gd name="connsiteY1" fmla="*/ 0 h 71438"/>
              <a:gd name="connsiteX2" fmla="*/ 506413 w 506413"/>
              <a:gd name="connsiteY2" fmla="*/ 71438 h 71438"/>
              <a:gd name="connsiteX3" fmla="*/ 433388 w 506413"/>
              <a:gd name="connsiteY3" fmla="*/ 71438 h 71438"/>
              <a:gd name="connsiteX4" fmla="*/ 288925 w 506413"/>
              <a:gd name="connsiteY4" fmla="*/ 0 h 71438"/>
              <a:gd name="connsiteX5" fmla="*/ 361950 w 506413"/>
              <a:gd name="connsiteY5" fmla="*/ 0 h 71438"/>
              <a:gd name="connsiteX6" fmla="*/ 361950 w 506413"/>
              <a:gd name="connsiteY6" fmla="*/ 71438 h 71438"/>
              <a:gd name="connsiteX7" fmla="*/ 288925 w 506413"/>
              <a:gd name="connsiteY7" fmla="*/ 71438 h 71438"/>
              <a:gd name="connsiteX8" fmla="*/ 144463 w 506413"/>
              <a:gd name="connsiteY8" fmla="*/ 0 h 71438"/>
              <a:gd name="connsiteX9" fmla="*/ 217488 w 506413"/>
              <a:gd name="connsiteY9" fmla="*/ 0 h 71438"/>
              <a:gd name="connsiteX10" fmla="*/ 217488 w 506413"/>
              <a:gd name="connsiteY10" fmla="*/ 71438 h 71438"/>
              <a:gd name="connsiteX11" fmla="*/ 144463 w 506413"/>
              <a:gd name="connsiteY11" fmla="*/ 71438 h 71438"/>
              <a:gd name="connsiteX12" fmla="*/ 0 w 506413"/>
              <a:gd name="connsiteY12" fmla="*/ 0 h 71438"/>
              <a:gd name="connsiteX13" fmla="*/ 73025 w 506413"/>
              <a:gd name="connsiteY13" fmla="*/ 0 h 71438"/>
              <a:gd name="connsiteX14" fmla="*/ 73025 w 506413"/>
              <a:gd name="connsiteY14" fmla="*/ 71438 h 71438"/>
              <a:gd name="connsiteX15" fmla="*/ 0 w 506413"/>
              <a:gd name="connsiteY15" fmla="*/ 71438 h 71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06413" h="71438">
                <a:moveTo>
                  <a:pt x="433388" y="0"/>
                </a:moveTo>
                <a:lnTo>
                  <a:pt x="506413" y="0"/>
                </a:lnTo>
                <a:lnTo>
                  <a:pt x="506413" y="71438"/>
                </a:lnTo>
                <a:lnTo>
                  <a:pt x="433388" y="71438"/>
                </a:lnTo>
                <a:close/>
                <a:moveTo>
                  <a:pt x="288925" y="0"/>
                </a:moveTo>
                <a:lnTo>
                  <a:pt x="361950" y="0"/>
                </a:lnTo>
                <a:lnTo>
                  <a:pt x="361950" y="71438"/>
                </a:lnTo>
                <a:lnTo>
                  <a:pt x="288925" y="71438"/>
                </a:lnTo>
                <a:close/>
                <a:moveTo>
                  <a:pt x="144463" y="0"/>
                </a:moveTo>
                <a:lnTo>
                  <a:pt x="217488" y="0"/>
                </a:lnTo>
                <a:lnTo>
                  <a:pt x="217488" y="71438"/>
                </a:lnTo>
                <a:lnTo>
                  <a:pt x="144463" y="71438"/>
                </a:lnTo>
                <a:close/>
                <a:moveTo>
                  <a:pt x="0" y="0"/>
                </a:moveTo>
                <a:lnTo>
                  <a:pt x="73025" y="0"/>
                </a:lnTo>
                <a:lnTo>
                  <a:pt x="73025" y="71438"/>
                </a:lnTo>
                <a:lnTo>
                  <a:pt x="0" y="71438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40" name="椭圆 39">
            <a:extLst>
              <a:ext uri="{FF2B5EF4-FFF2-40B4-BE49-F238E27FC236}">
                <a16:creationId xmlns:a16="http://schemas.microsoft.com/office/drawing/2014/main" id="{9B28370F-34E7-4F6E-BA3E-AED8ABEB7F43}"/>
              </a:ext>
            </a:extLst>
          </p:cNvPr>
          <p:cNvSpPr/>
          <p:nvPr/>
        </p:nvSpPr>
        <p:spPr bwMode="auto">
          <a:xfrm>
            <a:off x="8324278" y="2819731"/>
            <a:ext cx="471648" cy="470334"/>
          </a:xfrm>
          <a:prstGeom prst="ellipse">
            <a:avLst/>
          </a:prstGeom>
          <a:solidFill>
            <a:srgbClr val="2AADFF"/>
          </a:solidFill>
          <a:ln w="57150">
            <a:solidFill>
              <a:schemeClr val="tx2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id="{BD54C740-0A70-4E62-8796-6F72BDE49A7F}"/>
              </a:ext>
            </a:extLst>
          </p:cNvPr>
          <p:cNvSpPr/>
          <p:nvPr/>
        </p:nvSpPr>
        <p:spPr bwMode="auto">
          <a:xfrm>
            <a:off x="8479304" y="2953080"/>
            <a:ext cx="161596" cy="203636"/>
          </a:xfrm>
          <a:custGeom>
            <a:avLst/>
            <a:gdLst>
              <a:gd name="T0" fmla="*/ 152 w 168"/>
              <a:gd name="T1" fmla="*/ 189 h 211"/>
              <a:gd name="T2" fmla="*/ 168 w 168"/>
              <a:gd name="T3" fmla="*/ 149 h 211"/>
              <a:gd name="T4" fmla="*/ 155 w 168"/>
              <a:gd name="T5" fmla="*/ 115 h 211"/>
              <a:gd name="T6" fmla="*/ 131 w 168"/>
              <a:gd name="T7" fmla="*/ 99 h 211"/>
              <a:gd name="T8" fmla="*/ 140 w 168"/>
              <a:gd name="T9" fmla="*/ 93 h 211"/>
              <a:gd name="T10" fmla="*/ 155 w 168"/>
              <a:gd name="T11" fmla="*/ 56 h 211"/>
              <a:gd name="T12" fmla="*/ 140 w 168"/>
              <a:gd name="T13" fmla="*/ 18 h 211"/>
              <a:gd name="T14" fmla="*/ 115 w 168"/>
              <a:gd name="T15" fmla="*/ 3 h 211"/>
              <a:gd name="T16" fmla="*/ 81 w 168"/>
              <a:gd name="T17" fmla="*/ 0 h 211"/>
              <a:gd name="T18" fmla="*/ 0 w 168"/>
              <a:gd name="T19" fmla="*/ 0 h 211"/>
              <a:gd name="T20" fmla="*/ 0 w 168"/>
              <a:gd name="T21" fmla="*/ 208 h 211"/>
              <a:gd name="T22" fmla="*/ 93 w 168"/>
              <a:gd name="T23" fmla="*/ 208 h 211"/>
              <a:gd name="T24" fmla="*/ 152 w 168"/>
              <a:gd name="T25" fmla="*/ 189 h 211"/>
              <a:gd name="T26" fmla="*/ 38 w 168"/>
              <a:gd name="T27" fmla="*/ 87 h 211"/>
              <a:gd name="T28" fmla="*/ 38 w 168"/>
              <a:gd name="T29" fmla="*/ 40 h 211"/>
              <a:gd name="T30" fmla="*/ 78 w 168"/>
              <a:gd name="T31" fmla="*/ 40 h 211"/>
              <a:gd name="T32" fmla="*/ 103 w 168"/>
              <a:gd name="T33" fmla="*/ 46 h 211"/>
              <a:gd name="T34" fmla="*/ 109 w 168"/>
              <a:gd name="T35" fmla="*/ 65 h 211"/>
              <a:gd name="T36" fmla="*/ 75 w 168"/>
              <a:gd name="T37" fmla="*/ 87 h 211"/>
              <a:gd name="T38" fmla="*/ 38 w 168"/>
              <a:gd name="T39" fmla="*/ 87 h 211"/>
              <a:gd name="T40" fmla="*/ 124 w 168"/>
              <a:gd name="T41" fmla="*/ 146 h 211"/>
              <a:gd name="T42" fmla="*/ 115 w 168"/>
              <a:gd name="T43" fmla="*/ 164 h 211"/>
              <a:gd name="T44" fmla="*/ 87 w 168"/>
              <a:gd name="T45" fmla="*/ 170 h 211"/>
              <a:gd name="T46" fmla="*/ 38 w 168"/>
              <a:gd name="T47" fmla="*/ 170 h 211"/>
              <a:gd name="T48" fmla="*/ 38 w 168"/>
              <a:gd name="T49" fmla="*/ 124 h 211"/>
              <a:gd name="T50" fmla="*/ 84 w 168"/>
              <a:gd name="T51" fmla="*/ 124 h 211"/>
              <a:gd name="T52" fmla="*/ 124 w 168"/>
              <a:gd name="T53" fmla="*/ 146 h 2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68" h="211">
                <a:moveTo>
                  <a:pt x="152" y="189"/>
                </a:moveTo>
                <a:cubicBezTo>
                  <a:pt x="162" y="177"/>
                  <a:pt x="168" y="164"/>
                  <a:pt x="168" y="149"/>
                </a:cubicBezTo>
                <a:cubicBezTo>
                  <a:pt x="168" y="136"/>
                  <a:pt x="165" y="124"/>
                  <a:pt x="155" y="115"/>
                </a:cubicBezTo>
                <a:cubicBezTo>
                  <a:pt x="149" y="108"/>
                  <a:pt x="140" y="102"/>
                  <a:pt x="131" y="99"/>
                </a:cubicBezTo>
                <a:cubicBezTo>
                  <a:pt x="134" y="99"/>
                  <a:pt x="134" y="96"/>
                  <a:pt x="140" y="93"/>
                </a:cubicBezTo>
                <a:cubicBezTo>
                  <a:pt x="149" y="84"/>
                  <a:pt x="155" y="71"/>
                  <a:pt x="155" y="56"/>
                </a:cubicBezTo>
                <a:cubicBezTo>
                  <a:pt x="155" y="43"/>
                  <a:pt x="149" y="28"/>
                  <a:pt x="140" y="18"/>
                </a:cubicBezTo>
                <a:cubicBezTo>
                  <a:pt x="134" y="12"/>
                  <a:pt x="127" y="9"/>
                  <a:pt x="115" y="3"/>
                </a:cubicBezTo>
                <a:cubicBezTo>
                  <a:pt x="106" y="3"/>
                  <a:pt x="93" y="0"/>
                  <a:pt x="81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08"/>
                  <a:pt x="0" y="208"/>
                  <a:pt x="0" y="208"/>
                </a:cubicBezTo>
                <a:cubicBezTo>
                  <a:pt x="93" y="208"/>
                  <a:pt x="93" y="208"/>
                  <a:pt x="93" y="208"/>
                </a:cubicBezTo>
                <a:cubicBezTo>
                  <a:pt x="118" y="211"/>
                  <a:pt x="140" y="205"/>
                  <a:pt x="152" y="189"/>
                </a:cubicBezTo>
                <a:close/>
                <a:moveTo>
                  <a:pt x="38" y="87"/>
                </a:moveTo>
                <a:cubicBezTo>
                  <a:pt x="38" y="40"/>
                  <a:pt x="38" y="40"/>
                  <a:pt x="38" y="40"/>
                </a:cubicBezTo>
                <a:cubicBezTo>
                  <a:pt x="78" y="40"/>
                  <a:pt x="78" y="40"/>
                  <a:pt x="78" y="40"/>
                </a:cubicBezTo>
                <a:cubicBezTo>
                  <a:pt x="90" y="40"/>
                  <a:pt x="100" y="43"/>
                  <a:pt x="103" y="46"/>
                </a:cubicBezTo>
                <a:cubicBezTo>
                  <a:pt x="109" y="49"/>
                  <a:pt x="109" y="56"/>
                  <a:pt x="109" y="65"/>
                </a:cubicBezTo>
                <a:cubicBezTo>
                  <a:pt x="109" y="71"/>
                  <a:pt x="109" y="87"/>
                  <a:pt x="75" y="87"/>
                </a:cubicBezTo>
                <a:cubicBezTo>
                  <a:pt x="38" y="87"/>
                  <a:pt x="38" y="87"/>
                  <a:pt x="38" y="87"/>
                </a:cubicBezTo>
                <a:close/>
                <a:moveTo>
                  <a:pt x="124" y="146"/>
                </a:moveTo>
                <a:cubicBezTo>
                  <a:pt x="124" y="155"/>
                  <a:pt x="121" y="161"/>
                  <a:pt x="115" y="164"/>
                </a:cubicBezTo>
                <a:cubicBezTo>
                  <a:pt x="109" y="167"/>
                  <a:pt x="100" y="170"/>
                  <a:pt x="87" y="170"/>
                </a:cubicBezTo>
                <a:cubicBezTo>
                  <a:pt x="38" y="170"/>
                  <a:pt x="38" y="170"/>
                  <a:pt x="38" y="170"/>
                </a:cubicBezTo>
                <a:cubicBezTo>
                  <a:pt x="38" y="124"/>
                  <a:pt x="38" y="124"/>
                  <a:pt x="38" y="124"/>
                </a:cubicBezTo>
                <a:cubicBezTo>
                  <a:pt x="84" y="124"/>
                  <a:pt x="84" y="124"/>
                  <a:pt x="84" y="124"/>
                </a:cubicBezTo>
                <a:cubicBezTo>
                  <a:pt x="112" y="124"/>
                  <a:pt x="124" y="130"/>
                  <a:pt x="124" y="146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2" name="椭圆 41">
            <a:extLst>
              <a:ext uri="{FF2B5EF4-FFF2-40B4-BE49-F238E27FC236}">
                <a16:creationId xmlns:a16="http://schemas.microsoft.com/office/drawing/2014/main" id="{20EEF435-8A48-449C-BDB8-A1B2C1305A5B}"/>
              </a:ext>
            </a:extLst>
          </p:cNvPr>
          <p:cNvSpPr/>
          <p:nvPr/>
        </p:nvSpPr>
        <p:spPr bwMode="auto">
          <a:xfrm>
            <a:off x="8324278" y="2209800"/>
            <a:ext cx="471648" cy="471649"/>
          </a:xfrm>
          <a:prstGeom prst="ellipse">
            <a:avLst/>
          </a:prstGeom>
          <a:solidFill>
            <a:srgbClr val="FC8184"/>
          </a:solidFill>
          <a:ln w="57150">
            <a:solidFill>
              <a:schemeClr val="tx2">
                <a:lumMod val="60000"/>
                <a:lumOff val="40000"/>
              </a:schemeClr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3" name="任意多边形: 形状 42">
            <a:extLst>
              <a:ext uri="{FF2B5EF4-FFF2-40B4-BE49-F238E27FC236}">
                <a16:creationId xmlns:a16="http://schemas.microsoft.com/office/drawing/2014/main" id="{D6B75621-1ECE-4E06-B523-562A6A4037CA}"/>
              </a:ext>
            </a:extLst>
          </p:cNvPr>
          <p:cNvSpPr/>
          <p:nvPr/>
        </p:nvSpPr>
        <p:spPr bwMode="auto">
          <a:xfrm>
            <a:off x="8451058" y="2345777"/>
            <a:ext cx="218088" cy="199695"/>
          </a:xfrm>
          <a:custGeom>
            <a:avLst/>
            <a:gdLst>
              <a:gd name="T0" fmla="*/ 98 w 166"/>
              <a:gd name="T1" fmla="*/ 0 h 152"/>
              <a:gd name="T2" fmla="*/ 68 w 166"/>
              <a:gd name="T3" fmla="*/ 0 h 152"/>
              <a:gd name="T4" fmla="*/ 2 w 166"/>
              <a:gd name="T5" fmla="*/ 149 h 152"/>
              <a:gd name="T6" fmla="*/ 0 w 166"/>
              <a:gd name="T7" fmla="*/ 152 h 152"/>
              <a:gd name="T8" fmla="*/ 32 w 166"/>
              <a:gd name="T9" fmla="*/ 152 h 152"/>
              <a:gd name="T10" fmla="*/ 47 w 166"/>
              <a:gd name="T11" fmla="*/ 118 h 152"/>
              <a:gd name="T12" fmla="*/ 118 w 166"/>
              <a:gd name="T13" fmla="*/ 118 h 152"/>
              <a:gd name="T14" fmla="*/ 134 w 166"/>
              <a:gd name="T15" fmla="*/ 152 h 152"/>
              <a:gd name="T16" fmla="*/ 166 w 166"/>
              <a:gd name="T17" fmla="*/ 152 h 152"/>
              <a:gd name="T18" fmla="*/ 98 w 166"/>
              <a:gd name="T19" fmla="*/ 0 h 152"/>
              <a:gd name="T20" fmla="*/ 98 w 166"/>
              <a:gd name="T21" fmla="*/ 0 h 152"/>
              <a:gd name="T22" fmla="*/ 106 w 166"/>
              <a:gd name="T23" fmla="*/ 91 h 152"/>
              <a:gd name="T24" fmla="*/ 59 w 166"/>
              <a:gd name="T25" fmla="*/ 91 h 152"/>
              <a:gd name="T26" fmla="*/ 82 w 166"/>
              <a:gd name="T27" fmla="*/ 36 h 152"/>
              <a:gd name="T28" fmla="*/ 106 w 166"/>
              <a:gd name="T29" fmla="*/ 91 h 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66" h="152">
                <a:moveTo>
                  <a:pt x="98" y="0"/>
                </a:moveTo>
                <a:lnTo>
                  <a:pt x="68" y="0"/>
                </a:lnTo>
                <a:lnTo>
                  <a:pt x="2" y="149"/>
                </a:lnTo>
                <a:lnTo>
                  <a:pt x="0" y="152"/>
                </a:lnTo>
                <a:lnTo>
                  <a:pt x="32" y="152"/>
                </a:lnTo>
                <a:lnTo>
                  <a:pt x="47" y="118"/>
                </a:lnTo>
                <a:lnTo>
                  <a:pt x="118" y="118"/>
                </a:lnTo>
                <a:lnTo>
                  <a:pt x="134" y="152"/>
                </a:lnTo>
                <a:lnTo>
                  <a:pt x="166" y="152"/>
                </a:lnTo>
                <a:lnTo>
                  <a:pt x="98" y="0"/>
                </a:lnTo>
                <a:lnTo>
                  <a:pt x="98" y="0"/>
                </a:lnTo>
                <a:close/>
                <a:moveTo>
                  <a:pt x="106" y="91"/>
                </a:moveTo>
                <a:lnTo>
                  <a:pt x="59" y="91"/>
                </a:lnTo>
                <a:lnTo>
                  <a:pt x="82" y="36"/>
                </a:lnTo>
                <a:lnTo>
                  <a:pt x="106" y="9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zh-CN" altLang="en-US"/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FF94E3F8-2D8A-4C28-BE20-40882A88B5BC}"/>
              </a:ext>
            </a:extLst>
          </p:cNvPr>
          <p:cNvSpPr/>
          <p:nvPr/>
        </p:nvSpPr>
        <p:spPr>
          <a:xfrm>
            <a:off x="4523745" y="4228305"/>
            <a:ext cx="2525898" cy="347476"/>
          </a:xfrm>
          <a:prstGeom prst="rect">
            <a:avLst/>
          </a:prstGeom>
          <a:noFill/>
        </p:spPr>
        <p:txBody>
          <a:bodyPr wrap="none" lIns="0" tIns="0" rIns="0" bIns="0">
            <a:normAutofit/>
          </a:bodyPr>
          <a:lstStyle/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p"/>
              <a:defRPr/>
            </a:pPr>
            <a:r>
              <a:rPr lang="en-US" altLang="zh-CN" sz="700" dirty="0">
                <a:solidFill>
                  <a:schemeClr val="tx2"/>
                </a:solidFill>
              </a:rPr>
              <a:t>Supporting text here Supporting text  </a:t>
            </a: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p"/>
              <a:defRPr/>
            </a:pPr>
            <a:r>
              <a:rPr lang="en-US" altLang="zh-CN" sz="700" dirty="0">
                <a:solidFill>
                  <a:schemeClr val="tx2"/>
                </a:solidFill>
              </a:rPr>
              <a:t>Supporting text here Supporting text here</a:t>
            </a:r>
          </a:p>
          <a:p>
            <a:pPr marL="0" marR="0" lvl="0" indent="0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120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5F4F543F-C69A-4F16-A283-2408CE9CD81B}"/>
              </a:ext>
            </a:extLst>
          </p:cNvPr>
          <p:cNvSpPr/>
          <p:nvPr/>
        </p:nvSpPr>
        <p:spPr>
          <a:xfrm>
            <a:off x="2646777" y="4057898"/>
            <a:ext cx="1807073" cy="401180"/>
          </a:xfrm>
          <a:prstGeom prst="rect">
            <a:avLst/>
          </a:prstGeom>
          <a:noFill/>
        </p:spPr>
        <p:txBody>
          <a:bodyPr wrap="square" lIns="90000" tIns="46800" rIns="90000" bIns="46800" anchor="ctr"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900" b="1" i="0" strike="noStrike" kern="1200" cap="none" spc="0" normalizeH="0" baseline="0" noProof="0" dirty="0">
                <a:solidFill>
                  <a:schemeClr val="tx2"/>
                </a:solidFill>
                <a:effectLst/>
                <a:uLnTx/>
                <a:uFillTx/>
              </a:rPr>
              <a:t>TEXT HERE</a:t>
            </a: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FB43C09C-E668-4DC3-8612-811F1AFB4FF4}"/>
              </a:ext>
            </a:extLst>
          </p:cNvPr>
          <p:cNvSpPr/>
          <p:nvPr/>
        </p:nvSpPr>
        <p:spPr>
          <a:xfrm>
            <a:off x="2643327" y="4356275"/>
            <a:ext cx="1810294" cy="291925"/>
          </a:xfrm>
          <a:prstGeom prst="rect">
            <a:avLst/>
          </a:prstGeom>
          <a:noFill/>
        </p:spPr>
        <p:txBody>
          <a:bodyPr wrap="none" lIns="90000" tIns="46800" rIns="90000" bIns="46800"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20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Supporting text here</a:t>
            </a: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D1C13338-5DF8-4650-B52F-608FC0B45512}"/>
              </a:ext>
            </a:extLst>
          </p:cNvPr>
          <p:cNvSpPr txBox="1"/>
          <p:nvPr/>
        </p:nvSpPr>
        <p:spPr>
          <a:xfrm>
            <a:off x="8986250" y="2861967"/>
            <a:ext cx="562424" cy="385862"/>
          </a:xfrm>
          <a:prstGeom prst="rect">
            <a:avLst/>
          </a:prstGeom>
          <a:noFill/>
        </p:spPr>
        <p:txBody>
          <a:bodyPr wrap="square" tIns="90000" bIns="90000" anchor="ctr" anchorCtr="0">
            <a:prstTxWarp prst="textPlain">
              <a:avLst/>
            </a:prstTxWarp>
            <a:noAutofit/>
          </a:bodyPr>
          <a:lstStyle/>
          <a:p>
            <a:r>
              <a:rPr lang="en-US" sz="700">
                <a:solidFill>
                  <a:srgbClr val="2AADFF"/>
                </a:solidFill>
                <a:latin typeface="Impact" panose="020B0806030902050204" pitchFamily="34" charset="0"/>
              </a:rPr>
              <a:t>75%</a:t>
            </a:r>
            <a:endParaRPr lang="en-US" sz="700" dirty="0">
              <a:solidFill>
                <a:srgbClr val="2AADFF"/>
              </a:solidFill>
              <a:latin typeface="Impact" panose="020B0806030902050204" pitchFamily="34" charset="0"/>
            </a:endParaRP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BF2916C7-1CED-405A-A790-778CAF37F2A1}"/>
              </a:ext>
            </a:extLst>
          </p:cNvPr>
          <p:cNvSpPr txBox="1"/>
          <p:nvPr/>
        </p:nvSpPr>
        <p:spPr>
          <a:xfrm>
            <a:off x="8986250" y="2252694"/>
            <a:ext cx="562424" cy="385862"/>
          </a:xfrm>
          <a:prstGeom prst="rect">
            <a:avLst/>
          </a:prstGeom>
          <a:noFill/>
        </p:spPr>
        <p:txBody>
          <a:bodyPr wrap="square" tIns="90000" bIns="90000" anchor="ctr" anchorCtr="0">
            <a:prstTxWarp prst="textPlain">
              <a:avLst/>
            </a:prstTxWarp>
            <a:noAutofit/>
          </a:bodyPr>
          <a:lstStyle/>
          <a:p>
            <a:r>
              <a:rPr lang="en-US" sz="700">
                <a:solidFill>
                  <a:srgbClr val="FC8184"/>
                </a:solidFill>
                <a:latin typeface="Impact" panose="020B0806030902050204" pitchFamily="34" charset="0"/>
              </a:rPr>
              <a:t>62%</a:t>
            </a:r>
            <a:endParaRPr lang="en-US" sz="700" dirty="0">
              <a:solidFill>
                <a:srgbClr val="FC8184"/>
              </a:solidFill>
              <a:latin typeface="Impact" panose="020B0806030902050204" pitchFamily="34" charset="0"/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049B108F-CD52-4453-A9D6-FF94D25AD42B}"/>
              </a:ext>
            </a:extLst>
          </p:cNvPr>
          <p:cNvSpPr txBox="1"/>
          <p:nvPr/>
        </p:nvSpPr>
        <p:spPr>
          <a:xfrm>
            <a:off x="7239960" y="2660397"/>
            <a:ext cx="534755" cy="202178"/>
          </a:xfrm>
          <a:custGeom>
            <a:avLst/>
            <a:gdLst/>
            <a:ahLst/>
            <a:cxnLst/>
            <a:rect l="l" t="t" r="r" b="b"/>
            <a:pathLst>
              <a:path w="439898" h="166315">
                <a:moveTo>
                  <a:pt x="182426" y="66414"/>
                </a:moveTo>
                <a:cubicBezTo>
                  <a:pt x="175580" y="66414"/>
                  <a:pt x="169924" y="68907"/>
                  <a:pt x="165459" y="73893"/>
                </a:cubicBezTo>
                <a:cubicBezTo>
                  <a:pt x="160994" y="78879"/>
                  <a:pt x="158799" y="85650"/>
                  <a:pt x="158874" y="94208"/>
                </a:cubicBezTo>
                <a:lnTo>
                  <a:pt x="205754" y="94208"/>
                </a:lnTo>
                <a:cubicBezTo>
                  <a:pt x="205531" y="85129"/>
                  <a:pt x="203187" y="78227"/>
                  <a:pt x="198722" y="73502"/>
                </a:cubicBezTo>
                <a:cubicBezTo>
                  <a:pt x="194257" y="68777"/>
                  <a:pt x="188825" y="66414"/>
                  <a:pt x="182426" y="66414"/>
                </a:cubicBezTo>
                <a:close/>
                <a:moveTo>
                  <a:pt x="302344" y="42416"/>
                </a:moveTo>
                <a:cubicBezTo>
                  <a:pt x="318566" y="42416"/>
                  <a:pt x="330621" y="45057"/>
                  <a:pt x="338509" y="50341"/>
                </a:cubicBezTo>
                <a:cubicBezTo>
                  <a:pt x="346397" y="55624"/>
                  <a:pt x="351829" y="63438"/>
                  <a:pt x="354806" y="73781"/>
                </a:cubicBezTo>
                <a:lnTo>
                  <a:pt x="325226" y="79251"/>
                </a:lnTo>
                <a:cubicBezTo>
                  <a:pt x="323961" y="74637"/>
                  <a:pt x="321561" y="71102"/>
                  <a:pt x="318027" y="68647"/>
                </a:cubicBezTo>
                <a:cubicBezTo>
                  <a:pt x="314492" y="66191"/>
                  <a:pt x="309450" y="64963"/>
                  <a:pt x="302902" y="64963"/>
                </a:cubicBezTo>
                <a:cubicBezTo>
                  <a:pt x="294642" y="64963"/>
                  <a:pt x="288726" y="66116"/>
                  <a:pt x="285154" y="68423"/>
                </a:cubicBezTo>
                <a:cubicBezTo>
                  <a:pt x="282773" y="70060"/>
                  <a:pt x="281582" y="72181"/>
                  <a:pt x="281582" y="74786"/>
                </a:cubicBezTo>
                <a:cubicBezTo>
                  <a:pt x="281582" y="77018"/>
                  <a:pt x="282624" y="78916"/>
                  <a:pt x="284708" y="80478"/>
                </a:cubicBezTo>
                <a:cubicBezTo>
                  <a:pt x="287535" y="82562"/>
                  <a:pt x="297302" y="85501"/>
                  <a:pt x="314008" y="89296"/>
                </a:cubicBezTo>
                <a:cubicBezTo>
                  <a:pt x="330714" y="93092"/>
                  <a:pt x="342379" y="97742"/>
                  <a:pt x="349002" y="103249"/>
                </a:cubicBezTo>
                <a:cubicBezTo>
                  <a:pt x="355550" y="108830"/>
                  <a:pt x="358824" y="116606"/>
                  <a:pt x="358824" y="126578"/>
                </a:cubicBezTo>
                <a:cubicBezTo>
                  <a:pt x="358824" y="137442"/>
                  <a:pt x="354285" y="146781"/>
                  <a:pt x="345206" y="154595"/>
                </a:cubicBezTo>
                <a:cubicBezTo>
                  <a:pt x="336128" y="162408"/>
                  <a:pt x="322696" y="166315"/>
                  <a:pt x="304911" y="166315"/>
                </a:cubicBezTo>
                <a:cubicBezTo>
                  <a:pt x="288763" y="166315"/>
                  <a:pt x="275983" y="163041"/>
                  <a:pt x="266569" y="156492"/>
                </a:cubicBezTo>
                <a:cubicBezTo>
                  <a:pt x="257156" y="149944"/>
                  <a:pt x="250998" y="141051"/>
                  <a:pt x="248096" y="129815"/>
                </a:cubicBezTo>
                <a:lnTo>
                  <a:pt x="279573" y="125015"/>
                </a:lnTo>
                <a:cubicBezTo>
                  <a:pt x="280913" y="131117"/>
                  <a:pt x="283629" y="135749"/>
                  <a:pt x="287722" y="138912"/>
                </a:cubicBezTo>
                <a:cubicBezTo>
                  <a:pt x="291814" y="142075"/>
                  <a:pt x="297544" y="143656"/>
                  <a:pt x="304911" y="143656"/>
                </a:cubicBezTo>
                <a:cubicBezTo>
                  <a:pt x="313022" y="143656"/>
                  <a:pt x="319124" y="142168"/>
                  <a:pt x="323217" y="139191"/>
                </a:cubicBezTo>
                <a:cubicBezTo>
                  <a:pt x="325970" y="137108"/>
                  <a:pt x="327347" y="134317"/>
                  <a:pt x="327347" y="130820"/>
                </a:cubicBezTo>
                <a:cubicBezTo>
                  <a:pt x="327347" y="128438"/>
                  <a:pt x="326603" y="126466"/>
                  <a:pt x="325115" y="124904"/>
                </a:cubicBezTo>
                <a:cubicBezTo>
                  <a:pt x="323552" y="123415"/>
                  <a:pt x="320054" y="122039"/>
                  <a:pt x="314622" y="120774"/>
                </a:cubicBezTo>
                <a:cubicBezTo>
                  <a:pt x="289321" y="115193"/>
                  <a:pt x="273285" y="110095"/>
                  <a:pt x="266514" y="105482"/>
                </a:cubicBezTo>
                <a:cubicBezTo>
                  <a:pt x="257137" y="99082"/>
                  <a:pt x="252449" y="90189"/>
                  <a:pt x="252449" y="78804"/>
                </a:cubicBezTo>
                <a:cubicBezTo>
                  <a:pt x="252449" y="68535"/>
                  <a:pt x="256505" y="59903"/>
                  <a:pt x="264616" y="52908"/>
                </a:cubicBezTo>
                <a:cubicBezTo>
                  <a:pt x="272727" y="45913"/>
                  <a:pt x="285303" y="42416"/>
                  <a:pt x="302344" y="42416"/>
                </a:cubicBezTo>
                <a:close/>
                <a:moveTo>
                  <a:pt x="180528" y="42416"/>
                </a:moveTo>
                <a:cubicBezTo>
                  <a:pt x="198164" y="42416"/>
                  <a:pt x="212080" y="48239"/>
                  <a:pt x="222274" y="59884"/>
                </a:cubicBezTo>
                <a:cubicBezTo>
                  <a:pt x="232469" y="71530"/>
                  <a:pt x="237343" y="89371"/>
                  <a:pt x="236897" y="113407"/>
                </a:cubicBezTo>
                <a:lnTo>
                  <a:pt x="158316" y="113407"/>
                </a:lnTo>
                <a:cubicBezTo>
                  <a:pt x="158539" y="122708"/>
                  <a:pt x="161069" y="129945"/>
                  <a:pt x="165906" y="135117"/>
                </a:cubicBezTo>
                <a:cubicBezTo>
                  <a:pt x="170743" y="140289"/>
                  <a:pt x="176770" y="142875"/>
                  <a:pt x="183988" y="142875"/>
                </a:cubicBezTo>
                <a:cubicBezTo>
                  <a:pt x="188900" y="142875"/>
                  <a:pt x="193030" y="141535"/>
                  <a:pt x="196378" y="138856"/>
                </a:cubicBezTo>
                <a:cubicBezTo>
                  <a:pt x="199727" y="136177"/>
                  <a:pt x="202257" y="131861"/>
                  <a:pt x="203969" y="125908"/>
                </a:cubicBezTo>
                <a:lnTo>
                  <a:pt x="235222" y="131154"/>
                </a:lnTo>
                <a:cubicBezTo>
                  <a:pt x="231204" y="142614"/>
                  <a:pt x="224860" y="151339"/>
                  <a:pt x="216191" y="157330"/>
                </a:cubicBezTo>
                <a:cubicBezTo>
                  <a:pt x="207522" y="163320"/>
                  <a:pt x="196676" y="166315"/>
                  <a:pt x="183653" y="166315"/>
                </a:cubicBezTo>
                <a:cubicBezTo>
                  <a:pt x="163041" y="166315"/>
                  <a:pt x="147786" y="159581"/>
                  <a:pt x="137889" y="146112"/>
                </a:cubicBezTo>
                <a:cubicBezTo>
                  <a:pt x="130075" y="135322"/>
                  <a:pt x="126169" y="121704"/>
                  <a:pt x="126169" y="105258"/>
                </a:cubicBezTo>
                <a:cubicBezTo>
                  <a:pt x="126169" y="85613"/>
                  <a:pt x="131303" y="70228"/>
                  <a:pt x="141572" y="59103"/>
                </a:cubicBezTo>
                <a:cubicBezTo>
                  <a:pt x="151841" y="47978"/>
                  <a:pt x="164827" y="42416"/>
                  <a:pt x="180528" y="42416"/>
                </a:cubicBezTo>
                <a:close/>
                <a:moveTo>
                  <a:pt x="415900" y="3237"/>
                </a:moveTo>
                <a:lnTo>
                  <a:pt x="415900" y="45095"/>
                </a:lnTo>
                <a:lnTo>
                  <a:pt x="437331" y="45095"/>
                </a:lnTo>
                <a:lnTo>
                  <a:pt x="437331" y="70098"/>
                </a:lnTo>
                <a:lnTo>
                  <a:pt x="415900" y="70098"/>
                </a:lnTo>
                <a:lnTo>
                  <a:pt x="415900" y="117871"/>
                </a:lnTo>
                <a:cubicBezTo>
                  <a:pt x="415900" y="127545"/>
                  <a:pt x="416104" y="133182"/>
                  <a:pt x="416514" y="134782"/>
                </a:cubicBezTo>
                <a:cubicBezTo>
                  <a:pt x="416923" y="136382"/>
                  <a:pt x="417853" y="137703"/>
                  <a:pt x="419304" y="138745"/>
                </a:cubicBezTo>
                <a:cubicBezTo>
                  <a:pt x="420755" y="139786"/>
                  <a:pt x="422523" y="140307"/>
                  <a:pt x="424606" y="140307"/>
                </a:cubicBezTo>
                <a:cubicBezTo>
                  <a:pt x="427508" y="140307"/>
                  <a:pt x="431713" y="139303"/>
                  <a:pt x="437219" y="137294"/>
                </a:cubicBezTo>
                <a:lnTo>
                  <a:pt x="439898" y="161627"/>
                </a:lnTo>
                <a:cubicBezTo>
                  <a:pt x="432606" y="164752"/>
                  <a:pt x="424346" y="166315"/>
                  <a:pt x="415118" y="166315"/>
                </a:cubicBezTo>
                <a:cubicBezTo>
                  <a:pt x="409463" y="166315"/>
                  <a:pt x="404366" y="165366"/>
                  <a:pt x="399826" y="163469"/>
                </a:cubicBezTo>
                <a:cubicBezTo>
                  <a:pt x="395287" y="161571"/>
                  <a:pt x="391957" y="159115"/>
                  <a:pt x="389836" y="156102"/>
                </a:cubicBezTo>
                <a:cubicBezTo>
                  <a:pt x="387715" y="153088"/>
                  <a:pt x="386246" y="149014"/>
                  <a:pt x="385427" y="143879"/>
                </a:cubicBezTo>
                <a:cubicBezTo>
                  <a:pt x="384757" y="140233"/>
                  <a:pt x="384423" y="132866"/>
                  <a:pt x="384423" y="121778"/>
                </a:cubicBezTo>
                <a:lnTo>
                  <a:pt x="384423" y="70098"/>
                </a:lnTo>
                <a:lnTo>
                  <a:pt x="370023" y="70098"/>
                </a:lnTo>
                <a:lnTo>
                  <a:pt x="370023" y="45095"/>
                </a:lnTo>
                <a:lnTo>
                  <a:pt x="384423" y="45095"/>
                </a:lnTo>
                <a:lnTo>
                  <a:pt x="384423" y="21542"/>
                </a:lnTo>
                <a:close/>
                <a:moveTo>
                  <a:pt x="0" y="0"/>
                </a:moveTo>
                <a:lnTo>
                  <a:pt x="130038" y="0"/>
                </a:lnTo>
                <a:lnTo>
                  <a:pt x="130038" y="27682"/>
                </a:lnTo>
                <a:lnTo>
                  <a:pt x="81595" y="27682"/>
                </a:lnTo>
                <a:lnTo>
                  <a:pt x="81595" y="163636"/>
                </a:lnTo>
                <a:lnTo>
                  <a:pt x="48555" y="163636"/>
                </a:lnTo>
                <a:lnTo>
                  <a:pt x="48555" y="27682"/>
                </a:lnTo>
                <a:lnTo>
                  <a:pt x="0" y="27682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zh-CN" altLang="en-US" b="1" dirty="0"/>
          </a:p>
        </p:txBody>
      </p:sp>
      <p:sp>
        <p:nvSpPr>
          <p:cNvPr id="50" name="任意多边形: 形状 49">
            <a:extLst>
              <a:ext uri="{FF2B5EF4-FFF2-40B4-BE49-F238E27FC236}">
                <a16:creationId xmlns:a16="http://schemas.microsoft.com/office/drawing/2014/main" id="{F0A71881-97FF-4A90-AFEA-69F373EDD181}"/>
              </a:ext>
            </a:extLst>
          </p:cNvPr>
          <p:cNvSpPr/>
          <p:nvPr/>
        </p:nvSpPr>
        <p:spPr>
          <a:xfrm>
            <a:off x="2700847" y="2287286"/>
            <a:ext cx="390392" cy="796555"/>
          </a:xfrm>
          <a:custGeom>
            <a:avLst/>
            <a:gdLst>
              <a:gd name="connsiteX0" fmla="*/ 211017 w 420138"/>
              <a:gd name="connsiteY0" fmla="*/ 171450 h 857250"/>
              <a:gd name="connsiteX1" fmla="*/ 254832 w 420138"/>
              <a:gd name="connsiteY1" fmla="*/ 175260 h 857250"/>
              <a:gd name="connsiteX2" fmla="*/ 334842 w 420138"/>
              <a:gd name="connsiteY2" fmla="*/ 207645 h 857250"/>
              <a:gd name="connsiteX3" fmla="*/ 350082 w 420138"/>
              <a:gd name="connsiteY3" fmla="*/ 228600 h 857250"/>
              <a:gd name="connsiteX4" fmla="*/ 418662 w 420138"/>
              <a:gd name="connsiteY4" fmla="*/ 464820 h 857250"/>
              <a:gd name="connsiteX5" fmla="*/ 393897 w 420138"/>
              <a:gd name="connsiteY5" fmla="*/ 512445 h 857250"/>
              <a:gd name="connsiteX6" fmla="*/ 382467 w 420138"/>
              <a:gd name="connsiteY6" fmla="*/ 514350 h 857250"/>
              <a:gd name="connsiteX7" fmla="*/ 346272 w 420138"/>
              <a:gd name="connsiteY7" fmla="*/ 487680 h 857250"/>
              <a:gd name="connsiteX8" fmla="*/ 287217 w 420138"/>
              <a:gd name="connsiteY8" fmla="*/ 287655 h 857250"/>
              <a:gd name="connsiteX9" fmla="*/ 287217 w 420138"/>
              <a:gd name="connsiteY9" fmla="*/ 354330 h 857250"/>
              <a:gd name="connsiteX10" fmla="*/ 357702 w 420138"/>
              <a:gd name="connsiteY10" fmla="*/ 590550 h 857250"/>
              <a:gd name="connsiteX11" fmla="*/ 306267 w 420138"/>
              <a:gd name="connsiteY11" fmla="*/ 590550 h 857250"/>
              <a:gd name="connsiteX12" fmla="*/ 306267 w 420138"/>
              <a:gd name="connsiteY12" fmla="*/ 857250 h 857250"/>
              <a:gd name="connsiteX13" fmla="*/ 230067 w 420138"/>
              <a:gd name="connsiteY13" fmla="*/ 857250 h 857250"/>
              <a:gd name="connsiteX14" fmla="*/ 230067 w 420138"/>
              <a:gd name="connsiteY14" fmla="*/ 590550 h 857250"/>
              <a:gd name="connsiteX15" fmla="*/ 191967 w 420138"/>
              <a:gd name="connsiteY15" fmla="*/ 590550 h 857250"/>
              <a:gd name="connsiteX16" fmla="*/ 191967 w 420138"/>
              <a:gd name="connsiteY16" fmla="*/ 857250 h 857250"/>
              <a:gd name="connsiteX17" fmla="*/ 115767 w 420138"/>
              <a:gd name="connsiteY17" fmla="*/ 857250 h 857250"/>
              <a:gd name="connsiteX18" fmla="*/ 115767 w 420138"/>
              <a:gd name="connsiteY18" fmla="*/ 590550 h 857250"/>
              <a:gd name="connsiteX19" fmla="*/ 64332 w 420138"/>
              <a:gd name="connsiteY19" fmla="*/ 590550 h 857250"/>
              <a:gd name="connsiteX20" fmla="*/ 134817 w 420138"/>
              <a:gd name="connsiteY20" fmla="*/ 354330 h 857250"/>
              <a:gd name="connsiteX21" fmla="*/ 134817 w 420138"/>
              <a:gd name="connsiteY21" fmla="*/ 287655 h 857250"/>
              <a:gd name="connsiteX22" fmla="*/ 75762 w 420138"/>
              <a:gd name="connsiteY22" fmla="*/ 487680 h 857250"/>
              <a:gd name="connsiteX23" fmla="*/ 39567 w 420138"/>
              <a:gd name="connsiteY23" fmla="*/ 514350 h 857250"/>
              <a:gd name="connsiteX24" fmla="*/ 28137 w 420138"/>
              <a:gd name="connsiteY24" fmla="*/ 512445 h 857250"/>
              <a:gd name="connsiteX25" fmla="*/ 1467 w 420138"/>
              <a:gd name="connsiteY25" fmla="*/ 464820 h 857250"/>
              <a:gd name="connsiteX26" fmla="*/ 71952 w 420138"/>
              <a:gd name="connsiteY26" fmla="*/ 228600 h 857250"/>
              <a:gd name="connsiteX27" fmla="*/ 87192 w 420138"/>
              <a:gd name="connsiteY27" fmla="*/ 207645 h 857250"/>
              <a:gd name="connsiteX28" fmla="*/ 167202 w 420138"/>
              <a:gd name="connsiteY28" fmla="*/ 175260 h 857250"/>
              <a:gd name="connsiteX29" fmla="*/ 211017 w 420138"/>
              <a:gd name="connsiteY29" fmla="*/ 171450 h 857250"/>
              <a:gd name="connsiteX30" fmla="*/ 211017 w 420138"/>
              <a:gd name="connsiteY30" fmla="*/ 0 h 857250"/>
              <a:gd name="connsiteX31" fmla="*/ 287217 w 420138"/>
              <a:gd name="connsiteY31" fmla="*/ 76200 h 857250"/>
              <a:gd name="connsiteX32" fmla="*/ 211017 w 420138"/>
              <a:gd name="connsiteY32" fmla="*/ 152400 h 857250"/>
              <a:gd name="connsiteX33" fmla="*/ 134817 w 420138"/>
              <a:gd name="connsiteY33" fmla="*/ 76200 h 857250"/>
              <a:gd name="connsiteX34" fmla="*/ 211017 w 420138"/>
              <a:gd name="connsiteY34" fmla="*/ 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420138" h="857250">
                <a:moveTo>
                  <a:pt x="211017" y="171450"/>
                </a:moveTo>
                <a:cubicBezTo>
                  <a:pt x="226257" y="171450"/>
                  <a:pt x="239592" y="173355"/>
                  <a:pt x="254832" y="175260"/>
                </a:cubicBezTo>
                <a:cubicBezTo>
                  <a:pt x="285312" y="182880"/>
                  <a:pt x="311982" y="192405"/>
                  <a:pt x="334842" y="207645"/>
                </a:cubicBezTo>
                <a:cubicBezTo>
                  <a:pt x="342462" y="211455"/>
                  <a:pt x="348177" y="219075"/>
                  <a:pt x="350082" y="228600"/>
                </a:cubicBezTo>
                <a:lnTo>
                  <a:pt x="418662" y="464820"/>
                </a:lnTo>
                <a:cubicBezTo>
                  <a:pt x="424377" y="485775"/>
                  <a:pt x="412947" y="506730"/>
                  <a:pt x="393897" y="512445"/>
                </a:cubicBezTo>
                <a:cubicBezTo>
                  <a:pt x="390087" y="514350"/>
                  <a:pt x="386277" y="514350"/>
                  <a:pt x="382467" y="514350"/>
                </a:cubicBezTo>
                <a:cubicBezTo>
                  <a:pt x="367227" y="514350"/>
                  <a:pt x="351987" y="504825"/>
                  <a:pt x="346272" y="487680"/>
                </a:cubicBezTo>
                <a:lnTo>
                  <a:pt x="287217" y="287655"/>
                </a:lnTo>
                <a:lnTo>
                  <a:pt x="287217" y="354330"/>
                </a:lnTo>
                <a:lnTo>
                  <a:pt x="357702" y="590550"/>
                </a:lnTo>
                <a:lnTo>
                  <a:pt x="306267" y="590550"/>
                </a:lnTo>
                <a:lnTo>
                  <a:pt x="306267" y="857250"/>
                </a:lnTo>
                <a:lnTo>
                  <a:pt x="230067" y="857250"/>
                </a:lnTo>
                <a:lnTo>
                  <a:pt x="230067" y="590550"/>
                </a:lnTo>
                <a:lnTo>
                  <a:pt x="191967" y="590550"/>
                </a:lnTo>
                <a:lnTo>
                  <a:pt x="191967" y="857250"/>
                </a:lnTo>
                <a:lnTo>
                  <a:pt x="115767" y="857250"/>
                </a:lnTo>
                <a:lnTo>
                  <a:pt x="115767" y="590550"/>
                </a:lnTo>
                <a:lnTo>
                  <a:pt x="64332" y="590550"/>
                </a:lnTo>
                <a:lnTo>
                  <a:pt x="134817" y="354330"/>
                </a:lnTo>
                <a:lnTo>
                  <a:pt x="134817" y="287655"/>
                </a:lnTo>
                <a:lnTo>
                  <a:pt x="75762" y="487680"/>
                </a:lnTo>
                <a:cubicBezTo>
                  <a:pt x="71952" y="502920"/>
                  <a:pt x="56712" y="514350"/>
                  <a:pt x="39567" y="514350"/>
                </a:cubicBezTo>
                <a:cubicBezTo>
                  <a:pt x="35757" y="514350"/>
                  <a:pt x="31947" y="514350"/>
                  <a:pt x="28137" y="512445"/>
                </a:cubicBezTo>
                <a:cubicBezTo>
                  <a:pt x="7182" y="506730"/>
                  <a:pt x="-4248" y="485775"/>
                  <a:pt x="1467" y="464820"/>
                </a:cubicBezTo>
                <a:lnTo>
                  <a:pt x="71952" y="228600"/>
                </a:lnTo>
                <a:cubicBezTo>
                  <a:pt x="73857" y="219075"/>
                  <a:pt x="79572" y="213360"/>
                  <a:pt x="87192" y="207645"/>
                </a:cubicBezTo>
                <a:cubicBezTo>
                  <a:pt x="110052" y="192405"/>
                  <a:pt x="136722" y="180975"/>
                  <a:pt x="167202" y="175260"/>
                </a:cubicBezTo>
                <a:cubicBezTo>
                  <a:pt x="182442" y="173355"/>
                  <a:pt x="195777" y="171450"/>
                  <a:pt x="211017" y="171450"/>
                </a:cubicBezTo>
                <a:close/>
                <a:moveTo>
                  <a:pt x="211017" y="0"/>
                </a:moveTo>
                <a:cubicBezTo>
                  <a:pt x="253101" y="0"/>
                  <a:pt x="287217" y="34116"/>
                  <a:pt x="287217" y="76200"/>
                </a:cubicBezTo>
                <a:cubicBezTo>
                  <a:pt x="287217" y="118284"/>
                  <a:pt x="253101" y="152400"/>
                  <a:pt x="211017" y="152400"/>
                </a:cubicBezTo>
                <a:cubicBezTo>
                  <a:pt x="168933" y="152400"/>
                  <a:pt x="134817" y="118284"/>
                  <a:pt x="134817" y="76200"/>
                </a:cubicBezTo>
                <a:cubicBezTo>
                  <a:pt x="134817" y="34116"/>
                  <a:pt x="168933" y="0"/>
                  <a:pt x="211017" y="0"/>
                </a:cubicBezTo>
                <a:close/>
              </a:path>
            </a:pathLst>
          </a:custGeom>
          <a:solidFill>
            <a:srgbClr val="FC818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DD4F0178-4D26-4316-A9DF-B1D8D5226774}"/>
              </a:ext>
            </a:extLst>
          </p:cNvPr>
          <p:cNvSpPr/>
          <p:nvPr/>
        </p:nvSpPr>
        <p:spPr>
          <a:xfrm>
            <a:off x="3129170" y="2287286"/>
            <a:ext cx="390392" cy="796555"/>
          </a:xfrm>
          <a:custGeom>
            <a:avLst/>
            <a:gdLst>
              <a:gd name="connsiteX0" fmla="*/ 211017 w 420138"/>
              <a:gd name="connsiteY0" fmla="*/ 171450 h 857250"/>
              <a:gd name="connsiteX1" fmla="*/ 254832 w 420138"/>
              <a:gd name="connsiteY1" fmla="*/ 175260 h 857250"/>
              <a:gd name="connsiteX2" fmla="*/ 334842 w 420138"/>
              <a:gd name="connsiteY2" fmla="*/ 207645 h 857250"/>
              <a:gd name="connsiteX3" fmla="*/ 350082 w 420138"/>
              <a:gd name="connsiteY3" fmla="*/ 228600 h 857250"/>
              <a:gd name="connsiteX4" fmla="*/ 418662 w 420138"/>
              <a:gd name="connsiteY4" fmla="*/ 464820 h 857250"/>
              <a:gd name="connsiteX5" fmla="*/ 393897 w 420138"/>
              <a:gd name="connsiteY5" fmla="*/ 512445 h 857250"/>
              <a:gd name="connsiteX6" fmla="*/ 382467 w 420138"/>
              <a:gd name="connsiteY6" fmla="*/ 514350 h 857250"/>
              <a:gd name="connsiteX7" fmla="*/ 346272 w 420138"/>
              <a:gd name="connsiteY7" fmla="*/ 487680 h 857250"/>
              <a:gd name="connsiteX8" fmla="*/ 287217 w 420138"/>
              <a:gd name="connsiteY8" fmla="*/ 287655 h 857250"/>
              <a:gd name="connsiteX9" fmla="*/ 287217 w 420138"/>
              <a:gd name="connsiteY9" fmla="*/ 354330 h 857250"/>
              <a:gd name="connsiteX10" fmla="*/ 357702 w 420138"/>
              <a:gd name="connsiteY10" fmla="*/ 590550 h 857250"/>
              <a:gd name="connsiteX11" fmla="*/ 306267 w 420138"/>
              <a:gd name="connsiteY11" fmla="*/ 590550 h 857250"/>
              <a:gd name="connsiteX12" fmla="*/ 306267 w 420138"/>
              <a:gd name="connsiteY12" fmla="*/ 857250 h 857250"/>
              <a:gd name="connsiteX13" fmla="*/ 230067 w 420138"/>
              <a:gd name="connsiteY13" fmla="*/ 857250 h 857250"/>
              <a:gd name="connsiteX14" fmla="*/ 230067 w 420138"/>
              <a:gd name="connsiteY14" fmla="*/ 590550 h 857250"/>
              <a:gd name="connsiteX15" fmla="*/ 191967 w 420138"/>
              <a:gd name="connsiteY15" fmla="*/ 590550 h 857250"/>
              <a:gd name="connsiteX16" fmla="*/ 191967 w 420138"/>
              <a:gd name="connsiteY16" fmla="*/ 857250 h 857250"/>
              <a:gd name="connsiteX17" fmla="*/ 115767 w 420138"/>
              <a:gd name="connsiteY17" fmla="*/ 857250 h 857250"/>
              <a:gd name="connsiteX18" fmla="*/ 115767 w 420138"/>
              <a:gd name="connsiteY18" fmla="*/ 590550 h 857250"/>
              <a:gd name="connsiteX19" fmla="*/ 64332 w 420138"/>
              <a:gd name="connsiteY19" fmla="*/ 590550 h 857250"/>
              <a:gd name="connsiteX20" fmla="*/ 134817 w 420138"/>
              <a:gd name="connsiteY20" fmla="*/ 354330 h 857250"/>
              <a:gd name="connsiteX21" fmla="*/ 134817 w 420138"/>
              <a:gd name="connsiteY21" fmla="*/ 287655 h 857250"/>
              <a:gd name="connsiteX22" fmla="*/ 75762 w 420138"/>
              <a:gd name="connsiteY22" fmla="*/ 487680 h 857250"/>
              <a:gd name="connsiteX23" fmla="*/ 39567 w 420138"/>
              <a:gd name="connsiteY23" fmla="*/ 514350 h 857250"/>
              <a:gd name="connsiteX24" fmla="*/ 28137 w 420138"/>
              <a:gd name="connsiteY24" fmla="*/ 512445 h 857250"/>
              <a:gd name="connsiteX25" fmla="*/ 1467 w 420138"/>
              <a:gd name="connsiteY25" fmla="*/ 464820 h 857250"/>
              <a:gd name="connsiteX26" fmla="*/ 71952 w 420138"/>
              <a:gd name="connsiteY26" fmla="*/ 228600 h 857250"/>
              <a:gd name="connsiteX27" fmla="*/ 87192 w 420138"/>
              <a:gd name="connsiteY27" fmla="*/ 207645 h 857250"/>
              <a:gd name="connsiteX28" fmla="*/ 167202 w 420138"/>
              <a:gd name="connsiteY28" fmla="*/ 175260 h 857250"/>
              <a:gd name="connsiteX29" fmla="*/ 211017 w 420138"/>
              <a:gd name="connsiteY29" fmla="*/ 171450 h 857250"/>
              <a:gd name="connsiteX30" fmla="*/ 211017 w 420138"/>
              <a:gd name="connsiteY30" fmla="*/ 0 h 857250"/>
              <a:gd name="connsiteX31" fmla="*/ 287217 w 420138"/>
              <a:gd name="connsiteY31" fmla="*/ 76200 h 857250"/>
              <a:gd name="connsiteX32" fmla="*/ 211017 w 420138"/>
              <a:gd name="connsiteY32" fmla="*/ 152400 h 857250"/>
              <a:gd name="connsiteX33" fmla="*/ 134817 w 420138"/>
              <a:gd name="connsiteY33" fmla="*/ 76200 h 857250"/>
              <a:gd name="connsiteX34" fmla="*/ 211017 w 420138"/>
              <a:gd name="connsiteY34" fmla="*/ 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420138" h="857250">
                <a:moveTo>
                  <a:pt x="211017" y="171450"/>
                </a:moveTo>
                <a:cubicBezTo>
                  <a:pt x="226257" y="171450"/>
                  <a:pt x="239592" y="173355"/>
                  <a:pt x="254832" y="175260"/>
                </a:cubicBezTo>
                <a:cubicBezTo>
                  <a:pt x="285312" y="182880"/>
                  <a:pt x="311982" y="192405"/>
                  <a:pt x="334842" y="207645"/>
                </a:cubicBezTo>
                <a:cubicBezTo>
                  <a:pt x="342462" y="211455"/>
                  <a:pt x="348177" y="219075"/>
                  <a:pt x="350082" y="228600"/>
                </a:cubicBezTo>
                <a:lnTo>
                  <a:pt x="418662" y="464820"/>
                </a:lnTo>
                <a:cubicBezTo>
                  <a:pt x="424377" y="485775"/>
                  <a:pt x="412947" y="506730"/>
                  <a:pt x="393897" y="512445"/>
                </a:cubicBezTo>
                <a:cubicBezTo>
                  <a:pt x="390087" y="514350"/>
                  <a:pt x="386277" y="514350"/>
                  <a:pt x="382467" y="514350"/>
                </a:cubicBezTo>
                <a:cubicBezTo>
                  <a:pt x="367227" y="514350"/>
                  <a:pt x="351987" y="504825"/>
                  <a:pt x="346272" y="487680"/>
                </a:cubicBezTo>
                <a:lnTo>
                  <a:pt x="287217" y="287655"/>
                </a:lnTo>
                <a:lnTo>
                  <a:pt x="287217" y="354330"/>
                </a:lnTo>
                <a:lnTo>
                  <a:pt x="357702" y="590550"/>
                </a:lnTo>
                <a:lnTo>
                  <a:pt x="306267" y="590550"/>
                </a:lnTo>
                <a:lnTo>
                  <a:pt x="306267" y="857250"/>
                </a:lnTo>
                <a:lnTo>
                  <a:pt x="230067" y="857250"/>
                </a:lnTo>
                <a:lnTo>
                  <a:pt x="230067" y="590550"/>
                </a:lnTo>
                <a:lnTo>
                  <a:pt x="191967" y="590550"/>
                </a:lnTo>
                <a:lnTo>
                  <a:pt x="191967" y="857250"/>
                </a:lnTo>
                <a:lnTo>
                  <a:pt x="115767" y="857250"/>
                </a:lnTo>
                <a:lnTo>
                  <a:pt x="115767" y="590550"/>
                </a:lnTo>
                <a:lnTo>
                  <a:pt x="64332" y="590550"/>
                </a:lnTo>
                <a:lnTo>
                  <a:pt x="134817" y="354330"/>
                </a:lnTo>
                <a:lnTo>
                  <a:pt x="134817" y="287655"/>
                </a:lnTo>
                <a:lnTo>
                  <a:pt x="75762" y="487680"/>
                </a:lnTo>
                <a:cubicBezTo>
                  <a:pt x="71952" y="502920"/>
                  <a:pt x="56712" y="514350"/>
                  <a:pt x="39567" y="514350"/>
                </a:cubicBezTo>
                <a:cubicBezTo>
                  <a:pt x="35757" y="514350"/>
                  <a:pt x="31947" y="514350"/>
                  <a:pt x="28137" y="512445"/>
                </a:cubicBezTo>
                <a:cubicBezTo>
                  <a:pt x="7182" y="506730"/>
                  <a:pt x="-4248" y="485775"/>
                  <a:pt x="1467" y="464820"/>
                </a:cubicBezTo>
                <a:lnTo>
                  <a:pt x="71952" y="228600"/>
                </a:lnTo>
                <a:cubicBezTo>
                  <a:pt x="73857" y="219075"/>
                  <a:pt x="79572" y="213360"/>
                  <a:pt x="87192" y="207645"/>
                </a:cubicBezTo>
                <a:cubicBezTo>
                  <a:pt x="110052" y="192405"/>
                  <a:pt x="136722" y="180975"/>
                  <a:pt x="167202" y="175260"/>
                </a:cubicBezTo>
                <a:cubicBezTo>
                  <a:pt x="182442" y="173355"/>
                  <a:pt x="195777" y="171450"/>
                  <a:pt x="211017" y="171450"/>
                </a:cubicBezTo>
                <a:close/>
                <a:moveTo>
                  <a:pt x="211017" y="0"/>
                </a:moveTo>
                <a:cubicBezTo>
                  <a:pt x="253101" y="0"/>
                  <a:pt x="287217" y="34116"/>
                  <a:pt x="287217" y="76200"/>
                </a:cubicBezTo>
                <a:cubicBezTo>
                  <a:pt x="287217" y="118284"/>
                  <a:pt x="253101" y="152400"/>
                  <a:pt x="211017" y="152400"/>
                </a:cubicBezTo>
                <a:cubicBezTo>
                  <a:pt x="168933" y="152400"/>
                  <a:pt x="134817" y="118284"/>
                  <a:pt x="134817" y="76200"/>
                </a:cubicBezTo>
                <a:cubicBezTo>
                  <a:pt x="134817" y="34116"/>
                  <a:pt x="168933" y="0"/>
                  <a:pt x="211017" y="0"/>
                </a:cubicBezTo>
                <a:close/>
              </a:path>
            </a:pathLst>
          </a:custGeom>
          <a:solidFill>
            <a:srgbClr val="FC818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2" name="任意多边形: 形状 51">
            <a:extLst>
              <a:ext uri="{FF2B5EF4-FFF2-40B4-BE49-F238E27FC236}">
                <a16:creationId xmlns:a16="http://schemas.microsoft.com/office/drawing/2014/main" id="{A8A9F841-BD25-4D1B-9A78-984C658D830E}"/>
              </a:ext>
            </a:extLst>
          </p:cNvPr>
          <p:cNvSpPr/>
          <p:nvPr/>
        </p:nvSpPr>
        <p:spPr>
          <a:xfrm>
            <a:off x="3557493" y="2287286"/>
            <a:ext cx="390392" cy="796555"/>
          </a:xfrm>
          <a:custGeom>
            <a:avLst/>
            <a:gdLst>
              <a:gd name="connsiteX0" fmla="*/ 211017 w 420138"/>
              <a:gd name="connsiteY0" fmla="*/ 171450 h 857250"/>
              <a:gd name="connsiteX1" fmla="*/ 254832 w 420138"/>
              <a:gd name="connsiteY1" fmla="*/ 175260 h 857250"/>
              <a:gd name="connsiteX2" fmla="*/ 334842 w 420138"/>
              <a:gd name="connsiteY2" fmla="*/ 207645 h 857250"/>
              <a:gd name="connsiteX3" fmla="*/ 350082 w 420138"/>
              <a:gd name="connsiteY3" fmla="*/ 228600 h 857250"/>
              <a:gd name="connsiteX4" fmla="*/ 418662 w 420138"/>
              <a:gd name="connsiteY4" fmla="*/ 464820 h 857250"/>
              <a:gd name="connsiteX5" fmla="*/ 393897 w 420138"/>
              <a:gd name="connsiteY5" fmla="*/ 512445 h 857250"/>
              <a:gd name="connsiteX6" fmla="*/ 382467 w 420138"/>
              <a:gd name="connsiteY6" fmla="*/ 514350 h 857250"/>
              <a:gd name="connsiteX7" fmla="*/ 346272 w 420138"/>
              <a:gd name="connsiteY7" fmla="*/ 487680 h 857250"/>
              <a:gd name="connsiteX8" fmla="*/ 287217 w 420138"/>
              <a:gd name="connsiteY8" fmla="*/ 287655 h 857250"/>
              <a:gd name="connsiteX9" fmla="*/ 287217 w 420138"/>
              <a:gd name="connsiteY9" fmla="*/ 354330 h 857250"/>
              <a:gd name="connsiteX10" fmla="*/ 357702 w 420138"/>
              <a:gd name="connsiteY10" fmla="*/ 590550 h 857250"/>
              <a:gd name="connsiteX11" fmla="*/ 306267 w 420138"/>
              <a:gd name="connsiteY11" fmla="*/ 590550 h 857250"/>
              <a:gd name="connsiteX12" fmla="*/ 306267 w 420138"/>
              <a:gd name="connsiteY12" fmla="*/ 857250 h 857250"/>
              <a:gd name="connsiteX13" fmla="*/ 230067 w 420138"/>
              <a:gd name="connsiteY13" fmla="*/ 857250 h 857250"/>
              <a:gd name="connsiteX14" fmla="*/ 230067 w 420138"/>
              <a:gd name="connsiteY14" fmla="*/ 590550 h 857250"/>
              <a:gd name="connsiteX15" fmla="*/ 191967 w 420138"/>
              <a:gd name="connsiteY15" fmla="*/ 590550 h 857250"/>
              <a:gd name="connsiteX16" fmla="*/ 191967 w 420138"/>
              <a:gd name="connsiteY16" fmla="*/ 857250 h 857250"/>
              <a:gd name="connsiteX17" fmla="*/ 115767 w 420138"/>
              <a:gd name="connsiteY17" fmla="*/ 857250 h 857250"/>
              <a:gd name="connsiteX18" fmla="*/ 115767 w 420138"/>
              <a:gd name="connsiteY18" fmla="*/ 590550 h 857250"/>
              <a:gd name="connsiteX19" fmla="*/ 64332 w 420138"/>
              <a:gd name="connsiteY19" fmla="*/ 590550 h 857250"/>
              <a:gd name="connsiteX20" fmla="*/ 134817 w 420138"/>
              <a:gd name="connsiteY20" fmla="*/ 354330 h 857250"/>
              <a:gd name="connsiteX21" fmla="*/ 134817 w 420138"/>
              <a:gd name="connsiteY21" fmla="*/ 287655 h 857250"/>
              <a:gd name="connsiteX22" fmla="*/ 75762 w 420138"/>
              <a:gd name="connsiteY22" fmla="*/ 487680 h 857250"/>
              <a:gd name="connsiteX23" fmla="*/ 39567 w 420138"/>
              <a:gd name="connsiteY23" fmla="*/ 514350 h 857250"/>
              <a:gd name="connsiteX24" fmla="*/ 28137 w 420138"/>
              <a:gd name="connsiteY24" fmla="*/ 512445 h 857250"/>
              <a:gd name="connsiteX25" fmla="*/ 1467 w 420138"/>
              <a:gd name="connsiteY25" fmla="*/ 464820 h 857250"/>
              <a:gd name="connsiteX26" fmla="*/ 71952 w 420138"/>
              <a:gd name="connsiteY26" fmla="*/ 228600 h 857250"/>
              <a:gd name="connsiteX27" fmla="*/ 87192 w 420138"/>
              <a:gd name="connsiteY27" fmla="*/ 207645 h 857250"/>
              <a:gd name="connsiteX28" fmla="*/ 167202 w 420138"/>
              <a:gd name="connsiteY28" fmla="*/ 175260 h 857250"/>
              <a:gd name="connsiteX29" fmla="*/ 211017 w 420138"/>
              <a:gd name="connsiteY29" fmla="*/ 171450 h 857250"/>
              <a:gd name="connsiteX30" fmla="*/ 211017 w 420138"/>
              <a:gd name="connsiteY30" fmla="*/ 0 h 857250"/>
              <a:gd name="connsiteX31" fmla="*/ 287217 w 420138"/>
              <a:gd name="connsiteY31" fmla="*/ 76200 h 857250"/>
              <a:gd name="connsiteX32" fmla="*/ 211017 w 420138"/>
              <a:gd name="connsiteY32" fmla="*/ 152400 h 857250"/>
              <a:gd name="connsiteX33" fmla="*/ 134817 w 420138"/>
              <a:gd name="connsiteY33" fmla="*/ 76200 h 857250"/>
              <a:gd name="connsiteX34" fmla="*/ 211017 w 420138"/>
              <a:gd name="connsiteY34" fmla="*/ 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420138" h="857250">
                <a:moveTo>
                  <a:pt x="211017" y="171450"/>
                </a:moveTo>
                <a:cubicBezTo>
                  <a:pt x="226257" y="171450"/>
                  <a:pt x="239592" y="173355"/>
                  <a:pt x="254832" y="175260"/>
                </a:cubicBezTo>
                <a:cubicBezTo>
                  <a:pt x="285312" y="182880"/>
                  <a:pt x="311982" y="192405"/>
                  <a:pt x="334842" y="207645"/>
                </a:cubicBezTo>
                <a:cubicBezTo>
                  <a:pt x="342462" y="211455"/>
                  <a:pt x="348177" y="219075"/>
                  <a:pt x="350082" y="228600"/>
                </a:cubicBezTo>
                <a:lnTo>
                  <a:pt x="418662" y="464820"/>
                </a:lnTo>
                <a:cubicBezTo>
                  <a:pt x="424377" y="485775"/>
                  <a:pt x="412947" y="506730"/>
                  <a:pt x="393897" y="512445"/>
                </a:cubicBezTo>
                <a:cubicBezTo>
                  <a:pt x="390087" y="514350"/>
                  <a:pt x="386277" y="514350"/>
                  <a:pt x="382467" y="514350"/>
                </a:cubicBezTo>
                <a:cubicBezTo>
                  <a:pt x="367227" y="514350"/>
                  <a:pt x="351987" y="504825"/>
                  <a:pt x="346272" y="487680"/>
                </a:cubicBezTo>
                <a:lnTo>
                  <a:pt x="287217" y="287655"/>
                </a:lnTo>
                <a:lnTo>
                  <a:pt x="287217" y="354330"/>
                </a:lnTo>
                <a:lnTo>
                  <a:pt x="357702" y="590550"/>
                </a:lnTo>
                <a:lnTo>
                  <a:pt x="306267" y="590550"/>
                </a:lnTo>
                <a:lnTo>
                  <a:pt x="306267" y="857250"/>
                </a:lnTo>
                <a:lnTo>
                  <a:pt x="230067" y="857250"/>
                </a:lnTo>
                <a:lnTo>
                  <a:pt x="230067" y="590550"/>
                </a:lnTo>
                <a:lnTo>
                  <a:pt x="191967" y="590550"/>
                </a:lnTo>
                <a:lnTo>
                  <a:pt x="191967" y="857250"/>
                </a:lnTo>
                <a:lnTo>
                  <a:pt x="115767" y="857250"/>
                </a:lnTo>
                <a:lnTo>
                  <a:pt x="115767" y="590550"/>
                </a:lnTo>
                <a:lnTo>
                  <a:pt x="64332" y="590550"/>
                </a:lnTo>
                <a:lnTo>
                  <a:pt x="134817" y="354330"/>
                </a:lnTo>
                <a:lnTo>
                  <a:pt x="134817" y="287655"/>
                </a:lnTo>
                <a:lnTo>
                  <a:pt x="75762" y="487680"/>
                </a:lnTo>
                <a:cubicBezTo>
                  <a:pt x="71952" y="502920"/>
                  <a:pt x="56712" y="514350"/>
                  <a:pt x="39567" y="514350"/>
                </a:cubicBezTo>
                <a:cubicBezTo>
                  <a:pt x="35757" y="514350"/>
                  <a:pt x="31947" y="514350"/>
                  <a:pt x="28137" y="512445"/>
                </a:cubicBezTo>
                <a:cubicBezTo>
                  <a:pt x="7182" y="506730"/>
                  <a:pt x="-4248" y="485775"/>
                  <a:pt x="1467" y="464820"/>
                </a:cubicBezTo>
                <a:lnTo>
                  <a:pt x="71952" y="228600"/>
                </a:lnTo>
                <a:cubicBezTo>
                  <a:pt x="73857" y="219075"/>
                  <a:pt x="79572" y="213360"/>
                  <a:pt x="87192" y="207645"/>
                </a:cubicBezTo>
                <a:cubicBezTo>
                  <a:pt x="110052" y="192405"/>
                  <a:pt x="136722" y="180975"/>
                  <a:pt x="167202" y="175260"/>
                </a:cubicBezTo>
                <a:cubicBezTo>
                  <a:pt x="182442" y="173355"/>
                  <a:pt x="195777" y="171450"/>
                  <a:pt x="211017" y="171450"/>
                </a:cubicBezTo>
                <a:close/>
                <a:moveTo>
                  <a:pt x="211017" y="0"/>
                </a:moveTo>
                <a:cubicBezTo>
                  <a:pt x="253101" y="0"/>
                  <a:pt x="287217" y="34116"/>
                  <a:pt x="287217" y="76200"/>
                </a:cubicBezTo>
                <a:cubicBezTo>
                  <a:pt x="287217" y="118284"/>
                  <a:pt x="253101" y="152400"/>
                  <a:pt x="211017" y="152400"/>
                </a:cubicBezTo>
                <a:cubicBezTo>
                  <a:pt x="168933" y="152400"/>
                  <a:pt x="134817" y="118284"/>
                  <a:pt x="134817" y="76200"/>
                </a:cubicBezTo>
                <a:cubicBezTo>
                  <a:pt x="134817" y="34116"/>
                  <a:pt x="168933" y="0"/>
                  <a:pt x="211017" y="0"/>
                </a:cubicBezTo>
                <a:close/>
              </a:path>
            </a:pathLst>
          </a:custGeom>
          <a:solidFill>
            <a:srgbClr val="FC818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3" name="任意多边形: 形状 52">
            <a:extLst>
              <a:ext uri="{FF2B5EF4-FFF2-40B4-BE49-F238E27FC236}">
                <a16:creationId xmlns:a16="http://schemas.microsoft.com/office/drawing/2014/main" id="{82872F5F-E728-4217-AD0A-4349B0A18A90}"/>
              </a:ext>
            </a:extLst>
          </p:cNvPr>
          <p:cNvSpPr/>
          <p:nvPr/>
        </p:nvSpPr>
        <p:spPr>
          <a:xfrm>
            <a:off x="3985816" y="2287286"/>
            <a:ext cx="390392" cy="796555"/>
          </a:xfrm>
          <a:custGeom>
            <a:avLst/>
            <a:gdLst>
              <a:gd name="connsiteX0" fmla="*/ 211017 w 420138"/>
              <a:gd name="connsiteY0" fmla="*/ 171450 h 857250"/>
              <a:gd name="connsiteX1" fmla="*/ 254832 w 420138"/>
              <a:gd name="connsiteY1" fmla="*/ 175260 h 857250"/>
              <a:gd name="connsiteX2" fmla="*/ 334842 w 420138"/>
              <a:gd name="connsiteY2" fmla="*/ 207645 h 857250"/>
              <a:gd name="connsiteX3" fmla="*/ 350082 w 420138"/>
              <a:gd name="connsiteY3" fmla="*/ 228600 h 857250"/>
              <a:gd name="connsiteX4" fmla="*/ 418662 w 420138"/>
              <a:gd name="connsiteY4" fmla="*/ 464820 h 857250"/>
              <a:gd name="connsiteX5" fmla="*/ 393897 w 420138"/>
              <a:gd name="connsiteY5" fmla="*/ 512445 h 857250"/>
              <a:gd name="connsiteX6" fmla="*/ 382467 w 420138"/>
              <a:gd name="connsiteY6" fmla="*/ 514350 h 857250"/>
              <a:gd name="connsiteX7" fmla="*/ 346272 w 420138"/>
              <a:gd name="connsiteY7" fmla="*/ 487680 h 857250"/>
              <a:gd name="connsiteX8" fmla="*/ 287217 w 420138"/>
              <a:gd name="connsiteY8" fmla="*/ 287655 h 857250"/>
              <a:gd name="connsiteX9" fmla="*/ 287217 w 420138"/>
              <a:gd name="connsiteY9" fmla="*/ 354330 h 857250"/>
              <a:gd name="connsiteX10" fmla="*/ 357702 w 420138"/>
              <a:gd name="connsiteY10" fmla="*/ 590550 h 857250"/>
              <a:gd name="connsiteX11" fmla="*/ 306267 w 420138"/>
              <a:gd name="connsiteY11" fmla="*/ 590550 h 857250"/>
              <a:gd name="connsiteX12" fmla="*/ 306267 w 420138"/>
              <a:gd name="connsiteY12" fmla="*/ 857250 h 857250"/>
              <a:gd name="connsiteX13" fmla="*/ 230067 w 420138"/>
              <a:gd name="connsiteY13" fmla="*/ 857250 h 857250"/>
              <a:gd name="connsiteX14" fmla="*/ 230067 w 420138"/>
              <a:gd name="connsiteY14" fmla="*/ 590550 h 857250"/>
              <a:gd name="connsiteX15" fmla="*/ 191967 w 420138"/>
              <a:gd name="connsiteY15" fmla="*/ 590550 h 857250"/>
              <a:gd name="connsiteX16" fmla="*/ 191967 w 420138"/>
              <a:gd name="connsiteY16" fmla="*/ 857250 h 857250"/>
              <a:gd name="connsiteX17" fmla="*/ 115767 w 420138"/>
              <a:gd name="connsiteY17" fmla="*/ 857250 h 857250"/>
              <a:gd name="connsiteX18" fmla="*/ 115767 w 420138"/>
              <a:gd name="connsiteY18" fmla="*/ 590550 h 857250"/>
              <a:gd name="connsiteX19" fmla="*/ 64332 w 420138"/>
              <a:gd name="connsiteY19" fmla="*/ 590550 h 857250"/>
              <a:gd name="connsiteX20" fmla="*/ 134817 w 420138"/>
              <a:gd name="connsiteY20" fmla="*/ 354330 h 857250"/>
              <a:gd name="connsiteX21" fmla="*/ 134817 w 420138"/>
              <a:gd name="connsiteY21" fmla="*/ 287655 h 857250"/>
              <a:gd name="connsiteX22" fmla="*/ 75762 w 420138"/>
              <a:gd name="connsiteY22" fmla="*/ 487680 h 857250"/>
              <a:gd name="connsiteX23" fmla="*/ 39567 w 420138"/>
              <a:gd name="connsiteY23" fmla="*/ 514350 h 857250"/>
              <a:gd name="connsiteX24" fmla="*/ 28137 w 420138"/>
              <a:gd name="connsiteY24" fmla="*/ 512445 h 857250"/>
              <a:gd name="connsiteX25" fmla="*/ 1467 w 420138"/>
              <a:gd name="connsiteY25" fmla="*/ 464820 h 857250"/>
              <a:gd name="connsiteX26" fmla="*/ 71952 w 420138"/>
              <a:gd name="connsiteY26" fmla="*/ 228600 h 857250"/>
              <a:gd name="connsiteX27" fmla="*/ 87192 w 420138"/>
              <a:gd name="connsiteY27" fmla="*/ 207645 h 857250"/>
              <a:gd name="connsiteX28" fmla="*/ 167202 w 420138"/>
              <a:gd name="connsiteY28" fmla="*/ 175260 h 857250"/>
              <a:gd name="connsiteX29" fmla="*/ 211017 w 420138"/>
              <a:gd name="connsiteY29" fmla="*/ 171450 h 857250"/>
              <a:gd name="connsiteX30" fmla="*/ 211017 w 420138"/>
              <a:gd name="connsiteY30" fmla="*/ 0 h 857250"/>
              <a:gd name="connsiteX31" fmla="*/ 287217 w 420138"/>
              <a:gd name="connsiteY31" fmla="*/ 76200 h 857250"/>
              <a:gd name="connsiteX32" fmla="*/ 211017 w 420138"/>
              <a:gd name="connsiteY32" fmla="*/ 152400 h 857250"/>
              <a:gd name="connsiteX33" fmla="*/ 134817 w 420138"/>
              <a:gd name="connsiteY33" fmla="*/ 76200 h 857250"/>
              <a:gd name="connsiteX34" fmla="*/ 211017 w 420138"/>
              <a:gd name="connsiteY34" fmla="*/ 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420138" h="857250">
                <a:moveTo>
                  <a:pt x="211017" y="171450"/>
                </a:moveTo>
                <a:cubicBezTo>
                  <a:pt x="226257" y="171450"/>
                  <a:pt x="239592" y="173355"/>
                  <a:pt x="254832" y="175260"/>
                </a:cubicBezTo>
                <a:cubicBezTo>
                  <a:pt x="285312" y="182880"/>
                  <a:pt x="311982" y="192405"/>
                  <a:pt x="334842" y="207645"/>
                </a:cubicBezTo>
                <a:cubicBezTo>
                  <a:pt x="342462" y="211455"/>
                  <a:pt x="348177" y="219075"/>
                  <a:pt x="350082" y="228600"/>
                </a:cubicBezTo>
                <a:lnTo>
                  <a:pt x="418662" y="464820"/>
                </a:lnTo>
                <a:cubicBezTo>
                  <a:pt x="424377" y="485775"/>
                  <a:pt x="412947" y="506730"/>
                  <a:pt x="393897" y="512445"/>
                </a:cubicBezTo>
                <a:cubicBezTo>
                  <a:pt x="390087" y="514350"/>
                  <a:pt x="386277" y="514350"/>
                  <a:pt x="382467" y="514350"/>
                </a:cubicBezTo>
                <a:cubicBezTo>
                  <a:pt x="367227" y="514350"/>
                  <a:pt x="351987" y="504825"/>
                  <a:pt x="346272" y="487680"/>
                </a:cubicBezTo>
                <a:lnTo>
                  <a:pt x="287217" y="287655"/>
                </a:lnTo>
                <a:lnTo>
                  <a:pt x="287217" y="354330"/>
                </a:lnTo>
                <a:lnTo>
                  <a:pt x="357702" y="590550"/>
                </a:lnTo>
                <a:lnTo>
                  <a:pt x="306267" y="590550"/>
                </a:lnTo>
                <a:lnTo>
                  <a:pt x="306267" y="857250"/>
                </a:lnTo>
                <a:lnTo>
                  <a:pt x="230067" y="857250"/>
                </a:lnTo>
                <a:lnTo>
                  <a:pt x="230067" y="590550"/>
                </a:lnTo>
                <a:lnTo>
                  <a:pt x="191967" y="590550"/>
                </a:lnTo>
                <a:lnTo>
                  <a:pt x="191967" y="857250"/>
                </a:lnTo>
                <a:lnTo>
                  <a:pt x="115767" y="857250"/>
                </a:lnTo>
                <a:lnTo>
                  <a:pt x="115767" y="590550"/>
                </a:lnTo>
                <a:lnTo>
                  <a:pt x="64332" y="590550"/>
                </a:lnTo>
                <a:lnTo>
                  <a:pt x="134817" y="354330"/>
                </a:lnTo>
                <a:lnTo>
                  <a:pt x="134817" y="287655"/>
                </a:lnTo>
                <a:lnTo>
                  <a:pt x="75762" y="487680"/>
                </a:lnTo>
                <a:cubicBezTo>
                  <a:pt x="71952" y="502920"/>
                  <a:pt x="56712" y="514350"/>
                  <a:pt x="39567" y="514350"/>
                </a:cubicBezTo>
                <a:cubicBezTo>
                  <a:pt x="35757" y="514350"/>
                  <a:pt x="31947" y="514350"/>
                  <a:pt x="28137" y="512445"/>
                </a:cubicBezTo>
                <a:cubicBezTo>
                  <a:pt x="7182" y="506730"/>
                  <a:pt x="-4248" y="485775"/>
                  <a:pt x="1467" y="464820"/>
                </a:cubicBezTo>
                <a:lnTo>
                  <a:pt x="71952" y="228600"/>
                </a:lnTo>
                <a:cubicBezTo>
                  <a:pt x="73857" y="219075"/>
                  <a:pt x="79572" y="213360"/>
                  <a:pt x="87192" y="207645"/>
                </a:cubicBezTo>
                <a:cubicBezTo>
                  <a:pt x="110052" y="192405"/>
                  <a:pt x="136722" y="180975"/>
                  <a:pt x="167202" y="175260"/>
                </a:cubicBezTo>
                <a:cubicBezTo>
                  <a:pt x="182442" y="173355"/>
                  <a:pt x="195777" y="171450"/>
                  <a:pt x="211017" y="171450"/>
                </a:cubicBezTo>
                <a:close/>
                <a:moveTo>
                  <a:pt x="211017" y="0"/>
                </a:moveTo>
                <a:cubicBezTo>
                  <a:pt x="253101" y="0"/>
                  <a:pt x="287217" y="34116"/>
                  <a:pt x="287217" y="76200"/>
                </a:cubicBezTo>
                <a:cubicBezTo>
                  <a:pt x="287217" y="118284"/>
                  <a:pt x="253101" y="152400"/>
                  <a:pt x="211017" y="152400"/>
                </a:cubicBezTo>
                <a:cubicBezTo>
                  <a:pt x="168933" y="152400"/>
                  <a:pt x="134817" y="118284"/>
                  <a:pt x="134817" y="76200"/>
                </a:cubicBezTo>
                <a:cubicBezTo>
                  <a:pt x="134817" y="34116"/>
                  <a:pt x="168933" y="0"/>
                  <a:pt x="211017" y="0"/>
                </a:cubicBezTo>
                <a:close/>
              </a:path>
            </a:pathLst>
          </a:custGeom>
          <a:solidFill>
            <a:srgbClr val="FC818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4" name="任意多边形: 形状 53">
            <a:extLst>
              <a:ext uri="{FF2B5EF4-FFF2-40B4-BE49-F238E27FC236}">
                <a16:creationId xmlns:a16="http://schemas.microsoft.com/office/drawing/2014/main" id="{32B64B32-6691-4069-86ED-862F23078E17}"/>
              </a:ext>
            </a:extLst>
          </p:cNvPr>
          <p:cNvSpPr/>
          <p:nvPr/>
        </p:nvSpPr>
        <p:spPr>
          <a:xfrm>
            <a:off x="4414139" y="2287286"/>
            <a:ext cx="390392" cy="796555"/>
          </a:xfrm>
          <a:custGeom>
            <a:avLst/>
            <a:gdLst>
              <a:gd name="connsiteX0" fmla="*/ 211017 w 420138"/>
              <a:gd name="connsiteY0" fmla="*/ 171450 h 857250"/>
              <a:gd name="connsiteX1" fmla="*/ 254832 w 420138"/>
              <a:gd name="connsiteY1" fmla="*/ 175260 h 857250"/>
              <a:gd name="connsiteX2" fmla="*/ 334842 w 420138"/>
              <a:gd name="connsiteY2" fmla="*/ 207645 h 857250"/>
              <a:gd name="connsiteX3" fmla="*/ 350082 w 420138"/>
              <a:gd name="connsiteY3" fmla="*/ 228600 h 857250"/>
              <a:gd name="connsiteX4" fmla="*/ 418662 w 420138"/>
              <a:gd name="connsiteY4" fmla="*/ 464820 h 857250"/>
              <a:gd name="connsiteX5" fmla="*/ 393897 w 420138"/>
              <a:gd name="connsiteY5" fmla="*/ 512445 h 857250"/>
              <a:gd name="connsiteX6" fmla="*/ 382467 w 420138"/>
              <a:gd name="connsiteY6" fmla="*/ 514350 h 857250"/>
              <a:gd name="connsiteX7" fmla="*/ 346272 w 420138"/>
              <a:gd name="connsiteY7" fmla="*/ 487680 h 857250"/>
              <a:gd name="connsiteX8" fmla="*/ 287217 w 420138"/>
              <a:gd name="connsiteY8" fmla="*/ 287655 h 857250"/>
              <a:gd name="connsiteX9" fmla="*/ 287217 w 420138"/>
              <a:gd name="connsiteY9" fmla="*/ 354330 h 857250"/>
              <a:gd name="connsiteX10" fmla="*/ 357702 w 420138"/>
              <a:gd name="connsiteY10" fmla="*/ 590550 h 857250"/>
              <a:gd name="connsiteX11" fmla="*/ 306267 w 420138"/>
              <a:gd name="connsiteY11" fmla="*/ 590550 h 857250"/>
              <a:gd name="connsiteX12" fmla="*/ 306267 w 420138"/>
              <a:gd name="connsiteY12" fmla="*/ 857250 h 857250"/>
              <a:gd name="connsiteX13" fmla="*/ 230067 w 420138"/>
              <a:gd name="connsiteY13" fmla="*/ 857250 h 857250"/>
              <a:gd name="connsiteX14" fmla="*/ 230067 w 420138"/>
              <a:gd name="connsiteY14" fmla="*/ 590550 h 857250"/>
              <a:gd name="connsiteX15" fmla="*/ 191967 w 420138"/>
              <a:gd name="connsiteY15" fmla="*/ 590550 h 857250"/>
              <a:gd name="connsiteX16" fmla="*/ 191967 w 420138"/>
              <a:gd name="connsiteY16" fmla="*/ 857250 h 857250"/>
              <a:gd name="connsiteX17" fmla="*/ 115767 w 420138"/>
              <a:gd name="connsiteY17" fmla="*/ 857250 h 857250"/>
              <a:gd name="connsiteX18" fmla="*/ 115767 w 420138"/>
              <a:gd name="connsiteY18" fmla="*/ 590550 h 857250"/>
              <a:gd name="connsiteX19" fmla="*/ 64332 w 420138"/>
              <a:gd name="connsiteY19" fmla="*/ 590550 h 857250"/>
              <a:gd name="connsiteX20" fmla="*/ 134817 w 420138"/>
              <a:gd name="connsiteY20" fmla="*/ 354330 h 857250"/>
              <a:gd name="connsiteX21" fmla="*/ 134817 w 420138"/>
              <a:gd name="connsiteY21" fmla="*/ 287655 h 857250"/>
              <a:gd name="connsiteX22" fmla="*/ 75762 w 420138"/>
              <a:gd name="connsiteY22" fmla="*/ 487680 h 857250"/>
              <a:gd name="connsiteX23" fmla="*/ 39567 w 420138"/>
              <a:gd name="connsiteY23" fmla="*/ 514350 h 857250"/>
              <a:gd name="connsiteX24" fmla="*/ 28137 w 420138"/>
              <a:gd name="connsiteY24" fmla="*/ 512445 h 857250"/>
              <a:gd name="connsiteX25" fmla="*/ 1467 w 420138"/>
              <a:gd name="connsiteY25" fmla="*/ 464820 h 857250"/>
              <a:gd name="connsiteX26" fmla="*/ 71952 w 420138"/>
              <a:gd name="connsiteY26" fmla="*/ 228600 h 857250"/>
              <a:gd name="connsiteX27" fmla="*/ 87192 w 420138"/>
              <a:gd name="connsiteY27" fmla="*/ 207645 h 857250"/>
              <a:gd name="connsiteX28" fmla="*/ 167202 w 420138"/>
              <a:gd name="connsiteY28" fmla="*/ 175260 h 857250"/>
              <a:gd name="connsiteX29" fmla="*/ 211017 w 420138"/>
              <a:gd name="connsiteY29" fmla="*/ 171450 h 857250"/>
              <a:gd name="connsiteX30" fmla="*/ 211017 w 420138"/>
              <a:gd name="connsiteY30" fmla="*/ 0 h 857250"/>
              <a:gd name="connsiteX31" fmla="*/ 287217 w 420138"/>
              <a:gd name="connsiteY31" fmla="*/ 76200 h 857250"/>
              <a:gd name="connsiteX32" fmla="*/ 211017 w 420138"/>
              <a:gd name="connsiteY32" fmla="*/ 152400 h 857250"/>
              <a:gd name="connsiteX33" fmla="*/ 134817 w 420138"/>
              <a:gd name="connsiteY33" fmla="*/ 76200 h 857250"/>
              <a:gd name="connsiteX34" fmla="*/ 211017 w 420138"/>
              <a:gd name="connsiteY34" fmla="*/ 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420138" h="857250">
                <a:moveTo>
                  <a:pt x="211017" y="171450"/>
                </a:moveTo>
                <a:cubicBezTo>
                  <a:pt x="226257" y="171450"/>
                  <a:pt x="239592" y="173355"/>
                  <a:pt x="254832" y="175260"/>
                </a:cubicBezTo>
                <a:cubicBezTo>
                  <a:pt x="285312" y="182880"/>
                  <a:pt x="311982" y="192405"/>
                  <a:pt x="334842" y="207645"/>
                </a:cubicBezTo>
                <a:cubicBezTo>
                  <a:pt x="342462" y="211455"/>
                  <a:pt x="348177" y="219075"/>
                  <a:pt x="350082" y="228600"/>
                </a:cubicBezTo>
                <a:lnTo>
                  <a:pt x="418662" y="464820"/>
                </a:lnTo>
                <a:cubicBezTo>
                  <a:pt x="424377" y="485775"/>
                  <a:pt x="412947" y="506730"/>
                  <a:pt x="393897" y="512445"/>
                </a:cubicBezTo>
                <a:cubicBezTo>
                  <a:pt x="390087" y="514350"/>
                  <a:pt x="386277" y="514350"/>
                  <a:pt x="382467" y="514350"/>
                </a:cubicBezTo>
                <a:cubicBezTo>
                  <a:pt x="367227" y="514350"/>
                  <a:pt x="351987" y="504825"/>
                  <a:pt x="346272" y="487680"/>
                </a:cubicBezTo>
                <a:lnTo>
                  <a:pt x="287217" y="287655"/>
                </a:lnTo>
                <a:lnTo>
                  <a:pt x="287217" y="354330"/>
                </a:lnTo>
                <a:lnTo>
                  <a:pt x="357702" y="590550"/>
                </a:lnTo>
                <a:lnTo>
                  <a:pt x="306267" y="590550"/>
                </a:lnTo>
                <a:lnTo>
                  <a:pt x="306267" y="857250"/>
                </a:lnTo>
                <a:lnTo>
                  <a:pt x="230067" y="857250"/>
                </a:lnTo>
                <a:lnTo>
                  <a:pt x="230067" y="590550"/>
                </a:lnTo>
                <a:lnTo>
                  <a:pt x="191967" y="590550"/>
                </a:lnTo>
                <a:lnTo>
                  <a:pt x="191967" y="857250"/>
                </a:lnTo>
                <a:lnTo>
                  <a:pt x="115767" y="857250"/>
                </a:lnTo>
                <a:lnTo>
                  <a:pt x="115767" y="590550"/>
                </a:lnTo>
                <a:lnTo>
                  <a:pt x="64332" y="590550"/>
                </a:lnTo>
                <a:lnTo>
                  <a:pt x="134817" y="354330"/>
                </a:lnTo>
                <a:lnTo>
                  <a:pt x="134817" y="287655"/>
                </a:lnTo>
                <a:lnTo>
                  <a:pt x="75762" y="487680"/>
                </a:lnTo>
                <a:cubicBezTo>
                  <a:pt x="71952" y="502920"/>
                  <a:pt x="56712" y="514350"/>
                  <a:pt x="39567" y="514350"/>
                </a:cubicBezTo>
                <a:cubicBezTo>
                  <a:pt x="35757" y="514350"/>
                  <a:pt x="31947" y="514350"/>
                  <a:pt x="28137" y="512445"/>
                </a:cubicBezTo>
                <a:cubicBezTo>
                  <a:pt x="7182" y="506730"/>
                  <a:pt x="-4248" y="485775"/>
                  <a:pt x="1467" y="464820"/>
                </a:cubicBezTo>
                <a:lnTo>
                  <a:pt x="71952" y="228600"/>
                </a:lnTo>
                <a:cubicBezTo>
                  <a:pt x="73857" y="219075"/>
                  <a:pt x="79572" y="213360"/>
                  <a:pt x="87192" y="207645"/>
                </a:cubicBezTo>
                <a:cubicBezTo>
                  <a:pt x="110052" y="192405"/>
                  <a:pt x="136722" y="180975"/>
                  <a:pt x="167202" y="175260"/>
                </a:cubicBezTo>
                <a:cubicBezTo>
                  <a:pt x="182442" y="173355"/>
                  <a:pt x="195777" y="171450"/>
                  <a:pt x="211017" y="171450"/>
                </a:cubicBezTo>
                <a:close/>
                <a:moveTo>
                  <a:pt x="211017" y="0"/>
                </a:moveTo>
                <a:cubicBezTo>
                  <a:pt x="253101" y="0"/>
                  <a:pt x="287217" y="34116"/>
                  <a:pt x="287217" y="76200"/>
                </a:cubicBezTo>
                <a:cubicBezTo>
                  <a:pt x="287217" y="118284"/>
                  <a:pt x="253101" y="152400"/>
                  <a:pt x="211017" y="152400"/>
                </a:cubicBezTo>
                <a:cubicBezTo>
                  <a:pt x="168933" y="152400"/>
                  <a:pt x="134817" y="118284"/>
                  <a:pt x="134817" y="76200"/>
                </a:cubicBezTo>
                <a:cubicBezTo>
                  <a:pt x="134817" y="34116"/>
                  <a:pt x="168933" y="0"/>
                  <a:pt x="211017" y="0"/>
                </a:cubicBezTo>
                <a:close/>
              </a:path>
            </a:pathLst>
          </a:custGeom>
          <a:gradFill flip="none" rotWithShape="1">
            <a:gsLst>
              <a:gs pos="0">
                <a:srgbClr val="FC8184"/>
              </a:gs>
              <a:gs pos="100000">
                <a:srgbClr val="C8CDD4"/>
              </a:gs>
              <a:gs pos="96000">
                <a:srgbClr val="FC8184"/>
              </a:gs>
              <a:gs pos="96100">
                <a:srgbClr val="C8CDD4"/>
              </a:gs>
            </a:gsLst>
            <a:lin ang="0" scaled="1"/>
            <a:tileRect/>
          </a:gra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5" name="任意多边形: 形状 54">
            <a:extLst>
              <a:ext uri="{FF2B5EF4-FFF2-40B4-BE49-F238E27FC236}">
                <a16:creationId xmlns:a16="http://schemas.microsoft.com/office/drawing/2014/main" id="{942597DB-3D4E-420B-8D54-83CC9F451E37}"/>
              </a:ext>
            </a:extLst>
          </p:cNvPr>
          <p:cNvSpPr/>
          <p:nvPr/>
        </p:nvSpPr>
        <p:spPr>
          <a:xfrm>
            <a:off x="4842462" y="2287286"/>
            <a:ext cx="390392" cy="796555"/>
          </a:xfrm>
          <a:custGeom>
            <a:avLst/>
            <a:gdLst>
              <a:gd name="connsiteX0" fmla="*/ 211017 w 420138"/>
              <a:gd name="connsiteY0" fmla="*/ 171450 h 857250"/>
              <a:gd name="connsiteX1" fmla="*/ 254832 w 420138"/>
              <a:gd name="connsiteY1" fmla="*/ 175260 h 857250"/>
              <a:gd name="connsiteX2" fmla="*/ 334842 w 420138"/>
              <a:gd name="connsiteY2" fmla="*/ 207645 h 857250"/>
              <a:gd name="connsiteX3" fmla="*/ 350082 w 420138"/>
              <a:gd name="connsiteY3" fmla="*/ 228600 h 857250"/>
              <a:gd name="connsiteX4" fmla="*/ 418662 w 420138"/>
              <a:gd name="connsiteY4" fmla="*/ 464820 h 857250"/>
              <a:gd name="connsiteX5" fmla="*/ 393897 w 420138"/>
              <a:gd name="connsiteY5" fmla="*/ 512445 h 857250"/>
              <a:gd name="connsiteX6" fmla="*/ 382467 w 420138"/>
              <a:gd name="connsiteY6" fmla="*/ 514350 h 857250"/>
              <a:gd name="connsiteX7" fmla="*/ 346272 w 420138"/>
              <a:gd name="connsiteY7" fmla="*/ 487680 h 857250"/>
              <a:gd name="connsiteX8" fmla="*/ 287217 w 420138"/>
              <a:gd name="connsiteY8" fmla="*/ 287655 h 857250"/>
              <a:gd name="connsiteX9" fmla="*/ 287217 w 420138"/>
              <a:gd name="connsiteY9" fmla="*/ 354330 h 857250"/>
              <a:gd name="connsiteX10" fmla="*/ 357702 w 420138"/>
              <a:gd name="connsiteY10" fmla="*/ 590550 h 857250"/>
              <a:gd name="connsiteX11" fmla="*/ 306267 w 420138"/>
              <a:gd name="connsiteY11" fmla="*/ 590550 h 857250"/>
              <a:gd name="connsiteX12" fmla="*/ 306267 w 420138"/>
              <a:gd name="connsiteY12" fmla="*/ 857250 h 857250"/>
              <a:gd name="connsiteX13" fmla="*/ 230067 w 420138"/>
              <a:gd name="connsiteY13" fmla="*/ 857250 h 857250"/>
              <a:gd name="connsiteX14" fmla="*/ 230067 w 420138"/>
              <a:gd name="connsiteY14" fmla="*/ 590550 h 857250"/>
              <a:gd name="connsiteX15" fmla="*/ 191967 w 420138"/>
              <a:gd name="connsiteY15" fmla="*/ 590550 h 857250"/>
              <a:gd name="connsiteX16" fmla="*/ 191967 w 420138"/>
              <a:gd name="connsiteY16" fmla="*/ 857250 h 857250"/>
              <a:gd name="connsiteX17" fmla="*/ 115767 w 420138"/>
              <a:gd name="connsiteY17" fmla="*/ 857250 h 857250"/>
              <a:gd name="connsiteX18" fmla="*/ 115767 w 420138"/>
              <a:gd name="connsiteY18" fmla="*/ 590550 h 857250"/>
              <a:gd name="connsiteX19" fmla="*/ 64332 w 420138"/>
              <a:gd name="connsiteY19" fmla="*/ 590550 h 857250"/>
              <a:gd name="connsiteX20" fmla="*/ 134817 w 420138"/>
              <a:gd name="connsiteY20" fmla="*/ 354330 h 857250"/>
              <a:gd name="connsiteX21" fmla="*/ 134817 w 420138"/>
              <a:gd name="connsiteY21" fmla="*/ 287655 h 857250"/>
              <a:gd name="connsiteX22" fmla="*/ 75762 w 420138"/>
              <a:gd name="connsiteY22" fmla="*/ 487680 h 857250"/>
              <a:gd name="connsiteX23" fmla="*/ 39567 w 420138"/>
              <a:gd name="connsiteY23" fmla="*/ 514350 h 857250"/>
              <a:gd name="connsiteX24" fmla="*/ 28137 w 420138"/>
              <a:gd name="connsiteY24" fmla="*/ 512445 h 857250"/>
              <a:gd name="connsiteX25" fmla="*/ 1467 w 420138"/>
              <a:gd name="connsiteY25" fmla="*/ 464820 h 857250"/>
              <a:gd name="connsiteX26" fmla="*/ 71952 w 420138"/>
              <a:gd name="connsiteY26" fmla="*/ 228600 h 857250"/>
              <a:gd name="connsiteX27" fmla="*/ 87192 w 420138"/>
              <a:gd name="connsiteY27" fmla="*/ 207645 h 857250"/>
              <a:gd name="connsiteX28" fmla="*/ 167202 w 420138"/>
              <a:gd name="connsiteY28" fmla="*/ 175260 h 857250"/>
              <a:gd name="connsiteX29" fmla="*/ 211017 w 420138"/>
              <a:gd name="connsiteY29" fmla="*/ 171450 h 857250"/>
              <a:gd name="connsiteX30" fmla="*/ 211017 w 420138"/>
              <a:gd name="connsiteY30" fmla="*/ 0 h 857250"/>
              <a:gd name="connsiteX31" fmla="*/ 287217 w 420138"/>
              <a:gd name="connsiteY31" fmla="*/ 76200 h 857250"/>
              <a:gd name="connsiteX32" fmla="*/ 211017 w 420138"/>
              <a:gd name="connsiteY32" fmla="*/ 152400 h 857250"/>
              <a:gd name="connsiteX33" fmla="*/ 134817 w 420138"/>
              <a:gd name="connsiteY33" fmla="*/ 76200 h 857250"/>
              <a:gd name="connsiteX34" fmla="*/ 211017 w 420138"/>
              <a:gd name="connsiteY34" fmla="*/ 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420138" h="857250">
                <a:moveTo>
                  <a:pt x="211017" y="171450"/>
                </a:moveTo>
                <a:cubicBezTo>
                  <a:pt x="226257" y="171450"/>
                  <a:pt x="239592" y="173355"/>
                  <a:pt x="254832" y="175260"/>
                </a:cubicBezTo>
                <a:cubicBezTo>
                  <a:pt x="285312" y="182880"/>
                  <a:pt x="311982" y="192405"/>
                  <a:pt x="334842" y="207645"/>
                </a:cubicBezTo>
                <a:cubicBezTo>
                  <a:pt x="342462" y="211455"/>
                  <a:pt x="348177" y="219075"/>
                  <a:pt x="350082" y="228600"/>
                </a:cubicBezTo>
                <a:lnTo>
                  <a:pt x="418662" y="464820"/>
                </a:lnTo>
                <a:cubicBezTo>
                  <a:pt x="424377" y="485775"/>
                  <a:pt x="412947" y="506730"/>
                  <a:pt x="393897" y="512445"/>
                </a:cubicBezTo>
                <a:cubicBezTo>
                  <a:pt x="390087" y="514350"/>
                  <a:pt x="386277" y="514350"/>
                  <a:pt x="382467" y="514350"/>
                </a:cubicBezTo>
                <a:cubicBezTo>
                  <a:pt x="367227" y="514350"/>
                  <a:pt x="351987" y="504825"/>
                  <a:pt x="346272" y="487680"/>
                </a:cubicBezTo>
                <a:lnTo>
                  <a:pt x="287217" y="287655"/>
                </a:lnTo>
                <a:lnTo>
                  <a:pt x="287217" y="354330"/>
                </a:lnTo>
                <a:lnTo>
                  <a:pt x="357702" y="590550"/>
                </a:lnTo>
                <a:lnTo>
                  <a:pt x="306267" y="590550"/>
                </a:lnTo>
                <a:lnTo>
                  <a:pt x="306267" y="857250"/>
                </a:lnTo>
                <a:lnTo>
                  <a:pt x="230067" y="857250"/>
                </a:lnTo>
                <a:lnTo>
                  <a:pt x="230067" y="590550"/>
                </a:lnTo>
                <a:lnTo>
                  <a:pt x="191967" y="590550"/>
                </a:lnTo>
                <a:lnTo>
                  <a:pt x="191967" y="857250"/>
                </a:lnTo>
                <a:lnTo>
                  <a:pt x="115767" y="857250"/>
                </a:lnTo>
                <a:lnTo>
                  <a:pt x="115767" y="590550"/>
                </a:lnTo>
                <a:lnTo>
                  <a:pt x="64332" y="590550"/>
                </a:lnTo>
                <a:lnTo>
                  <a:pt x="134817" y="354330"/>
                </a:lnTo>
                <a:lnTo>
                  <a:pt x="134817" y="287655"/>
                </a:lnTo>
                <a:lnTo>
                  <a:pt x="75762" y="487680"/>
                </a:lnTo>
                <a:cubicBezTo>
                  <a:pt x="71952" y="502920"/>
                  <a:pt x="56712" y="514350"/>
                  <a:pt x="39567" y="514350"/>
                </a:cubicBezTo>
                <a:cubicBezTo>
                  <a:pt x="35757" y="514350"/>
                  <a:pt x="31947" y="514350"/>
                  <a:pt x="28137" y="512445"/>
                </a:cubicBezTo>
                <a:cubicBezTo>
                  <a:pt x="7182" y="506730"/>
                  <a:pt x="-4248" y="485775"/>
                  <a:pt x="1467" y="464820"/>
                </a:cubicBezTo>
                <a:lnTo>
                  <a:pt x="71952" y="228600"/>
                </a:lnTo>
                <a:cubicBezTo>
                  <a:pt x="73857" y="219075"/>
                  <a:pt x="79572" y="213360"/>
                  <a:pt x="87192" y="207645"/>
                </a:cubicBezTo>
                <a:cubicBezTo>
                  <a:pt x="110052" y="192405"/>
                  <a:pt x="136722" y="180975"/>
                  <a:pt x="167202" y="175260"/>
                </a:cubicBezTo>
                <a:cubicBezTo>
                  <a:pt x="182442" y="173355"/>
                  <a:pt x="195777" y="171450"/>
                  <a:pt x="211017" y="171450"/>
                </a:cubicBezTo>
                <a:close/>
                <a:moveTo>
                  <a:pt x="211017" y="0"/>
                </a:moveTo>
                <a:cubicBezTo>
                  <a:pt x="253101" y="0"/>
                  <a:pt x="287217" y="34116"/>
                  <a:pt x="287217" y="76200"/>
                </a:cubicBezTo>
                <a:cubicBezTo>
                  <a:pt x="287217" y="118284"/>
                  <a:pt x="253101" y="152400"/>
                  <a:pt x="211017" y="152400"/>
                </a:cubicBezTo>
                <a:cubicBezTo>
                  <a:pt x="168933" y="152400"/>
                  <a:pt x="134817" y="118284"/>
                  <a:pt x="134817" y="76200"/>
                </a:cubicBezTo>
                <a:cubicBezTo>
                  <a:pt x="134817" y="34116"/>
                  <a:pt x="168933" y="0"/>
                  <a:pt x="211017" y="0"/>
                </a:cubicBezTo>
                <a:close/>
              </a:path>
            </a:pathLst>
          </a:custGeom>
          <a:solidFill>
            <a:srgbClr val="C8CDD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6" name="任意多边形: 形状 55">
            <a:extLst>
              <a:ext uri="{FF2B5EF4-FFF2-40B4-BE49-F238E27FC236}">
                <a16:creationId xmlns:a16="http://schemas.microsoft.com/office/drawing/2014/main" id="{E7FF8C69-D103-4ED5-8B53-0AF625C2FEB1}"/>
              </a:ext>
            </a:extLst>
          </p:cNvPr>
          <p:cNvSpPr/>
          <p:nvPr/>
        </p:nvSpPr>
        <p:spPr>
          <a:xfrm>
            <a:off x="5270785" y="2287286"/>
            <a:ext cx="390392" cy="796555"/>
          </a:xfrm>
          <a:custGeom>
            <a:avLst/>
            <a:gdLst>
              <a:gd name="connsiteX0" fmla="*/ 211017 w 420138"/>
              <a:gd name="connsiteY0" fmla="*/ 171450 h 857250"/>
              <a:gd name="connsiteX1" fmla="*/ 254832 w 420138"/>
              <a:gd name="connsiteY1" fmla="*/ 175260 h 857250"/>
              <a:gd name="connsiteX2" fmla="*/ 334842 w 420138"/>
              <a:gd name="connsiteY2" fmla="*/ 207645 h 857250"/>
              <a:gd name="connsiteX3" fmla="*/ 350082 w 420138"/>
              <a:gd name="connsiteY3" fmla="*/ 228600 h 857250"/>
              <a:gd name="connsiteX4" fmla="*/ 418662 w 420138"/>
              <a:gd name="connsiteY4" fmla="*/ 464820 h 857250"/>
              <a:gd name="connsiteX5" fmla="*/ 393897 w 420138"/>
              <a:gd name="connsiteY5" fmla="*/ 512445 h 857250"/>
              <a:gd name="connsiteX6" fmla="*/ 382467 w 420138"/>
              <a:gd name="connsiteY6" fmla="*/ 514350 h 857250"/>
              <a:gd name="connsiteX7" fmla="*/ 346272 w 420138"/>
              <a:gd name="connsiteY7" fmla="*/ 487680 h 857250"/>
              <a:gd name="connsiteX8" fmla="*/ 287217 w 420138"/>
              <a:gd name="connsiteY8" fmla="*/ 287655 h 857250"/>
              <a:gd name="connsiteX9" fmla="*/ 287217 w 420138"/>
              <a:gd name="connsiteY9" fmla="*/ 354330 h 857250"/>
              <a:gd name="connsiteX10" fmla="*/ 357702 w 420138"/>
              <a:gd name="connsiteY10" fmla="*/ 590550 h 857250"/>
              <a:gd name="connsiteX11" fmla="*/ 306267 w 420138"/>
              <a:gd name="connsiteY11" fmla="*/ 590550 h 857250"/>
              <a:gd name="connsiteX12" fmla="*/ 306267 w 420138"/>
              <a:gd name="connsiteY12" fmla="*/ 857250 h 857250"/>
              <a:gd name="connsiteX13" fmla="*/ 230067 w 420138"/>
              <a:gd name="connsiteY13" fmla="*/ 857250 h 857250"/>
              <a:gd name="connsiteX14" fmla="*/ 230067 w 420138"/>
              <a:gd name="connsiteY14" fmla="*/ 590550 h 857250"/>
              <a:gd name="connsiteX15" fmla="*/ 191967 w 420138"/>
              <a:gd name="connsiteY15" fmla="*/ 590550 h 857250"/>
              <a:gd name="connsiteX16" fmla="*/ 191967 w 420138"/>
              <a:gd name="connsiteY16" fmla="*/ 857250 h 857250"/>
              <a:gd name="connsiteX17" fmla="*/ 115767 w 420138"/>
              <a:gd name="connsiteY17" fmla="*/ 857250 h 857250"/>
              <a:gd name="connsiteX18" fmla="*/ 115767 w 420138"/>
              <a:gd name="connsiteY18" fmla="*/ 590550 h 857250"/>
              <a:gd name="connsiteX19" fmla="*/ 64332 w 420138"/>
              <a:gd name="connsiteY19" fmla="*/ 590550 h 857250"/>
              <a:gd name="connsiteX20" fmla="*/ 134817 w 420138"/>
              <a:gd name="connsiteY20" fmla="*/ 354330 h 857250"/>
              <a:gd name="connsiteX21" fmla="*/ 134817 w 420138"/>
              <a:gd name="connsiteY21" fmla="*/ 287655 h 857250"/>
              <a:gd name="connsiteX22" fmla="*/ 75762 w 420138"/>
              <a:gd name="connsiteY22" fmla="*/ 487680 h 857250"/>
              <a:gd name="connsiteX23" fmla="*/ 39567 w 420138"/>
              <a:gd name="connsiteY23" fmla="*/ 514350 h 857250"/>
              <a:gd name="connsiteX24" fmla="*/ 28137 w 420138"/>
              <a:gd name="connsiteY24" fmla="*/ 512445 h 857250"/>
              <a:gd name="connsiteX25" fmla="*/ 1467 w 420138"/>
              <a:gd name="connsiteY25" fmla="*/ 464820 h 857250"/>
              <a:gd name="connsiteX26" fmla="*/ 71952 w 420138"/>
              <a:gd name="connsiteY26" fmla="*/ 228600 h 857250"/>
              <a:gd name="connsiteX27" fmla="*/ 87192 w 420138"/>
              <a:gd name="connsiteY27" fmla="*/ 207645 h 857250"/>
              <a:gd name="connsiteX28" fmla="*/ 167202 w 420138"/>
              <a:gd name="connsiteY28" fmla="*/ 175260 h 857250"/>
              <a:gd name="connsiteX29" fmla="*/ 211017 w 420138"/>
              <a:gd name="connsiteY29" fmla="*/ 171450 h 857250"/>
              <a:gd name="connsiteX30" fmla="*/ 211017 w 420138"/>
              <a:gd name="connsiteY30" fmla="*/ 0 h 857250"/>
              <a:gd name="connsiteX31" fmla="*/ 287217 w 420138"/>
              <a:gd name="connsiteY31" fmla="*/ 76200 h 857250"/>
              <a:gd name="connsiteX32" fmla="*/ 211017 w 420138"/>
              <a:gd name="connsiteY32" fmla="*/ 152400 h 857250"/>
              <a:gd name="connsiteX33" fmla="*/ 134817 w 420138"/>
              <a:gd name="connsiteY33" fmla="*/ 76200 h 857250"/>
              <a:gd name="connsiteX34" fmla="*/ 211017 w 420138"/>
              <a:gd name="connsiteY34" fmla="*/ 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420138" h="857250">
                <a:moveTo>
                  <a:pt x="211017" y="171450"/>
                </a:moveTo>
                <a:cubicBezTo>
                  <a:pt x="226257" y="171450"/>
                  <a:pt x="239592" y="173355"/>
                  <a:pt x="254832" y="175260"/>
                </a:cubicBezTo>
                <a:cubicBezTo>
                  <a:pt x="285312" y="182880"/>
                  <a:pt x="311982" y="192405"/>
                  <a:pt x="334842" y="207645"/>
                </a:cubicBezTo>
                <a:cubicBezTo>
                  <a:pt x="342462" y="211455"/>
                  <a:pt x="348177" y="219075"/>
                  <a:pt x="350082" y="228600"/>
                </a:cubicBezTo>
                <a:lnTo>
                  <a:pt x="418662" y="464820"/>
                </a:lnTo>
                <a:cubicBezTo>
                  <a:pt x="424377" y="485775"/>
                  <a:pt x="412947" y="506730"/>
                  <a:pt x="393897" y="512445"/>
                </a:cubicBezTo>
                <a:cubicBezTo>
                  <a:pt x="390087" y="514350"/>
                  <a:pt x="386277" y="514350"/>
                  <a:pt x="382467" y="514350"/>
                </a:cubicBezTo>
                <a:cubicBezTo>
                  <a:pt x="367227" y="514350"/>
                  <a:pt x="351987" y="504825"/>
                  <a:pt x="346272" y="487680"/>
                </a:cubicBezTo>
                <a:lnTo>
                  <a:pt x="287217" y="287655"/>
                </a:lnTo>
                <a:lnTo>
                  <a:pt x="287217" y="354330"/>
                </a:lnTo>
                <a:lnTo>
                  <a:pt x="357702" y="590550"/>
                </a:lnTo>
                <a:lnTo>
                  <a:pt x="306267" y="590550"/>
                </a:lnTo>
                <a:lnTo>
                  <a:pt x="306267" y="857250"/>
                </a:lnTo>
                <a:lnTo>
                  <a:pt x="230067" y="857250"/>
                </a:lnTo>
                <a:lnTo>
                  <a:pt x="230067" y="590550"/>
                </a:lnTo>
                <a:lnTo>
                  <a:pt x="191967" y="590550"/>
                </a:lnTo>
                <a:lnTo>
                  <a:pt x="191967" y="857250"/>
                </a:lnTo>
                <a:lnTo>
                  <a:pt x="115767" y="857250"/>
                </a:lnTo>
                <a:lnTo>
                  <a:pt x="115767" y="590550"/>
                </a:lnTo>
                <a:lnTo>
                  <a:pt x="64332" y="590550"/>
                </a:lnTo>
                <a:lnTo>
                  <a:pt x="134817" y="354330"/>
                </a:lnTo>
                <a:lnTo>
                  <a:pt x="134817" y="287655"/>
                </a:lnTo>
                <a:lnTo>
                  <a:pt x="75762" y="487680"/>
                </a:lnTo>
                <a:cubicBezTo>
                  <a:pt x="71952" y="502920"/>
                  <a:pt x="56712" y="514350"/>
                  <a:pt x="39567" y="514350"/>
                </a:cubicBezTo>
                <a:cubicBezTo>
                  <a:pt x="35757" y="514350"/>
                  <a:pt x="31947" y="514350"/>
                  <a:pt x="28137" y="512445"/>
                </a:cubicBezTo>
                <a:cubicBezTo>
                  <a:pt x="7182" y="506730"/>
                  <a:pt x="-4248" y="485775"/>
                  <a:pt x="1467" y="464820"/>
                </a:cubicBezTo>
                <a:lnTo>
                  <a:pt x="71952" y="228600"/>
                </a:lnTo>
                <a:cubicBezTo>
                  <a:pt x="73857" y="219075"/>
                  <a:pt x="79572" y="213360"/>
                  <a:pt x="87192" y="207645"/>
                </a:cubicBezTo>
                <a:cubicBezTo>
                  <a:pt x="110052" y="192405"/>
                  <a:pt x="136722" y="180975"/>
                  <a:pt x="167202" y="175260"/>
                </a:cubicBezTo>
                <a:cubicBezTo>
                  <a:pt x="182442" y="173355"/>
                  <a:pt x="195777" y="171450"/>
                  <a:pt x="211017" y="171450"/>
                </a:cubicBezTo>
                <a:close/>
                <a:moveTo>
                  <a:pt x="211017" y="0"/>
                </a:moveTo>
                <a:cubicBezTo>
                  <a:pt x="253101" y="0"/>
                  <a:pt x="287217" y="34116"/>
                  <a:pt x="287217" y="76200"/>
                </a:cubicBezTo>
                <a:cubicBezTo>
                  <a:pt x="287217" y="118284"/>
                  <a:pt x="253101" y="152400"/>
                  <a:pt x="211017" y="152400"/>
                </a:cubicBezTo>
                <a:cubicBezTo>
                  <a:pt x="168933" y="152400"/>
                  <a:pt x="134817" y="118284"/>
                  <a:pt x="134817" y="76200"/>
                </a:cubicBezTo>
                <a:cubicBezTo>
                  <a:pt x="134817" y="34116"/>
                  <a:pt x="168933" y="0"/>
                  <a:pt x="211017" y="0"/>
                </a:cubicBezTo>
                <a:close/>
              </a:path>
            </a:pathLst>
          </a:custGeom>
          <a:solidFill>
            <a:srgbClr val="C8CDD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7" name="任意多边形: 形状 56">
            <a:extLst>
              <a:ext uri="{FF2B5EF4-FFF2-40B4-BE49-F238E27FC236}">
                <a16:creationId xmlns:a16="http://schemas.microsoft.com/office/drawing/2014/main" id="{64A426C5-C324-4953-A34E-9A69801BA595}"/>
              </a:ext>
            </a:extLst>
          </p:cNvPr>
          <p:cNvSpPr/>
          <p:nvPr/>
        </p:nvSpPr>
        <p:spPr>
          <a:xfrm>
            <a:off x="5699108" y="2287286"/>
            <a:ext cx="390392" cy="796555"/>
          </a:xfrm>
          <a:custGeom>
            <a:avLst/>
            <a:gdLst>
              <a:gd name="connsiteX0" fmla="*/ 211017 w 420138"/>
              <a:gd name="connsiteY0" fmla="*/ 171450 h 857250"/>
              <a:gd name="connsiteX1" fmla="*/ 254832 w 420138"/>
              <a:gd name="connsiteY1" fmla="*/ 175260 h 857250"/>
              <a:gd name="connsiteX2" fmla="*/ 334842 w 420138"/>
              <a:gd name="connsiteY2" fmla="*/ 207645 h 857250"/>
              <a:gd name="connsiteX3" fmla="*/ 350082 w 420138"/>
              <a:gd name="connsiteY3" fmla="*/ 228600 h 857250"/>
              <a:gd name="connsiteX4" fmla="*/ 418662 w 420138"/>
              <a:gd name="connsiteY4" fmla="*/ 464820 h 857250"/>
              <a:gd name="connsiteX5" fmla="*/ 393897 w 420138"/>
              <a:gd name="connsiteY5" fmla="*/ 512445 h 857250"/>
              <a:gd name="connsiteX6" fmla="*/ 382467 w 420138"/>
              <a:gd name="connsiteY6" fmla="*/ 514350 h 857250"/>
              <a:gd name="connsiteX7" fmla="*/ 346272 w 420138"/>
              <a:gd name="connsiteY7" fmla="*/ 487680 h 857250"/>
              <a:gd name="connsiteX8" fmla="*/ 287217 w 420138"/>
              <a:gd name="connsiteY8" fmla="*/ 287655 h 857250"/>
              <a:gd name="connsiteX9" fmla="*/ 287217 w 420138"/>
              <a:gd name="connsiteY9" fmla="*/ 354330 h 857250"/>
              <a:gd name="connsiteX10" fmla="*/ 357702 w 420138"/>
              <a:gd name="connsiteY10" fmla="*/ 590550 h 857250"/>
              <a:gd name="connsiteX11" fmla="*/ 306267 w 420138"/>
              <a:gd name="connsiteY11" fmla="*/ 590550 h 857250"/>
              <a:gd name="connsiteX12" fmla="*/ 306267 w 420138"/>
              <a:gd name="connsiteY12" fmla="*/ 857250 h 857250"/>
              <a:gd name="connsiteX13" fmla="*/ 230067 w 420138"/>
              <a:gd name="connsiteY13" fmla="*/ 857250 h 857250"/>
              <a:gd name="connsiteX14" fmla="*/ 230067 w 420138"/>
              <a:gd name="connsiteY14" fmla="*/ 590550 h 857250"/>
              <a:gd name="connsiteX15" fmla="*/ 191967 w 420138"/>
              <a:gd name="connsiteY15" fmla="*/ 590550 h 857250"/>
              <a:gd name="connsiteX16" fmla="*/ 191967 w 420138"/>
              <a:gd name="connsiteY16" fmla="*/ 857250 h 857250"/>
              <a:gd name="connsiteX17" fmla="*/ 115767 w 420138"/>
              <a:gd name="connsiteY17" fmla="*/ 857250 h 857250"/>
              <a:gd name="connsiteX18" fmla="*/ 115767 w 420138"/>
              <a:gd name="connsiteY18" fmla="*/ 590550 h 857250"/>
              <a:gd name="connsiteX19" fmla="*/ 64332 w 420138"/>
              <a:gd name="connsiteY19" fmla="*/ 590550 h 857250"/>
              <a:gd name="connsiteX20" fmla="*/ 134817 w 420138"/>
              <a:gd name="connsiteY20" fmla="*/ 354330 h 857250"/>
              <a:gd name="connsiteX21" fmla="*/ 134817 w 420138"/>
              <a:gd name="connsiteY21" fmla="*/ 287655 h 857250"/>
              <a:gd name="connsiteX22" fmla="*/ 75762 w 420138"/>
              <a:gd name="connsiteY22" fmla="*/ 487680 h 857250"/>
              <a:gd name="connsiteX23" fmla="*/ 39567 w 420138"/>
              <a:gd name="connsiteY23" fmla="*/ 514350 h 857250"/>
              <a:gd name="connsiteX24" fmla="*/ 28137 w 420138"/>
              <a:gd name="connsiteY24" fmla="*/ 512445 h 857250"/>
              <a:gd name="connsiteX25" fmla="*/ 1467 w 420138"/>
              <a:gd name="connsiteY25" fmla="*/ 464820 h 857250"/>
              <a:gd name="connsiteX26" fmla="*/ 71952 w 420138"/>
              <a:gd name="connsiteY26" fmla="*/ 228600 h 857250"/>
              <a:gd name="connsiteX27" fmla="*/ 87192 w 420138"/>
              <a:gd name="connsiteY27" fmla="*/ 207645 h 857250"/>
              <a:gd name="connsiteX28" fmla="*/ 167202 w 420138"/>
              <a:gd name="connsiteY28" fmla="*/ 175260 h 857250"/>
              <a:gd name="connsiteX29" fmla="*/ 211017 w 420138"/>
              <a:gd name="connsiteY29" fmla="*/ 171450 h 857250"/>
              <a:gd name="connsiteX30" fmla="*/ 211017 w 420138"/>
              <a:gd name="connsiteY30" fmla="*/ 0 h 857250"/>
              <a:gd name="connsiteX31" fmla="*/ 287217 w 420138"/>
              <a:gd name="connsiteY31" fmla="*/ 76200 h 857250"/>
              <a:gd name="connsiteX32" fmla="*/ 211017 w 420138"/>
              <a:gd name="connsiteY32" fmla="*/ 152400 h 857250"/>
              <a:gd name="connsiteX33" fmla="*/ 134817 w 420138"/>
              <a:gd name="connsiteY33" fmla="*/ 76200 h 857250"/>
              <a:gd name="connsiteX34" fmla="*/ 211017 w 420138"/>
              <a:gd name="connsiteY34" fmla="*/ 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420138" h="857250">
                <a:moveTo>
                  <a:pt x="211017" y="171450"/>
                </a:moveTo>
                <a:cubicBezTo>
                  <a:pt x="226257" y="171450"/>
                  <a:pt x="239592" y="173355"/>
                  <a:pt x="254832" y="175260"/>
                </a:cubicBezTo>
                <a:cubicBezTo>
                  <a:pt x="285312" y="182880"/>
                  <a:pt x="311982" y="192405"/>
                  <a:pt x="334842" y="207645"/>
                </a:cubicBezTo>
                <a:cubicBezTo>
                  <a:pt x="342462" y="211455"/>
                  <a:pt x="348177" y="219075"/>
                  <a:pt x="350082" y="228600"/>
                </a:cubicBezTo>
                <a:lnTo>
                  <a:pt x="418662" y="464820"/>
                </a:lnTo>
                <a:cubicBezTo>
                  <a:pt x="424377" y="485775"/>
                  <a:pt x="412947" y="506730"/>
                  <a:pt x="393897" y="512445"/>
                </a:cubicBezTo>
                <a:cubicBezTo>
                  <a:pt x="390087" y="514350"/>
                  <a:pt x="386277" y="514350"/>
                  <a:pt x="382467" y="514350"/>
                </a:cubicBezTo>
                <a:cubicBezTo>
                  <a:pt x="367227" y="514350"/>
                  <a:pt x="351987" y="504825"/>
                  <a:pt x="346272" y="487680"/>
                </a:cubicBezTo>
                <a:lnTo>
                  <a:pt x="287217" y="287655"/>
                </a:lnTo>
                <a:lnTo>
                  <a:pt x="287217" y="354330"/>
                </a:lnTo>
                <a:lnTo>
                  <a:pt x="357702" y="590550"/>
                </a:lnTo>
                <a:lnTo>
                  <a:pt x="306267" y="590550"/>
                </a:lnTo>
                <a:lnTo>
                  <a:pt x="306267" y="857250"/>
                </a:lnTo>
                <a:lnTo>
                  <a:pt x="230067" y="857250"/>
                </a:lnTo>
                <a:lnTo>
                  <a:pt x="230067" y="590550"/>
                </a:lnTo>
                <a:lnTo>
                  <a:pt x="191967" y="590550"/>
                </a:lnTo>
                <a:lnTo>
                  <a:pt x="191967" y="857250"/>
                </a:lnTo>
                <a:lnTo>
                  <a:pt x="115767" y="857250"/>
                </a:lnTo>
                <a:lnTo>
                  <a:pt x="115767" y="590550"/>
                </a:lnTo>
                <a:lnTo>
                  <a:pt x="64332" y="590550"/>
                </a:lnTo>
                <a:lnTo>
                  <a:pt x="134817" y="354330"/>
                </a:lnTo>
                <a:lnTo>
                  <a:pt x="134817" y="287655"/>
                </a:lnTo>
                <a:lnTo>
                  <a:pt x="75762" y="487680"/>
                </a:lnTo>
                <a:cubicBezTo>
                  <a:pt x="71952" y="502920"/>
                  <a:pt x="56712" y="514350"/>
                  <a:pt x="39567" y="514350"/>
                </a:cubicBezTo>
                <a:cubicBezTo>
                  <a:pt x="35757" y="514350"/>
                  <a:pt x="31947" y="514350"/>
                  <a:pt x="28137" y="512445"/>
                </a:cubicBezTo>
                <a:cubicBezTo>
                  <a:pt x="7182" y="506730"/>
                  <a:pt x="-4248" y="485775"/>
                  <a:pt x="1467" y="464820"/>
                </a:cubicBezTo>
                <a:lnTo>
                  <a:pt x="71952" y="228600"/>
                </a:lnTo>
                <a:cubicBezTo>
                  <a:pt x="73857" y="219075"/>
                  <a:pt x="79572" y="213360"/>
                  <a:pt x="87192" y="207645"/>
                </a:cubicBezTo>
                <a:cubicBezTo>
                  <a:pt x="110052" y="192405"/>
                  <a:pt x="136722" y="180975"/>
                  <a:pt x="167202" y="175260"/>
                </a:cubicBezTo>
                <a:cubicBezTo>
                  <a:pt x="182442" y="173355"/>
                  <a:pt x="195777" y="171450"/>
                  <a:pt x="211017" y="171450"/>
                </a:cubicBezTo>
                <a:close/>
                <a:moveTo>
                  <a:pt x="211017" y="0"/>
                </a:moveTo>
                <a:cubicBezTo>
                  <a:pt x="253101" y="0"/>
                  <a:pt x="287217" y="34116"/>
                  <a:pt x="287217" y="76200"/>
                </a:cubicBezTo>
                <a:cubicBezTo>
                  <a:pt x="287217" y="118284"/>
                  <a:pt x="253101" y="152400"/>
                  <a:pt x="211017" y="152400"/>
                </a:cubicBezTo>
                <a:cubicBezTo>
                  <a:pt x="168933" y="152400"/>
                  <a:pt x="134817" y="118284"/>
                  <a:pt x="134817" y="76200"/>
                </a:cubicBezTo>
                <a:cubicBezTo>
                  <a:pt x="134817" y="34116"/>
                  <a:pt x="168933" y="0"/>
                  <a:pt x="211017" y="0"/>
                </a:cubicBezTo>
                <a:close/>
              </a:path>
            </a:pathLst>
          </a:custGeom>
          <a:solidFill>
            <a:srgbClr val="C8CDD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8" name="任意多边形: 形状 57">
            <a:extLst>
              <a:ext uri="{FF2B5EF4-FFF2-40B4-BE49-F238E27FC236}">
                <a16:creationId xmlns:a16="http://schemas.microsoft.com/office/drawing/2014/main" id="{3928001F-30BD-4CF5-99C4-671E6B6DB625}"/>
              </a:ext>
            </a:extLst>
          </p:cNvPr>
          <p:cNvSpPr/>
          <p:nvPr/>
        </p:nvSpPr>
        <p:spPr>
          <a:xfrm>
            <a:off x="2705012" y="3200544"/>
            <a:ext cx="389427" cy="796555"/>
          </a:xfrm>
          <a:custGeom>
            <a:avLst/>
            <a:gdLst>
              <a:gd name="connsiteX0" fmla="*/ 209550 w 419100"/>
              <a:gd name="connsiteY0" fmla="*/ 171450 h 857250"/>
              <a:gd name="connsiteX1" fmla="*/ 272415 w 419100"/>
              <a:gd name="connsiteY1" fmla="*/ 179070 h 857250"/>
              <a:gd name="connsiteX2" fmla="*/ 352425 w 419100"/>
              <a:gd name="connsiteY2" fmla="*/ 220980 h 857250"/>
              <a:gd name="connsiteX3" fmla="*/ 363855 w 419100"/>
              <a:gd name="connsiteY3" fmla="*/ 241935 h 857250"/>
              <a:gd name="connsiteX4" fmla="*/ 417195 w 419100"/>
              <a:gd name="connsiteY4" fmla="*/ 468630 h 857250"/>
              <a:gd name="connsiteX5" fmla="*/ 419100 w 419100"/>
              <a:gd name="connsiteY5" fmla="*/ 478155 h 857250"/>
              <a:gd name="connsiteX6" fmla="*/ 381000 w 419100"/>
              <a:gd name="connsiteY6" fmla="*/ 516255 h 857250"/>
              <a:gd name="connsiteX7" fmla="*/ 344805 w 419100"/>
              <a:gd name="connsiteY7" fmla="*/ 487680 h 857250"/>
              <a:gd name="connsiteX8" fmla="*/ 304800 w 419100"/>
              <a:gd name="connsiteY8" fmla="*/ 321945 h 857250"/>
              <a:gd name="connsiteX9" fmla="*/ 304800 w 419100"/>
              <a:gd name="connsiteY9" fmla="*/ 857250 h 857250"/>
              <a:gd name="connsiteX10" fmla="*/ 228600 w 419100"/>
              <a:gd name="connsiteY10" fmla="*/ 857250 h 857250"/>
              <a:gd name="connsiteX11" fmla="*/ 228600 w 419100"/>
              <a:gd name="connsiteY11" fmla="*/ 514350 h 857250"/>
              <a:gd name="connsiteX12" fmla="*/ 190500 w 419100"/>
              <a:gd name="connsiteY12" fmla="*/ 514350 h 857250"/>
              <a:gd name="connsiteX13" fmla="*/ 190500 w 419100"/>
              <a:gd name="connsiteY13" fmla="*/ 857250 h 857250"/>
              <a:gd name="connsiteX14" fmla="*/ 114300 w 419100"/>
              <a:gd name="connsiteY14" fmla="*/ 857250 h 857250"/>
              <a:gd name="connsiteX15" fmla="*/ 114300 w 419100"/>
              <a:gd name="connsiteY15" fmla="*/ 323850 h 857250"/>
              <a:gd name="connsiteX16" fmla="*/ 74295 w 419100"/>
              <a:gd name="connsiteY16" fmla="*/ 489585 h 857250"/>
              <a:gd name="connsiteX17" fmla="*/ 38100 w 419100"/>
              <a:gd name="connsiteY17" fmla="*/ 518160 h 857250"/>
              <a:gd name="connsiteX18" fmla="*/ 0 w 419100"/>
              <a:gd name="connsiteY18" fmla="*/ 480060 h 857250"/>
              <a:gd name="connsiteX19" fmla="*/ 1905 w 419100"/>
              <a:gd name="connsiteY19" fmla="*/ 470535 h 857250"/>
              <a:gd name="connsiteX20" fmla="*/ 55245 w 419100"/>
              <a:gd name="connsiteY20" fmla="*/ 243840 h 857250"/>
              <a:gd name="connsiteX21" fmla="*/ 66675 w 419100"/>
              <a:gd name="connsiteY21" fmla="*/ 222885 h 857250"/>
              <a:gd name="connsiteX22" fmla="*/ 146685 w 419100"/>
              <a:gd name="connsiteY22" fmla="*/ 180975 h 857250"/>
              <a:gd name="connsiteX23" fmla="*/ 209550 w 419100"/>
              <a:gd name="connsiteY23" fmla="*/ 171450 h 857250"/>
              <a:gd name="connsiteX24" fmla="*/ 209550 w 419100"/>
              <a:gd name="connsiteY24" fmla="*/ 0 h 857250"/>
              <a:gd name="connsiteX25" fmla="*/ 285750 w 419100"/>
              <a:gd name="connsiteY25" fmla="*/ 76200 h 857250"/>
              <a:gd name="connsiteX26" fmla="*/ 209550 w 419100"/>
              <a:gd name="connsiteY26" fmla="*/ 152400 h 857250"/>
              <a:gd name="connsiteX27" fmla="*/ 133350 w 419100"/>
              <a:gd name="connsiteY27" fmla="*/ 76200 h 857250"/>
              <a:gd name="connsiteX28" fmla="*/ 209550 w 419100"/>
              <a:gd name="connsiteY28" fmla="*/ 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19100" h="857250">
                <a:moveTo>
                  <a:pt x="209550" y="171450"/>
                </a:moveTo>
                <a:cubicBezTo>
                  <a:pt x="230505" y="171450"/>
                  <a:pt x="251460" y="175260"/>
                  <a:pt x="272415" y="179070"/>
                </a:cubicBezTo>
                <a:cubicBezTo>
                  <a:pt x="302895" y="188595"/>
                  <a:pt x="329565" y="201930"/>
                  <a:pt x="352425" y="220980"/>
                </a:cubicBezTo>
                <a:cubicBezTo>
                  <a:pt x="358140" y="226695"/>
                  <a:pt x="361950" y="234315"/>
                  <a:pt x="363855" y="241935"/>
                </a:cubicBezTo>
                <a:lnTo>
                  <a:pt x="417195" y="468630"/>
                </a:lnTo>
                <a:cubicBezTo>
                  <a:pt x="417195" y="470535"/>
                  <a:pt x="419100" y="474345"/>
                  <a:pt x="419100" y="478155"/>
                </a:cubicBezTo>
                <a:cubicBezTo>
                  <a:pt x="419100" y="499110"/>
                  <a:pt x="401955" y="516255"/>
                  <a:pt x="381000" y="516255"/>
                </a:cubicBezTo>
                <a:cubicBezTo>
                  <a:pt x="363855" y="516255"/>
                  <a:pt x="348615" y="502920"/>
                  <a:pt x="344805" y="487680"/>
                </a:cubicBezTo>
                <a:lnTo>
                  <a:pt x="304800" y="321945"/>
                </a:lnTo>
                <a:lnTo>
                  <a:pt x="304800" y="857250"/>
                </a:lnTo>
                <a:lnTo>
                  <a:pt x="228600" y="857250"/>
                </a:lnTo>
                <a:lnTo>
                  <a:pt x="228600" y="514350"/>
                </a:lnTo>
                <a:lnTo>
                  <a:pt x="190500" y="514350"/>
                </a:lnTo>
                <a:lnTo>
                  <a:pt x="190500" y="857250"/>
                </a:lnTo>
                <a:lnTo>
                  <a:pt x="114300" y="857250"/>
                </a:lnTo>
                <a:lnTo>
                  <a:pt x="114300" y="323850"/>
                </a:lnTo>
                <a:lnTo>
                  <a:pt x="74295" y="489585"/>
                </a:lnTo>
                <a:cubicBezTo>
                  <a:pt x="70485" y="504825"/>
                  <a:pt x="55245" y="518160"/>
                  <a:pt x="38100" y="518160"/>
                </a:cubicBezTo>
                <a:cubicBezTo>
                  <a:pt x="17145" y="518160"/>
                  <a:pt x="0" y="501015"/>
                  <a:pt x="0" y="480060"/>
                </a:cubicBezTo>
                <a:cubicBezTo>
                  <a:pt x="0" y="476250"/>
                  <a:pt x="1905" y="472440"/>
                  <a:pt x="1905" y="470535"/>
                </a:cubicBezTo>
                <a:lnTo>
                  <a:pt x="55245" y="243840"/>
                </a:lnTo>
                <a:cubicBezTo>
                  <a:pt x="57150" y="236220"/>
                  <a:pt x="60960" y="228600"/>
                  <a:pt x="66675" y="222885"/>
                </a:cubicBezTo>
                <a:cubicBezTo>
                  <a:pt x="89535" y="203835"/>
                  <a:pt x="116205" y="188595"/>
                  <a:pt x="146685" y="180975"/>
                </a:cubicBezTo>
                <a:cubicBezTo>
                  <a:pt x="167640" y="175260"/>
                  <a:pt x="188595" y="171450"/>
                  <a:pt x="209550" y="171450"/>
                </a:cubicBezTo>
                <a:close/>
                <a:moveTo>
                  <a:pt x="209550" y="0"/>
                </a:moveTo>
                <a:cubicBezTo>
                  <a:pt x="251634" y="0"/>
                  <a:pt x="285750" y="34116"/>
                  <a:pt x="285750" y="76200"/>
                </a:cubicBezTo>
                <a:cubicBezTo>
                  <a:pt x="285750" y="118284"/>
                  <a:pt x="251634" y="152400"/>
                  <a:pt x="209550" y="152400"/>
                </a:cubicBezTo>
                <a:cubicBezTo>
                  <a:pt x="167466" y="152400"/>
                  <a:pt x="133350" y="118284"/>
                  <a:pt x="133350" y="76200"/>
                </a:cubicBezTo>
                <a:cubicBezTo>
                  <a:pt x="133350" y="34116"/>
                  <a:pt x="167466" y="0"/>
                  <a:pt x="209550" y="0"/>
                </a:cubicBezTo>
                <a:close/>
              </a:path>
            </a:pathLst>
          </a:custGeom>
          <a:solidFill>
            <a:srgbClr val="2AAD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59" name="任意多边形: 形状 58">
            <a:extLst>
              <a:ext uri="{FF2B5EF4-FFF2-40B4-BE49-F238E27FC236}">
                <a16:creationId xmlns:a16="http://schemas.microsoft.com/office/drawing/2014/main" id="{73F80FDF-62AD-47C5-90EA-6B9F134B487B}"/>
              </a:ext>
            </a:extLst>
          </p:cNvPr>
          <p:cNvSpPr/>
          <p:nvPr/>
        </p:nvSpPr>
        <p:spPr>
          <a:xfrm>
            <a:off x="3133335" y="3200544"/>
            <a:ext cx="389427" cy="796555"/>
          </a:xfrm>
          <a:custGeom>
            <a:avLst/>
            <a:gdLst>
              <a:gd name="connsiteX0" fmla="*/ 209550 w 419100"/>
              <a:gd name="connsiteY0" fmla="*/ 171450 h 857250"/>
              <a:gd name="connsiteX1" fmla="*/ 272415 w 419100"/>
              <a:gd name="connsiteY1" fmla="*/ 179070 h 857250"/>
              <a:gd name="connsiteX2" fmla="*/ 352425 w 419100"/>
              <a:gd name="connsiteY2" fmla="*/ 220980 h 857250"/>
              <a:gd name="connsiteX3" fmla="*/ 363855 w 419100"/>
              <a:gd name="connsiteY3" fmla="*/ 241935 h 857250"/>
              <a:gd name="connsiteX4" fmla="*/ 417195 w 419100"/>
              <a:gd name="connsiteY4" fmla="*/ 468630 h 857250"/>
              <a:gd name="connsiteX5" fmla="*/ 419100 w 419100"/>
              <a:gd name="connsiteY5" fmla="*/ 478155 h 857250"/>
              <a:gd name="connsiteX6" fmla="*/ 381000 w 419100"/>
              <a:gd name="connsiteY6" fmla="*/ 516255 h 857250"/>
              <a:gd name="connsiteX7" fmla="*/ 344805 w 419100"/>
              <a:gd name="connsiteY7" fmla="*/ 487680 h 857250"/>
              <a:gd name="connsiteX8" fmla="*/ 304800 w 419100"/>
              <a:gd name="connsiteY8" fmla="*/ 321945 h 857250"/>
              <a:gd name="connsiteX9" fmla="*/ 304800 w 419100"/>
              <a:gd name="connsiteY9" fmla="*/ 857250 h 857250"/>
              <a:gd name="connsiteX10" fmla="*/ 228600 w 419100"/>
              <a:gd name="connsiteY10" fmla="*/ 857250 h 857250"/>
              <a:gd name="connsiteX11" fmla="*/ 228600 w 419100"/>
              <a:gd name="connsiteY11" fmla="*/ 514350 h 857250"/>
              <a:gd name="connsiteX12" fmla="*/ 190500 w 419100"/>
              <a:gd name="connsiteY12" fmla="*/ 514350 h 857250"/>
              <a:gd name="connsiteX13" fmla="*/ 190500 w 419100"/>
              <a:gd name="connsiteY13" fmla="*/ 857250 h 857250"/>
              <a:gd name="connsiteX14" fmla="*/ 114300 w 419100"/>
              <a:gd name="connsiteY14" fmla="*/ 857250 h 857250"/>
              <a:gd name="connsiteX15" fmla="*/ 114300 w 419100"/>
              <a:gd name="connsiteY15" fmla="*/ 323850 h 857250"/>
              <a:gd name="connsiteX16" fmla="*/ 74295 w 419100"/>
              <a:gd name="connsiteY16" fmla="*/ 489585 h 857250"/>
              <a:gd name="connsiteX17" fmla="*/ 38100 w 419100"/>
              <a:gd name="connsiteY17" fmla="*/ 518160 h 857250"/>
              <a:gd name="connsiteX18" fmla="*/ 0 w 419100"/>
              <a:gd name="connsiteY18" fmla="*/ 480060 h 857250"/>
              <a:gd name="connsiteX19" fmla="*/ 1905 w 419100"/>
              <a:gd name="connsiteY19" fmla="*/ 470535 h 857250"/>
              <a:gd name="connsiteX20" fmla="*/ 55245 w 419100"/>
              <a:gd name="connsiteY20" fmla="*/ 243840 h 857250"/>
              <a:gd name="connsiteX21" fmla="*/ 66675 w 419100"/>
              <a:gd name="connsiteY21" fmla="*/ 222885 h 857250"/>
              <a:gd name="connsiteX22" fmla="*/ 146685 w 419100"/>
              <a:gd name="connsiteY22" fmla="*/ 180975 h 857250"/>
              <a:gd name="connsiteX23" fmla="*/ 209550 w 419100"/>
              <a:gd name="connsiteY23" fmla="*/ 171450 h 857250"/>
              <a:gd name="connsiteX24" fmla="*/ 209550 w 419100"/>
              <a:gd name="connsiteY24" fmla="*/ 0 h 857250"/>
              <a:gd name="connsiteX25" fmla="*/ 285750 w 419100"/>
              <a:gd name="connsiteY25" fmla="*/ 76200 h 857250"/>
              <a:gd name="connsiteX26" fmla="*/ 209550 w 419100"/>
              <a:gd name="connsiteY26" fmla="*/ 152400 h 857250"/>
              <a:gd name="connsiteX27" fmla="*/ 133350 w 419100"/>
              <a:gd name="connsiteY27" fmla="*/ 76200 h 857250"/>
              <a:gd name="connsiteX28" fmla="*/ 209550 w 419100"/>
              <a:gd name="connsiteY28" fmla="*/ 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19100" h="857250">
                <a:moveTo>
                  <a:pt x="209550" y="171450"/>
                </a:moveTo>
                <a:cubicBezTo>
                  <a:pt x="230505" y="171450"/>
                  <a:pt x="251460" y="175260"/>
                  <a:pt x="272415" y="179070"/>
                </a:cubicBezTo>
                <a:cubicBezTo>
                  <a:pt x="302895" y="188595"/>
                  <a:pt x="329565" y="201930"/>
                  <a:pt x="352425" y="220980"/>
                </a:cubicBezTo>
                <a:cubicBezTo>
                  <a:pt x="358140" y="226695"/>
                  <a:pt x="361950" y="234315"/>
                  <a:pt x="363855" y="241935"/>
                </a:cubicBezTo>
                <a:lnTo>
                  <a:pt x="417195" y="468630"/>
                </a:lnTo>
                <a:cubicBezTo>
                  <a:pt x="417195" y="470535"/>
                  <a:pt x="419100" y="474345"/>
                  <a:pt x="419100" y="478155"/>
                </a:cubicBezTo>
                <a:cubicBezTo>
                  <a:pt x="419100" y="499110"/>
                  <a:pt x="401955" y="516255"/>
                  <a:pt x="381000" y="516255"/>
                </a:cubicBezTo>
                <a:cubicBezTo>
                  <a:pt x="363855" y="516255"/>
                  <a:pt x="348615" y="502920"/>
                  <a:pt x="344805" y="487680"/>
                </a:cubicBezTo>
                <a:lnTo>
                  <a:pt x="304800" y="321945"/>
                </a:lnTo>
                <a:lnTo>
                  <a:pt x="304800" y="857250"/>
                </a:lnTo>
                <a:lnTo>
                  <a:pt x="228600" y="857250"/>
                </a:lnTo>
                <a:lnTo>
                  <a:pt x="228600" y="514350"/>
                </a:lnTo>
                <a:lnTo>
                  <a:pt x="190500" y="514350"/>
                </a:lnTo>
                <a:lnTo>
                  <a:pt x="190500" y="857250"/>
                </a:lnTo>
                <a:lnTo>
                  <a:pt x="114300" y="857250"/>
                </a:lnTo>
                <a:lnTo>
                  <a:pt x="114300" y="323850"/>
                </a:lnTo>
                <a:lnTo>
                  <a:pt x="74295" y="489585"/>
                </a:lnTo>
                <a:cubicBezTo>
                  <a:pt x="70485" y="504825"/>
                  <a:pt x="55245" y="518160"/>
                  <a:pt x="38100" y="518160"/>
                </a:cubicBezTo>
                <a:cubicBezTo>
                  <a:pt x="17145" y="518160"/>
                  <a:pt x="0" y="501015"/>
                  <a:pt x="0" y="480060"/>
                </a:cubicBezTo>
                <a:cubicBezTo>
                  <a:pt x="0" y="476250"/>
                  <a:pt x="1905" y="472440"/>
                  <a:pt x="1905" y="470535"/>
                </a:cubicBezTo>
                <a:lnTo>
                  <a:pt x="55245" y="243840"/>
                </a:lnTo>
                <a:cubicBezTo>
                  <a:pt x="57150" y="236220"/>
                  <a:pt x="60960" y="228600"/>
                  <a:pt x="66675" y="222885"/>
                </a:cubicBezTo>
                <a:cubicBezTo>
                  <a:pt x="89535" y="203835"/>
                  <a:pt x="116205" y="188595"/>
                  <a:pt x="146685" y="180975"/>
                </a:cubicBezTo>
                <a:cubicBezTo>
                  <a:pt x="167640" y="175260"/>
                  <a:pt x="188595" y="171450"/>
                  <a:pt x="209550" y="171450"/>
                </a:cubicBezTo>
                <a:close/>
                <a:moveTo>
                  <a:pt x="209550" y="0"/>
                </a:moveTo>
                <a:cubicBezTo>
                  <a:pt x="251634" y="0"/>
                  <a:pt x="285750" y="34116"/>
                  <a:pt x="285750" y="76200"/>
                </a:cubicBezTo>
                <a:cubicBezTo>
                  <a:pt x="285750" y="118284"/>
                  <a:pt x="251634" y="152400"/>
                  <a:pt x="209550" y="152400"/>
                </a:cubicBezTo>
                <a:cubicBezTo>
                  <a:pt x="167466" y="152400"/>
                  <a:pt x="133350" y="118284"/>
                  <a:pt x="133350" y="76200"/>
                </a:cubicBezTo>
                <a:cubicBezTo>
                  <a:pt x="133350" y="34116"/>
                  <a:pt x="167466" y="0"/>
                  <a:pt x="209550" y="0"/>
                </a:cubicBezTo>
                <a:close/>
              </a:path>
            </a:pathLst>
          </a:custGeom>
          <a:solidFill>
            <a:srgbClr val="2AAD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60" name="任意多边形: 形状 59">
            <a:extLst>
              <a:ext uri="{FF2B5EF4-FFF2-40B4-BE49-F238E27FC236}">
                <a16:creationId xmlns:a16="http://schemas.microsoft.com/office/drawing/2014/main" id="{EC12472F-AF59-4E9D-8F0F-8FD766FFB748}"/>
              </a:ext>
            </a:extLst>
          </p:cNvPr>
          <p:cNvSpPr/>
          <p:nvPr/>
        </p:nvSpPr>
        <p:spPr>
          <a:xfrm>
            <a:off x="3561658" y="3200544"/>
            <a:ext cx="389427" cy="796555"/>
          </a:xfrm>
          <a:custGeom>
            <a:avLst/>
            <a:gdLst>
              <a:gd name="connsiteX0" fmla="*/ 209550 w 419100"/>
              <a:gd name="connsiteY0" fmla="*/ 171450 h 857250"/>
              <a:gd name="connsiteX1" fmla="*/ 272415 w 419100"/>
              <a:gd name="connsiteY1" fmla="*/ 179070 h 857250"/>
              <a:gd name="connsiteX2" fmla="*/ 352425 w 419100"/>
              <a:gd name="connsiteY2" fmla="*/ 220980 h 857250"/>
              <a:gd name="connsiteX3" fmla="*/ 363855 w 419100"/>
              <a:gd name="connsiteY3" fmla="*/ 241935 h 857250"/>
              <a:gd name="connsiteX4" fmla="*/ 417195 w 419100"/>
              <a:gd name="connsiteY4" fmla="*/ 468630 h 857250"/>
              <a:gd name="connsiteX5" fmla="*/ 419100 w 419100"/>
              <a:gd name="connsiteY5" fmla="*/ 478155 h 857250"/>
              <a:gd name="connsiteX6" fmla="*/ 381000 w 419100"/>
              <a:gd name="connsiteY6" fmla="*/ 516255 h 857250"/>
              <a:gd name="connsiteX7" fmla="*/ 344805 w 419100"/>
              <a:gd name="connsiteY7" fmla="*/ 487680 h 857250"/>
              <a:gd name="connsiteX8" fmla="*/ 304800 w 419100"/>
              <a:gd name="connsiteY8" fmla="*/ 321945 h 857250"/>
              <a:gd name="connsiteX9" fmla="*/ 304800 w 419100"/>
              <a:gd name="connsiteY9" fmla="*/ 857250 h 857250"/>
              <a:gd name="connsiteX10" fmla="*/ 228600 w 419100"/>
              <a:gd name="connsiteY10" fmla="*/ 857250 h 857250"/>
              <a:gd name="connsiteX11" fmla="*/ 228600 w 419100"/>
              <a:gd name="connsiteY11" fmla="*/ 514350 h 857250"/>
              <a:gd name="connsiteX12" fmla="*/ 190500 w 419100"/>
              <a:gd name="connsiteY12" fmla="*/ 514350 h 857250"/>
              <a:gd name="connsiteX13" fmla="*/ 190500 w 419100"/>
              <a:gd name="connsiteY13" fmla="*/ 857250 h 857250"/>
              <a:gd name="connsiteX14" fmla="*/ 114300 w 419100"/>
              <a:gd name="connsiteY14" fmla="*/ 857250 h 857250"/>
              <a:gd name="connsiteX15" fmla="*/ 114300 w 419100"/>
              <a:gd name="connsiteY15" fmla="*/ 323850 h 857250"/>
              <a:gd name="connsiteX16" fmla="*/ 74295 w 419100"/>
              <a:gd name="connsiteY16" fmla="*/ 489585 h 857250"/>
              <a:gd name="connsiteX17" fmla="*/ 38100 w 419100"/>
              <a:gd name="connsiteY17" fmla="*/ 518160 h 857250"/>
              <a:gd name="connsiteX18" fmla="*/ 0 w 419100"/>
              <a:gd name="connsiteY18" fmla="*/ 480060 h 857250"/>
              <a:gd name="connsiteX19" fmla="*/ 1905 w 419100"/>
              <a:gd name="connsiteY19" fmla="*/ 470535 h 857250"/>
              <a:gd name="connsiteX20" fmla="*/ 55245 w 419100"/>
              <a:gd name="connsiteY20" fmla="*/ 243840 h 857250"/>
              <a:gd name="connsiteX21" fmla="*/ 66675 w 419100"/>
              <a:gd name="connsiteY21" fmla="*/ 222885 h 857250"/>
              <a:gd name="connsiteX22" fmla="*/ 146685 w 419100"/>
              <a:gd name="connsiteY22" fmla="*/ 180975 h 857250"/>
              <a:gd name="connsiteX23" fmla="*/ 209550 w 419100"/>
              <a:gd name="connsiteY23" fmla="*/ 171450 h 857250"/>
              <a:gd name="connsiteX24" fmla="*/ 209550 w 419100"/>
              <a:gd name="connsiteY24" fmla="*/ 0 h 857250"/>
              <a:gd name="connsiteX25" fmla="*/ 285750 w 419100"/>
              <a:gd name="connsiteY25" fmla="*/ 76200 h 857250"/>
              <a:gd name="connsiteX26" fmla="*/ 209550 w 419100"/>
              <a:gd name="connsiteY26" fmla="*/ 152400 h 857250"/>
              <a:gd name="connsiteX27" fmla="*/ 133350 w 419100"/>
              <a:gd name="connsiteY27" fmla="*/ 76200 h 857250"/>
              <a:gd name="connsiteX28" fmla="*/ 209550 w 419100"/>
              <a:gd name="connsiteY28" fmla="*/ 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19100" h="857250">
                <a:moveTo>
                  <a:pt x="209550" y="171450"/>
                </a:moveTo>
                <a:cubicBezTo>
                  <a:pt x="230505" y="171450"/>
                  <a:pt x="251460" y="175260"/>
                  <a:pt x="272415" y="179070"/>
                </a:cubicBezTo>
                <a:cubicBezTo>
                  <a:pt x="302895" y="188595"/>
                  <a:pt x="329565" y="201930"/>
                  <a:pt x="352425" y="220980"/>
                </a:cubicBezTo>
                <a:cubicBezTo>
                  <a:pt x="358140" y="226695"/>
                  <a:pt x="361950" y="234315"/>
                  <a:pt x="363855" y="241935"/>
                </a:cubicBezTo>
                <a:lnTo>
                  <a:pt x="417195" y="468630"/>
                </a:lnTo>
                <a:cubicBezTo>
                  <a:pt x="417195" y="470535"/>
                  <a:pt x="419100" y="474345"/>
                  <a:pt x="419100" y="478155"/>
                </a:cubicBezTo>
                <a:cubicBezTo>
                  <a:pt x="419100" y="499110"/>
                  <a:pt x="401955" y="516255"/>
                  <a:pt x="381000" y="516255"/>
                </a:cubicBezTo>
                <a:cubicBezTo>
                  <a:pt x="363855" y="516255"/>
                  <a:pt x="348615" y="502920"/>
                  <a:pt x="344805" y="487680"/>
                </a:cubicBezTo>
                <a:lnTo>
                  <a:pt x="304800" y="321945"/>
                </a:lnTo>
                <a:lnTo>
                  <a:pt x="304800" y="857250"/>
                </a:lnTo>
                <a:lnTo>
                  <a:pt x="228600" y="857250"/>
                </a:lnTo>
                <a:lnTo>
                  <a:pt x="228600" y="514350"/>
                </a:lnTo>
                <a:lnTo>
                  <a:pt x="190500" y="514350"/>
                </a:lnTo>
                <a:lnTo>
                  <a:pt x="190500" y="857250"/>
                </a:lnTo>
                <a:lnTo>
                  <a:pt x="114300" y="857250"/>
                </a:lnTo>
                <a:lnTo>
                  <a:pt x="114300" y="323850"/>
                </a:lnTo>
                <a:lnTo>
                  <a:pt x="74295" y="489585"/>
                </a:lnTo>
                <a:cubicBezTo>
                  <a:pt x="70485" y="504825"/>
                  <a:pt x="55245" y="518160"/>
                  <a:pt x="38100" y="518160"/>
                </a:cubicBezTo>
                <a:cubicBezTo>
                  <a:pt x="17145" y="518160"/>
                  <a:pt x="0" y="501015"/>
                  <a:pt x="0" y="480060"/>
                </a:cubicBezTo>
                <a:cubicBezTo>
                  <a:pt x="0" y="476250"/>
                  <a:pt x="1905" y="472440"/>
                  <a:pt x="1905" y="470535"/>
                </a:cubicBezTo>
                <a:lnTo>
                  <a:pt x="55245" y="243840"/>
                </a:lnTo>
                <a:cubicBezTo>
                  <a:pt x="57150" y="236220"/>
                  <a:pt x="60960" y="228600"/>
                  <a:pt x="66675" y="222885"/>
                </a:cubicBezTo>
                <a:cubicBezTo>
                  <a:pt x="89535" y="203835"/>
                  <a:pt x="116205" y="188595"/>
                  <a:pt x="146685" y="180975"/>
                </a:cubicBezTo>
                <a:cubicBezTo>
                  <a:pt x="167640" y="175260"/>
                  <a:pt x="188595" y="171450"/>
                  <a:pt x="209550" y="171450"/>
                </a:cubicBezTo>
                <a:close/>
                <a:moveTo>
                  <a:pt x="209550" y="0"/>
                </a:moveTo>
                <a:cubicBezTo>
                  <a:pt x="251634" y="0"/>
                  <a:pt x="285750" y="34116"/>
                  <a:pt x="285750" y="76200"/>
                </a:cubicBezTo>
                <a:cubicBezTo>
                  <a:pt x="285750" y="118284"/>
                  <a:pt x="251634" y="152400"/>
                  <a:pt x="209550" y="152400"/>
                </a:cubicBezTo>
                <a:cubicBezTo>
                  <a:pt x="167466" y="152400"/>
                  <a:pt x="133350" y="118284"/>
                  <a:pt x="133350" y="76200"/>
                </a:cubicBezTo>
                <a:cubicBezTo>
                  <a:pt x="133350" y="34116"/>
                  <a:pt x="167466" y="0"/>
                  <a:pt x="209550" y="0"/>
                </a:cubicBezTo>
                <a:close/>
              </a:path>
            </a:pathLst>
          </a:custGeom>
          <a:solidFill>
            <a:srgbClr val="2AAD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61" name="任意多边形: 形状 60">
            <a:extLst>
              <a:ext uri="{FF2B5EF4-FFF2-40B4-BE49-F238E27FC236}">
                <a16:creationId xmlns:a16="http://schemas.microsoft.com/office/drawing/2014/main" id="{905EFBC7-6CEB-4FC4-836A-90591FE65BF4}"/>
              </a:ext>
            </a:extLst>
          </p:cNvPr>
          <p:cNvSpPr/>
          <p:nvPr/>
        </p:nvSpPr>
        <p:spPr>
          <a:xfrm>
            <a:off x="3989981" y="3200544"/>
            <a:ext cx="389427" cy="796555"/>
          </a:xfrm>
          <a:custGeom>
            <a:avLst/>
            <a:gdLst>
              <a:gd name="connsiteX0" fmla="*/ 209550 w 419100"/>
              <a:gd name="connsiteY0" fmla="*/ 171450 h 857250"/>
              <a:gd name="connsiteX1" fmla="*/ 272415 w 419100"/>
              <a:gd name="connsiteY1" fmla="*/ 179070 h 857250"/>
              <a:gd name="connsiteX2" fmla="*/ 352425 w 419100"/>
              <a:gd name="connsiteY2" fmla="*/ 220980 h 857250"/>
              <a:gd name="connsiteX3" fmla="*/ 363855 w 419100"/>
              <a:gd name="connsiteY3" fmla="*/ 241935 h 857250"/>
              <a:gd name="connsiteX4" fmla="*/ 417195 w 419100"/>
              <a:gd name="connsiteY4" fmla="*/ 468630 h 857250"/>
              <a:gd name="connsiteX5" fmla="*/ 419100 w 419100"/>
              <a:gd name="connsiteY5" fmla="*/ 478155 h 857250"/>
              <a:gd name="connsiteX6" fmla="*/ 381000 w 419100"/>
              <a:gd name="connsiteY6" fmla="*/ 516255 h 857250"/>
              <a:gd name="connsiteX7" fmla="*/ 344805 w 419100"/>
              <a:gd name="connsiteY7" fmla="*/ 487680 h 857250"/>
              <a:gd name="connsiteX8" fmla="*/ 304800 w 419100"/>
              <a:gd name="connsiteY8" fmla="*/ 321945 h 857250"/>
              <a:gd name="connsiteX9" fmla="*/ 304800 w 419100"/>
              <a:gd name="connsiteY9" fmla="*/ 857250 h 857250"/>
              <a:gd name="connsiteX10" fmla="*/ 228600 w 419100"/>
              <a:gd name="connsiteY10" fmla="*/ 857250 h 857250"/>
              <a:gd name="connsiteX11" fmla="*/ 228600 w 419100"/>
              <a:gd name="connsiteY11" fmla="*/ 514350 h 857250"/>
              <a:gd name="connsiteX12" fmla="*/ 190500 w 419100"/>
              <a:gd name="connsiteY12" fmla="*/ 514350 h 857250"/>
              <a:gd name="connsiteX13" fmla="*/ 190500 w 419100"/>
              <a:gd name="connsiteY13" fmla="*/ 857250 h 857250"/>
              <a:gd name="connsiteX14" fmla="*/ 114300 w 419100"/>
              <a:gd name="connsiteY14" fmla="*/ 857250 h 857250"/>
              <a:gd name="connsiteX15" fmla="*/ 114300 w 419100"/>
              <a:gd name="connsiteY15" fmla="*/ 323850 h 857250"/>
              <a:gd name="connsiteX16" fmla="*/ 74295 w 419100"/>
              <a:gd name="connsiteY16" fmla="*/ 489585 h 857250"/>
              <a:gd name="connsiteX17" fmla="*/ 38100 w 419100"/>
              <a:gd name="connsiteY17" fmla="*/ 518160 h 857250"/>
              <a:gd name="connsiteX18" fmla="*/ 0 w 419100"/>
              <a:gd name="connsiteY18" fmla="*/ 480060 h 857250"/>
              <a:gd name="connsiteX19" fmla="*/ 1905 w 419100"/>
              <a:gd name="connsiteY19" fmla="*/ 470535 h 857250"/>
              <a:gd name="connsiteX20" fmla="*/ 55245 w 419100"/>
              <a:gd name="connsiteY20" fmla="*/ 243840 h 857250"/>
              <a:gd name="connsiteX21" fmla="*/ 66675 w 419100"/>
              <a:gd name="connsiteY21" fmla="*/ 222885 h 857250"/>
              <a:gd name="connsiteX22" fmla="*/ 146685 w 419100"/>
              <a:gd name="connsiteY22" fmla="*/ 180975 h 857250"/>
              <a:gd name="connsiteX23" fmla="*/ 209550 w 419100"/>
              <a:gd name="connsiteY23" fmla="*/ 171450 h 857250"/>
              <a:gd name="connsiteX24" fmla="*/ 209550 w 419100"/>
              <a:gd name="connsiteY24" fmla="*/ 0 h 857250"/>
              <a:gd name="connsiteX25" fmla="*/ 285750 w 419100"/>
              <a:gd name="connsiteY25" fmla="*/ 76200 h 857250"/>
              <a:gd name="connsiteX26" fmla="*/ 209550 w 419100"/>
              <a:gd name="connsiteY26" fmla="*/ 152400 h 857250"/>
              <a:gd name="connsiteX27" fmla="*/ 133350 w 419100"/>
              <a:gd name="connsiteY27" fmla="*/ 76200 h 857250"/>
              <a:gd name="connsiteX28" fmla="*/ 209550 w 419100"/>
              <a:gd name="connsiteY28" fmla="*/ 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19100" h="857250">
                <a:moveTo>
                  <a:pt x="209550" y="171450"/>
                </a:moveTo>
                <a:cubicBezTo>
                  <a:pt x="230505" y="171450"/>
                  <a:pt x="251460" y="175260"/>
                  <a:pt x="272415" y="179070"/>
                </a:cubicBezTo>
                <a:cubicBezTo>
                  <a:pt x="302895" y="188595"/>
                  <a:pt x="329565" y="201930"/>
                  <a:pt x="352425" y="220980"/>
                </a:cubicBezTo>
                <a:cubicBezTo>
                  <a:pt x="358140" y="226695"/>
                  <a:pt x="361950" y="234315"/>
                  <a:pt x="363855" y="241935"/>
                </a:cubicBezTo>
                <a:lnTo>
                  <a:pt x="417195" y="468630"/>
                </a:lnTo>
                <a:cubicBezTo>
                  <a:pt x="417195" y="470535"/>
                  <a:pt x="419100" y="474345"/>
                  <a:pt x="419100" y="478155"/>
                </a:cubicBezTo>
                <a:cubicBezTo>
                  <a:pt x="419100" y="499110"/>
                  <a:pt x="401955" y="516255"/>
                  <a:pt x="381000" y="516255"/>
                </a:cubicBezTo>
                <a:cubicBezTo>
                  <a:pt x="363855" y="516255"/>
                  <a:pt x="348615" y="502920"/>
                  <a:pt x="344805" y="487680"/>
                </a:cubicBezTo>
                <a:lnTo>
                  <a:pt x="304800" y="321945"/>
                </a:lnTo>
                <a:lnTo>
                  <a:pt x="304800" y="857250"/>
                </a:lnTo>
                <a:lnTo>
                  <a:pt x="228600" y="857250"/>
                </a:lnTo>
                <a:lnTo>
                  <a:pt x="228600" y="514350"/>
                </a:lnTo>
                <a:lnTo>
                  <a:pt x="190500" y="514350"/>
                </a:lnTo>
                <a:lnTo>
                  <a:pt x="190500" y="857250"/>
                </a:lnTo>
                <a:lnTo>
                  <a:pt x="114300" y="857250"/>
                </a:lnTo>
                <a:lnTo>
                  <a:pt x="114300" y="323850"/>
                </a:lnTo>
                <a:lnTo>
                  <a:pt x="74295" y="489585"/>
                </a:lnTo>
                <a:cubicBezTo>
                  <a:pt x="70485" y="504825"/>
                  <a:pt x="55245" y="518160"/>
                  <a:pt x="38100" y="518160"/>
                </a:cubicBezTo>
                <a:cubicBezTo>
                  <a:pt x="17145" y="518160"/>
                  <a:pt x="0" y="501015"/>
                  <a:pt x="0" y="480060"/>
                </a:cubicBezTo>
                <a:cubicBezTo>
                  <a:pt x="0" y="476250"/>
                  <a:pt x="1905" y="472440"/>
                  <a:pt x="1905" y="470535"/>
                </a:cubicBezTo>
                <a:lnTo>
                  <a:pt x="55245" y="243840"/>
                </a:lnTo>
                <a:cubicBezTo>
                  <a:pt x="57150" y="236220"/>
                  <a:pt x="60960" y="228600"/>
                  <a:pt x="66675" y="222885"/>
                </a:cubicBezTo>
                <a:cubicBezTo>
                  <a:pt x="89535" y="203835"/>
                  <a:pt x="116205" y="188595"/>
                  <a:pt x="146685" y="180975"/>
                </a:cubicBezTo>
                <a:cubicBezTo>
                  <a:pt x="167640" y="175260"/>
                  <a:pt x="188595" y="171450"/>
                  <a:pt x="209550" y="171450"/>
                </a:cubicBezTo>
                <a:close/>
                <a:moveTo>
                  <a:pt x="209550" y="0"/>
                </a:moveTo>
                <a:cubicBezTo>
                  <a:pt x="251634" y="0"/>
                  <a:pt x="285750" y="34116"/>
                  <a:pt x="285750" y="76200"/>
                </a:cubicBezTo>
                <a:cubicBezTo>
                  <a:pt x="285750" y="118284"/>
                  <a:pt x="251634" y="152400"/>
                  <a:pt x="209550" y="152400"/>
                </a:cubicBezTo>
                <a:cubicBezTo>
                  <a:pt x="167466" y="152400"/>
                  <a:pt x="133350" y="118284"/>
                  <a:pt x="133350" y="76200"/>
                </a:cubicBezTo>
                <a:cubicBezTo>
                  <a:pt x="133350" y="34116"/>
                  <a:pt x="167466" y="0"/>
                  <a:pt x="209550" y="0"/>
                </a:cubicBezTo>
                <a:close/>
              </a:path>
            </a:pathLst>
          </a:custGeom>
          <a:solidFill>
            <a:srgbClr val="2AAD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62" name="任意多边形: 形状 61">
            <a:extLst>
              <a:ext uri="{FF2B5EF4-FFF2-40B4-BE49-F238E27FC236}">
                <a16:creationId xmlns:a16="http://schemas.microsoft.com/office/drawing/2014/main" id="{3D298A22-E53A-476C-9729-EF806C7BCACB}"/>
              </a:ext>
            </a:extLst>
          </p:cNvPr>
          <p:cNvSpPr/>
          <p:nvPr/>
        </p:nvSpPr>
        <p:spPr>
          <a:xfrm>
            <a:off x="4418304" y="3200544"/>
            <a:ext cx="389427" cy="796555"/>
          </a:xfrm>
          <a:custGeom>
            <a:avLst/>
            <a:gdLst>
              <a:gd name="connsiteX0" fmla="*/ 209550 w 419100"/>
              <a:gd name="connsiteY0" fmla="*/ 171450 h 857250"/>
              <a:gd name="connsiteX1" fmla="*/ 272415 w 419100"/>
              <a:gd name="connsiteY1" fmla="*/ 179070 h 857250"/>
              <a:gd name="connsiteX2" fmla="*/ 352425 w 419100"/>
              <a:gd name="connsiteY2" fmla="*/ 220980 h 857250"/>
              <a:gd name="connsiteX3" fmla="*/ 363855 w 419100"/>
              <a:gd name="connsiteY3" fmla="*/ 241935 h 857250"/>
              <a:gd name="connsiteX4" fmla="*/ 417195 w 419100"/>
              <a:gd name="connsiteY4" fmla="*/ 468630 h 857250"/>
              <a:gd name="connsiteX5" fmla="*/ 419100 w 419100"/>
              <a:gd name="connsiteY5" fmla="*/ 478155 h 857250"/>
              <a:gd name="connsiteX6" fmla="*/ 381000 w 419100"/>
              <a:gd name="connsiteY6" fmla="*/ 516255 h 857250"/>
              <a:gd name="connsiteX7" fmla="*/ 344805 w 419100"/>
              <a:gd name="connsiteY7" fmla="*/ 487680 h 857250"/>
              <a:gd name="connsiteX8" fmla="*/ 304800 w 419100"/>
              <a:gd name="connsiteY8" fmla="*/ 321945 h 857250"/>
              <a:gd name="connsiteX9" fmla="*/ 304800 w 419100"/>
              <a:gd name="connsiteY9" fmla="*/ 857250 h 857250"/>
              <a:gd name="connsiteX10" fmla="*/ 228600 w 419100"/>
              <a:gd name="connsiteY10" fmla="*/ 857250 h 857250"/>
              <a:gd name="connsiteX11" fmla="*/ 228600 w 419100"/>
              <a:gd name="connsiteY11" fmla="*/ 514350 h 857250"/>
              <a:gd name="connsiteX12" fmla="*/ 190500 w 419100"/>
              <a:gd name="connsiteY12" fmla="*/ 514350 h 857250"/>
              <a:gd name="connsiteX13" fmla="*/ 190500 w 419100"/>
              <a:gd name="connsiteY13" fmla="*/ 857250 h 857250"/>
              <a:gd name="connsiteX14" fmla="*/ 114300 w 419100"/>
              <a:gd name="connsiteY14" fmla="*/ 857250 h 857250"/>
              <a:gd name="connsiteX15" fmla="*/ 114300 w 419100"/>
              <a:gd name="connsiteY15" fmla="*/ 323850 h 857250"/>
              <a:gd name="connsiteX16" fmla="*/ 74295 w 419100"/>
              <a:gd name="connsiteY16" fmla="*/ 489585 h 857250"/>
              <a:gd name="connsiteX17" fmla="*/ 38100 w 419100"/>
              <a:gd name="connsiteY17" fmla="*/ 518160 h 857250"/>
              <a:gd name="connsiteX18" fmla="*/ 0 w 419100"/>
              <a:gd name="connsiteY18" fmla="*/ 480060 h 857250"/>
              <a:gd name="connsiteX19" fmla="*/ 1905 w 419100"/>
              <a:gd name="connsiteY19" fmla="*/ 470535 h 857250"/>
              <a:gd name="connsiteX20" fmla="*/ 55245 w 419100"/>
              <a:gd name="connsiteY20" fmla="*/ 243840 h 857250"/>
              <a:gd name="connsiteX21" fmla="*/ 66675 w 419100"/>
              <a:gd name="connsiteY21" fmla="*/ 222885 h 857250"/>
              <a:gd name="connsiteX22" fmla="*/ 146685 w 419100"/>
              <a:gd name="connsiteY22" fmla="*/ 180975 h 857250"/>
              <a:gd name="connsiteX23" fmla="*/ 209550 w 419100"/>
              <a:gd name="connsiteY23" fmla="*/ 171450 h 857250"/>
              <a:gd name="connsiteX24" fmla="*/ 209550 w 419100"/>
              <a:gd name="connsiteY24" fmla="*/ 0 h 857250"/>
              <a:gd name="connsiteX25" fmla="*/ 285750 w 419100"/>
              <a:gd name="connsiteY25" fmla="*/ 76200 h 857250"/>
              <a:gd name="connsiteX26" fmla="*/ 209550 w 419100"/>
              <a:gd name="connsiteY26" fmla="*/ 152400 h 857250"/>
              <a:gd name="connsiteX27" fmla="*/ 133350 w 419100"/>
              <a:gd name="connsiteY27" fmla="*/ 76200 h 857250"/>
              <a:gd name="connsiteX28" fmla="*/ 209550 w 419100"/>
              <a:gd name="connsiteY28" fmla="*/ 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19100" h="857250">
                <a:moveTo>
                  <a:pt x="209550" y="171450"/>
                </a:moveTo>
                <a:cubicBezTo>
                  <a:pt x="230505" y="171450"/>
                  <a:pt x="251460" y="175260"/>
                  <a:pt x="272415" y="179070"/>
                </a:cubicBezTo>
                <a:cubicBezTo>
                  <a:pt x="302895" y="188595"/>
                  <a:pt x="329565" y="201930"/>
                  <a:pt x="352425" y="220980"/>
                </a:cubicBezTo>
                <a:cubicBezTo>
                  <a:pt x="358140" y="226695"/>
                  <a:pt x="361950" y="234315"/>
                  <a:pt x="363855" y="241935"/>
                </a:cubicBezTo>
                <a:lnTo>
                  <a:pt x="417195" y="468630"/>
                </a:lnTo>
                <a:cubicBezTo>
                  <a:pt x="417195" y="470535"/>
                  <a:pt x="419100" y="474345"/>
                  <a:pt x="419100" y="478155"/>
                </a:cubicBezTo>
                <a:cubicBezTo>
                  <a:pt x="419100" y="499110"/>
                  <a:pt x="401955" y="516255"/>
                  <a:pt x="381000" y="516255"/>
                </a:cubicBezTo>
                <a:cubicBezTo>
                  <a:pt x="363855" y="516255"/>
                  <a:pt x="348615" y="502920"/>
                  <a:pt x="344805" y="487680"/>
                </a:cubicBezTo>
                <a:lnTo>
                  <a:pt x="304800" y="321945"/>
                </a:lnTo>
                <a:lnTo>
                  <a:pt x="304800" y="857250"/>
                </a:lnTo>
                <a:lnTo>
                  <a:pt x="228600" y="857250"/>
                </a:lnTo>
                <a:lnTo>
                  <a:pt x="228600" y="514350"/>
                </a:lnTo>
                <a:lnTo>
                  <a:pt x="190500" y="514350"/>
                </a:lnTo>
                <a:lnTo>
                  <a:pt x="190500" y="857250"/>
                </a:lnTo>
                <a:lnTo>
                  <a:pt x="114300" y="857250"/>
                </a:lnTo>
                <a:lnTo>
                  <a:pt x="114300" y="323850"/>
                </a:lnTo>
                <a:lnTo>
                  <a:pt x="74295" y="489585"/>
                </a:lnTo>
                <a:cubicBezTo>
                  <a:pt x="70485" y="504825"/>
                  <a:pt x="55245" y="518160"/>
                  <a:pt x="38100" y="518160"/>
                </a:cubicBezTo>
                <a:cubicBezTo>
                  <a:pt x="17145" y="518160"/>
                  <a:pt x="0" y="501015"/>
                  <a:pt x="0" y="480060"/>
                </a:cubicBezTo>
                <a:cubicBezTo>
                  <a:pt x="0" y="476250"/>
                  <a:pt x="1905" y="472440"/>
                  <a:pt x="1905" y="470535"/>
                </a:cubicBezTo>
                <a:lnTo>
                  <a:pt x="55245" y="243840"/>
                </a:lnTo>
                <a:cubicBezTo>
                  <a:pt x="57150" y="236220"/>
                  <a:pt x="60960" y="228600"/>
                  <a:pt x="66675" y="222885"/>
                </a:cubicBezTo>
                <a:cubicBezTo>
                  <a:pt x="89535" y="203835"/>
                  <a:pt x="116205" y="188595"/>
                  <a:pt x="146685" y="180975"/>
                </a:cubicBezTo>
                <a:cubicBezTo>
                  <a:pt x="167640" y="175260"/>
                  <a:pt x="188595" y="171450"/>
                  <a:pt x="209550" y="171450"/>
                </a:cubicBezTo>
                <a:close/>
                <a:moveTo>
                  <a:pt x="209550" y="0"/>
                </a:moveTo>
                <a:cubicBezTo>
                  <a:pt x="251634" y="0"/>
                  <a:pt x="285750" y="34116"/>
                  <a:pt x="285750" y="76200"/>
                </a:cubicBezTo>
                <a:cubicBezTo>
                  <a:pt x="285750" y="118284"/>
                  <a:pt x="251634" y="152400"/>
                  <a:pt x="209550" y="152400"/>
                </a:cubicBezTo>
                <a:cubicBezTo>
                  <a:pt x="167466" y="152400"/>
                  <a:pt x="133350" y="118284"/>
                  <a:pt x="133350" y="76200"/>
                </a:cubicBezTo>
                <a:cubicBezTo>
                  <a:pt x="133350" y="34116"/>
                  <a:pt x="167466" y="0"/>
                  <a:pt x="209550" y="0"/>
                </a:cubicBezTo>
                <a:close/>
              </a:path>
            </a:pathLst>
          </a:custGeom>
          <a:solidFill>
            <a:srgbClr val="2AAD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63" name="任意多边形: 形状 62">
            <a:extLst>
              <a:ext uri="{FF2B5EF4-FFF2-40B4-BE49-F238E27FC236}">
                <a16:creationId xmlns:a16="http://schemas.microsoft.com/office/drawing/2014/main" id="{16C0DC4A-2762-46F6-AE60-716B5942A06C}"/>
              </a:ext>
            </a:extLst>
          </p:cNvPr>
          <p:cNvSpPr/>
          <p:nvPr/>
        </p:nvSpPr>
        <p:spPr>
          <a:xfrm>
            <a:off x="4846627" y="3200544"/>
            <a:ext cx="389427" cy="796555"/>
          </a:xfrm>
          <a:custGeom>
            <a:avLst/>
            <a:gdLst>
              <a:gd name="connsiteX0" fmla="*/ 209550 w 419100"/>
              <a:gd name="connsiteY0" fmla="*/ 171450 h 857250"/>
              <a:gd name="connsiteX1" fmla="*/ 272415 w 419100"/>
              <a:gd name="connsiteY1" fmla="*/ 179070 h 857250"/>
              <a:gd name="connsiteX2" fmla="*/ 352425 w 419100"/>
              <a:gd name="connsiteY2" fmla="*/ 220980 h 857250"/>
              <a:gd name="connsiteX3" fmla="*/ 363855 w 419100"/>
              <a:gd name="connsiteY3" fmla="*/ 241935 h 857250"/>
              <a:gd name="connsiteX4" fmla="*/ 417195 w 419100"/>
              <a:gd name="connsiteY4" fmla="*/ 468630 h 857250"/>
              <a:gd name="connsiteX5" fmla="*/ 419100 w 419100"/>
              <a:gd name="connsiteY5" fmla="*/ 478155 h 857250"/>
              <a:gd name="connsiteX6" fmla="*/ 381000 w 419100"/>
              <a:gd name="connsiteY6" fmla="*/ 516255 h 857250"/>
              <a:gd name="connsiteX7" fmla="*/ 344805 w 419100"/>
              <a:gd name="connsiteY7" fmla="*/ 487680 h 857250"/>
              <a:gd name="connsiteX8" fmla="*/ 304800 w 419100"/>
              <a:gd name="connsiteY8" fmla="*/ 321945 h 857250"/>
              <a:gd name="connsiteX9" fmla="*/ 304800 w 419100"/>
              <a:gd name="connsiteY9" fmla="*/ 857250 h 857250"/>
              <a:gd name="connsiteX10" fmla="*/ 228600 w 419100"/>
              <a:gd name="connsiteY10" fmla="*/ 857250 h 857250"/>
              <a:gd name="connsiteX11" fmla="*/ 228600 w 419100"/>
              <a:gd name="connsiteY11" fmla="*/ 514350 h 857250"/>
              <a:gd name="connsiteX12" fmla="*/ 190500 w 419100"/>
              <a:gd name="connsiteY12" fmla="*/ 514350 h 857250"/>
              <a:gd name="connsiteX13" fmla="*/ 190500 w 419100"/>
              <a:gd name="connsiteY13" fmla="*/ 857250 h 857250"/>
              <a:gd name="connsiteX14" fmla="*/ 114300 w 419100"/>
              <a:gd name="connsiteY14" fmla="*/ 857250 h 857250"/>
              <a:gd name="connsiteX15" fmla="*/ 114300 w 419100"/>
              <a:gd name="connsiteY15" fmla="*/ 323850 h 857250"/>
              <a:gd name="connsiteX16" fmla="*/ 74295 w 419100"/>
              <a:gd name="connsiteY16" fmla="*/ 489585 h 857250"/>
              <a:gd name="connsiteX17" fmla="*/ 38100 w 419100"/>
              <a:gd name="connsiteY17" fmla="*/ 518160 h 857250"/>
              <a:gd name="connsiteX18" fmla="*/ 0 w 419100"/>
              <a:gd name="connsiteY18" fmla="*/ 480060 h 857250"/>
              <a:gd name="connsiteX19" fmla="*/ 1905 w 419100"/>
              <a:gd name="connsiteY19" fmla="*/ 470535 h 857250"/>
              <a:gd name="connsiteX20" fmla="*/ 55245 w 419100"/>
              <a:gd name="connsiteY20" fmla="*/ 243840 h 857250"/>
              <a:gd name="connsiteX21" fmla="*/ 66675 w 419100"/>
              <a:gd name="connsiteY21" fmla="*/ 222885 h 857250"/>
              <a:gd name="connsiteX22" fmla="*/ 146685 w 419100"/>
              <a:gd name="connsiteY22" fmla="*/ 180975 h 857250"/>
              <a:gd name="connsiteX23" fmla="*/ 209550 w 419100"/>
              <a:gd name="connsiteY23" fmla="*/ 171450 h 857250"/>
              <a:gd name="connsiteX24" fmla="*/ 209550 w 419100"/>
              <a:gd name="connsiteY24" fmla="*/ 0 h 857250"/>
              <a:gd name="connsiteX25" fmla="*/ 285750 w 419100"/>
              <a:gd name="connsiteY25" fmla="*/ 76200 h 857250"/>
              <a:gd name="connsiteX26" fmla="*/ 209550 w 419100"/>
              <a:gd name="connsiteY26" fmla="*/ 152400 h 857250"/>
              <a:gd name="connsiteX27" fmla="*/ 133350 w 419100"/>
              <a:gd name="connsiteY27" fmla="*/ 76200 h 857250"/>
              <a:gd name="connsiteX28" fmla="*/ 209550 w 419100"/>
              <a:gd name="connsiteY28" fmla="*/ 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19100" h="857250">
                <a:moveTo>
                  <a:pt x="209550" y="171450"/>
                </a:moveTo>
                <a:cubicBezTo>
                  <a:pt x="230505" y="171450"/>
                  <a:pt x="251460" y="175260"/>
                  <a:pt x="272415" y="179070"/>
                </a:cubicBezTo>
                <a:cubicBezTo>
                  <a:pt x="302895" y="188595"/>
                  <a:pt x="329565" y="201930"/>
                  <a:pt x="352425" y="220980"/>
                </a:cubicBezTo>
                <a:cubicBezTo>
                  <a:pt x="358140" y="226695"/>
                  <a:pt x="361950" y="234315"/>
                  <a:pt x="363855" y="241935"/>
                </a:cubicBezTo>
                <a:lnTo>
                  <a:pt x="417195" y="468630"/>
                </a:lnTo>
                <a:cubicBezTo>
                  <a:pt x="417195" y="470535"/>
                  <a:pt x="419100" y="474345"/>
                  <a:pt x="419100" y="478155"/>
                </a:cubicBezTo>
                <a:cubicBezTo>
                  <a:pt x="419100" y="499110"/>
                  <a:pt x="401955" y="516255"/>
                  <a:pt x="381000" y="516255"/>
                </a:cubicBezTo>
                <a:cubicBezTo>
                  <a:pt x="363855" y="516255"/>
                  <a:pt x="348615" y="502920"/>
                  <a:pt x="344805" y="487680"/>
                </a:cubicBezTo>
                <a:lnTo>
                  <a:pt x="304800" y="321945"/>
                </a:lnTo>
                <a:lnTo>
                  <a:pt x="304800" y="857250"/>
                </a:lnTo>
                <a:lnTo>
                  <a:pt x="228600" y="857250"/>
                </a:lnTo>
                <a:lnTo>
                  <a:pt x="228600" y="514350"/>
                </a:lnTo>
                <a:lnTo>
                  <a:pt x="190500" y="514350"/>
                </a:lnTo>
                <a:lnTo>
                  <a:pt x="190500" y="857250"/>
                </a:lnTo>
                <a:lnTo>
                  <a:pt x="114300" y="857250"/>
                </a:lnTo>
                <a:lnTo>
                  <a:pt x="114300" y="323850"/>
                </a:lnTo>
                <a:lnTo>
                  <a:pt x="74295" y="489585"/>
                </a:lnTo>
                <a:cubicBezTo>
                  <a:pt x="70485" y="504825"/>
                  <a:pt x="55245" y="518160"/>
                  <a:pt x="38100" y="518160"/>
                </a:cubicBezTo>
                <a:cubicBezTo>
                  <a:pt x="17145" y="518160"/>
                  <a:pt x="0" y="501015"/>
                  <a:pt x="0" y="480060"/>
                </a:cubicBezTo>
                <a:cubicBezTo>
                  <a:pt x="0" y="476250"/>
                  <a:pt x="1905" y="472440"/>
                  <a:pt x="1905" y="470535"/>
                </a:cubicBezTo>
                <a:lnTo>
                  <a:pt x="55245" y="243840"/>
                </a:lnTo>
                <a:cubicBezTo>
                  <a:pt x="57150" y="236220"/>
                  <a:pt x="60960" y="228600"/>
                  <a:pt x="66675" y="222885"/>
                </a:cubicBezTo>
                <a:cubicBezTo>
                  <a:pt x="89535" y="203835"/>
                  <a:pt x="116205" y="188595"/>
                  <a:pt x="146685" y="180975"/>
                </a:cubicBezTo>
                <a:cubicBezTo>
                  <a:pt x="167640" y="175260"/>
                  <a:pt x="188595" y="171450"/>
                  <a:pt x="209550" y="171450"/>
                </a:cubicBezTo>
                <a:close/>
                <a:moveTo>
                  <a:pt x="209550" y="0"/>
                </a:moveTo>
                <a:cubicBezTo>
                  <a:pt x="251634" y="0"/>
                  <a:pt x="285750" y="34116"/>
                  <a:pt x="285750" y="76200"/>
                </a:cubicBezTo>
                <a:cubicBezTo>
                  <a:pt x="285750" y="118284"/>
                  <a:pt x="251634" y="152400"/>
                  <a:pt x="209550" y="152400"/>
                </a:cubicBezTo>
                <a:cubicBezTo>
                  <a:pt x="167466" y="152400"/>
                  <a:pt x="133350" y="118284"/>
                  <a:pt x="133350" y="76200"/>
                </a:cubicBezTo>
                <a:cubicBezTo>
                  <a:pt x="133350" y="34116"/>
                  <a:pt x="167466" y="0"/>
                  <a:pt x="209550" y="0"/>
                </a:cubicBezTo>
                <a:close/>
              </a:path>
            </a:pathLst>
          </a:custGeom>
          <a:solidFill>
            <a:srgbClr val="2AAD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64" name="任意多边形: 形状 63">
            <a:extLst>
              <a:ext uri="{FF2B5EF4-FFF2-40B4-BE49-F238E27FC236}">
                <a16:creationId xmlns:a16="http://schemas.microsoft.com/office/drawing/2014/main" id="{8980A6D7-5782-4874-9433-4BECD60B0CEA}"/>
              </a:ext>
            </a:extLst>
          </p:cNvPr>
          <p:cNvSpPr/>
          <p:nvPr/>
        </p:nvSpPr>
        <p:spPr>
          <a:xfrm>
            <a:off x="5274950" y="3200544"/>
            <a:ext cx="389427" cy="796555"/>
          </a:xfrm>
          <a:custGeom>
            <a:avLst/>
            <a:gdLst>
              <a:gd name="connsiteX0" fmla="*/ 209550 w 419100"/>
              <a:gd name="connsiteY0" fmla="*/ 171450 h 857250"/>
              <a:gd name="connsiteX1" fmla="*/ 272415 w 419100"/>
              <a:gd name="connsiteY1" fmla="*/ 179070 h 857250"/>
              <a:gd name="connsiteX2" fmla="*/ 352425 w 419100"/>
              <a:gd name="connsiteY2" fmla="*/ 220980 h 857250"/>
              <a:gd name="connsiteX3" fmla="*/ 363855 w 419100"/>
              <a:gd name="connsiteY3" fmla="*/ 241935 h 857250"/>
              <a:gd name="connsiteX4" fmla="*/ 417195 w 419100"/>
              <a:gd name="connsiteY4" fmla="*/ 468630 h 857250"/>
              <a:gd name="connsiteX5" fmla="*/ 419100 w 419100"/>
              <a:gd name="connsiteY5" fmla="*/ 478155 h 857250"/>
              <a:gd name="connsiteX6" fmla="*/ 381000 w 419100"/>
              <a:gd name="connsiteY6" fmla="*/ 516255 h 857250"/>
              <a:gd name="connsiteX7" fmla="*/ 344805 w 419100"/>
              <a:gd name="connsiteY7" fmla="*/ 487680 h 857250"/>
              <a:gd name="connsiteX8" fmla="*/ 304800 w 419100"/>
              <a:gd name="connsiteY8" fmla="*/ 321945 h 857250"/>
              <a:gd name="connsiteX9" fmla="*/ 304800 w 419100"/>
              <a:gd name="connsiteY9" fmla="*/ 857250 h 857250"/>
              <a:gd name="connsiteX10" fmla="*/ 228600 w 419100"/>
              <a:gd name="connsiteY10" fmla="*/ 857250 h 857250"/>
              <a:gd name="connsiteX11" fmla="*/ 228600 w 419100"/>
              <a:gd name="connsiteY11" fmla="*/ 514350 h 857250"/>
              <a:gd name="connsiteX12" fmla="*/ 190500 w 419100"/>
              <a:gd name="connsiteY12" fmla="*/ 514350 h 857250"/>
              <a:gd name="connsiteX13" fmla="*/ 190500 w 419100"/>
              <a:gd name="connsiteY13" fmla="*/ 857250 h 857250"/>
              <a:gd name="connsiteX14" fmla="*/ 114300 w 419100"/>
              <a:gd name="connsiteY14" fmla="*/ 857250 h 857250"/>
              <a:gd name="connsiteX15" fmla="*/ 114300 w 419100"/>
              <a:gd name="connsiteY15" fmla="*/ 323850 h 857250"/>
              <a:gd name="connsiteX16" fmla="*/ 74295 w 419100"/>
              <a:gd name="connsiteY16" fmla="*/ 489585 h 857250"/>
              <a:gd name="connsiteX17" fmla="*/ 38100 w 419100"/>
              <a:gd name="connsiteY17" fmla="*/ 518160 h 857250"/>
              <a:gd name="connsiteX18" fmla="*/ 0 w 419100"/>
              <a:gd name="connsiteY18" fmla="*/ 480060 h 857250"/>
              <a:gd name="connsiteX19" fmla="*/ 1905 w 419100"/>
              <a:gd name="connsiteY19" fmla="*/ 470535 h 857250"/>
              <a:gd name="connsiteX20" fmla="*/ 55245 w 419100"/>
              <a:gd name="connsiteY20" fmla="*/ 243840 h 857250"/>
              <a:gd name="connsiteX21" fmla="*/ 66675 w 419100"/>
              <a:gd name="connsiteY21" fmla="*/ 222885 h 857250"/>
              <a:gd name="connsiteX22" fmla="*/ 146685 w 419100"/>
              <a:gd name="connsiteY22" fmla="*/ 180975 h 857250"/>
              <a:gd name="connsiteX23" fmla="*/ 209550 w 419100"/>
              <a:gd name="connsiteY23" fmla="*/ 171450 h 857250"/>
              <a:gd name="connsiteX24" fmla="*/ 209550 w 419100"/>
              <a:gd name="connsiteY24" fmla="*/ 0 h 857250"/>
              <a:gd name="connsiteX25" fmla="*/ 285750 w 419100"/>
              <a:gd name="connsiteY25" fmla="*/ 76200 h 857250"/>
              <a:gd name="connsiteX26" fmla="*/ 209550 w 419100"/>
              <a:gd name="connsiteY26" fmla="*/ 152400 h 857250"/>
              <a:gd name="connsiteX27" fmla="*/ 133350 w 419100"/>
              <a:gd name="connsiteY27" fmla="*/ 76200 h 857250"/>
              <a:gd name="connsiteX28" fmla="*/ 209550 w 419100"/>
              <a:gd name="connsiteY28" fmla="*/ 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19100" h="857250">
                <a:moveTo>
                  <a:pt x="209550" y="171450"/>
                </a:moveTo>
                <a:cubicBezTo>
                  <a:pt x="230505" y="171450"/>
                  <a:pt x="251460" y="175260"/>
                  <a:pt x="272415" y="179070"/>
                </a:cubicBezTo>
                <a:cubicBezTo>
                  <a:pt x="302895" y="188595"/>
                  <a:pt x="329565" y="201930"/>
                  <a:pt x="352425" y="220980"/>
                </a:cubicBezTo>
                <a:cubicBezTo>
                  <a:pt x="358140" y="226695"/>
                  <a:pt x="361950" y="234315"/>
                  <a:pt x="363855" y="241935"/>
                </a:cubicBezTo>
                <a:lnTo>
                  <a:pt x="417195" y="468630"/>
                </a:lnTo>
                <a:cubicBezTo>
                  <a:pt x="417195" y="470535"/>
                  <a:pt x="419100" y="474345"/>
                  <a:pt x="419100" y="478155"/>
                </a:cubicBezTo>
                <a:cubicBezTo>
                  <a:pt x="419100" y="499110"/>
                  <a:pt x="401955" y="516255"/>
                  <a:pt x="381000" y="516255"/>
                </a:cubicBezTo>
                <a:cubicBezTo>
                  <a:pt x="363855" y="516255"/>
                  <a:pt x="348615" y="502920"/>
                  <a:pt x="344805" y="487680"/>
                </a:cubicBezTo>
                <a:lnTo>
                  <a:pt x="304800" y="321945"/>
                </a:lnTo>
                <a:lnTo>
                  <a:pt x="304800" y="857250"/>
                </a:lnTo>
                <a:lnTo>
                  <a:pt x="228600" y="857250"/>
                </a:lnTo>
                <a:lnTo>
                  <a:pt x="228600" y="514350"/>
                </a:lnTo>
                <a:lnTo>
                  <a:pt x="190500" y="514350"/>
                </a:lnTo>
                <a:lnTo>
                  <a:pt x="190500" y="857250"/>
                </a:lnTo>
                <a:lnTo>
                  <a:pt x="114300" y="857250"/>
                </a:lnTo>
                <a:lnTo>
                  <a:pt x="114300" y="323850"/>
                </a:lnTo>
                <a:lnTo>
                  <a:pt x="74295" y="489585"/>
                </a:lnTo>
                <a:cubicBezTo>
                  <a:pt x="70485" y="504825"/>
                  <a:pt x="55245" y="518160"/>
                  <a:pt x="38100" y="518160"/>
                </a:cubicBezTo>
                <a:cubicBezTo>
                  <a:pt x="17145" y="518160"/>
                  <a:pt x="0" y="501015"/>
                  <a:pt x="0" y="480060"/>
                </a:cubicBezTo>
                <a:cubicBezTo>
                  <a:pt x="0" y="476250"/>
                  <a:pt x="1905" y="472440"/>
                  <a:pt x="1905" y="470535"/>
                </a:cubicBezTo>
                <a:lnTo>
                  <a:pt x="55245" y="243840"/>
                </a:lnTo>
                <a:cubicBezTo>
                  <a:pt x="57150" y="236220"/>
                  <a:pt x="60960" y="228600"/>
                  <a:pt x="66675" y="222885"/>
                </a:cubicBezTo>
                <a:cubicBezTo>
                  <a:pt x="89535" y="203835"/>
                  <a:pt x="116205" y="188595"/>
                  <a:pt x="146685" y="180975"/>
                </a:cubicBezTo>
                <a:cubicBezTo>
                  <a:pt x="167640" y="175260"/>
                  <a:pt x="188595" y="171450"/>
                  <a:pt x="209550" y="171450"/>
                </a:cubicBezTo>
                <a:close/>
                <a:moveTo>
                  <a:pt x="209550" y="0"/>
                </a:moveTo>
                <a:cubicBezTo>
                  <a:pt x="251634" y="0"/>
                  <a:pt x="285750" y="34116"/>
                  <a:pt x="285750" y="76200"/>
                </a:cubicBezTo>
                <a:cubicBezTo>
                  <a:pt x="285750" y="118284"/>
                  <a:pt x="251634" y="152400"/>
                  <a:pt x="209550" y="152400"/>
                </a:cubicBezTo>
                <a:cubicBezTo>
                  <a:pt x="167466" y="152400"/>
                  <a:pt x="133350" y="118284"/>
                  <a:pt x="133350" y="76200"/>
                </a:cubicBezTo>
                <a:cubicBezTo>
                  <a:pt x="133350" y="34116"/>
                  <a:pt x="167466" y="0"/>
                  <a:pt x="209550" y="0"/>
                </a:cubicBezTo>
                <a:close/>
              </a:path>
            </a:pathLst>
          </a:custGeom>
          <a:solidFill>
            <a:srgbClr val="C8CDD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  <p:sp>
        <p:nvSpPr>
          <p:cNvPr id="65" name="任意多边形: 形状 64">
            <a:extLst>
              <a:ext uri="{FF2B5EF4-FFF2-40B4-BE49-F238E27FC236}">
                <a16:creationId xmlns:a16="http://schemas.microsoft.com/office/drawing/2014/main" id="{DDD9B17E-4928-4661-A6B4-5C47EBF78635}"/>
              </a:ext>
            </a:extLst>
          </p:cNvPr>
          <p:cNvSpPr/>
          <p:nvPr/>
        </p:nvSpPr>
        <p:spPr>
          <a:xfrm>
            <a:off x="5703273" y="3200544"/>
            <a:ext cx="389427" cy="796555"/>
          </a:xfrm>
          <a:custGeom>
            <a:avLst/>
            <a:gdLst>
              <a:gd name="connsiteX0" fmla="*/ 209550 w 419100"/>
              <a:gd name="connsiteY0" fmla="*/ 171450 h 857250"/>
              <a:gd name="connsiteX1" fmla="*/ 272415 w 419100"/>
              <a:gd name="connsiteY1" fmla="*/ 179070 h 857250"/>
              <a:gd name="connsiteX2" fmla="*/ 352425 w 419100"/>
              <a:gd name="connsiteY2" fmla="*/ 220980 h 857250"/>
              <a:gd name="connsiteX3" fmla="*/ 363855 w 419100"/>
              <a:gd name="connsiteY3" fmla="*/ 241935 h 857250"/>
              <a:gd name="connsiteX4" fmla="*/ 417195 w 419100"/>
              <a:gd name="connsiteY4" fmla="*/ 468630 h 857250"/>
              <a:gd name="connsiteX5" fmla="*/ 419100 w 419100"/>
              <a:gd name="connsiteY5" fmla="*/ 478155 h 857250"/>
              <a:gd name="connsiteX6" fmla="*/ 381000 w 419100"/>
              <a:gd name="connsiteY6" fmla="*/ 516255 h 857250"/>
              <a:gd name="connsiteX7" fmla="*/ 344805 w 419100"/>
              <a:gd name="connsiteY7" fmla="*/ 487680 h 857250"/>
              <a:gd name="connsiteX8" fmla="*/ 304800 w 419100"/>
              <a:gd name="connsiteY8" fmla="*/ 321945 h 857250"/>
              <a:gd name="connsiteX9" fmla="*/ 304800 w 419100"/>
              <a:gd name="connsiteY9" fmla="*/ 857250 h 857250"/>
              <a:gd name="connsiteX10" fmla="*/ 228600 w 419100"/>
              <a:gd name="connsiteY10" fmla="*/ 857250 h 857250"/>
              <a:gd name="connsiteX11" fmla="*/ 228600 w 419100"/>
              <a:gd name="connsiteY11" fmla="*/ 514350 h 857250"/>
              <a:gd name="connsiteX12" fmla="*/ 190500 w 419100"/>
              <a:gd name="connsiteY12" fmla="*/ 514350 h 857250"/>
              <a:gd name="connsiteX13" fmla="*/ 190500 w 419100"/>
              <a:gd name="connsiteY13" fmla="*/ 857250 h 857250"/>
              <a:gd name="connsiteX14" fmla="*/ 114300 w 419100"/>
              <a:gd name="connsiteY14" fmla="*/ 857250 h 857250"/>
              <a:gd name="connsiteX15" fmla="*/ 114300 w 419100"/>
              <a:gd name="connsiteY15" fmla="*/ 323850 h 857250"/>
              <a:gd name="connsiteX16" fmla="*/ 74295 w 419100"/>
              <a:gd name="connsiteY16" fmla="*/ 489585 h 857250"/>
              <a:gd name="connsiteX17" fmla="*/ 38100 w 419100"/>
              <a:gd name="connsiteY17" fmla="*/ 518160 h 857250"/>
              <a:gd name="connsiteX18" fmla="*/ 0 w 419100"/>
              <a:gd name="connsiteY18" fmla="*/ 480060 h 857250"/>
              <a:gd name="connsiteX19" fmla="*/ 1905 w 419100"/>
              <a:gd name="connsiteY19" fmla="*/ 470535 h 857250"/>
              <a:gd name="connsiteX20" fmla="*/ 55245 w 419100"/>
              <a:gd name="connsiteY20" fmla="*/ 243840 h 857250"/>
              <a:gd name="connsiteX21" fmla="*/ 66675 w 419100"/>
              <a:gd name="connsiteY21" fmla="*/ 222885 h 857250"/>
              <a:gd name="connsiteX22" fmla="*/ 146685 w 419100"/>
              <a:gd name="connsiteY22" fmla="*/ 180975 h 857250"/>
              <a:gd name="connsiteX23" fmla="*/ 209550 w 419100"/>
              <a:gd name="connsiteY23" fmla="*/ 171450 h 857250"/>
              <a:gd name="connsiteX24" fmla="*/ 209550 w 419100"/>
              <a:gd name="connsiteY24" fmla="*/ 0 h 857250"/>
              <a:gd name="connsiteX25" fmla="*/ 285750 w 419100"/>
              <a:gd name="connsiteY25" fmla="*/ 76200 h 857250"/>
              <a:gd name="connsiteX26" fmla="*/ 209550 w 419100"/>
              <a:gd name="connsiteY26" fmla="*/ 152400 h 857250"/>
              <a:gd name="connsiteX27" fmla="*/ 133350 w 419100"/>
              <a:gd name="connsiteY27" fmla="*/ 76200 h 857250"/>
              <a:gd name="connsiteX28" fmla="*/ 209550 w 419100"/>
              <a:gd name="connsiteY28" fmla="*/ 0 h 85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419100" h="857250">
                <a:moveTo>
                  <a:pt x="209550" y="171450"/>
                </a:moveTo>
                <a:cubicBezTo>
                  <a:pt x="230505" y="171450"/>
                  <a:pt x="251460" y="175260"/>
                  <a:pt x="272415" y="179070"/>
                </a:cubicBezTo>
                <a:cubicBezTo>
                  <a:pt x="302895" y="188595"/>
                  <a:pt x="329565" y="201930"/>
                  <a:pt x="352425" y="220980"/>
                </a:cubicBezTo>
                <a:cubicBezTo>
                  <a:pt x="358140" y="226695"/>
                  <a:pt x="361950" y="234315"/>
                  <a:pt x="363855" y="241935"/>
                </a:cubicBezTo>
                <a:lnTo>
                  <a:pt x="417195" y="468630"/>
                </a:lnTo>
                <a:cubicBezTo>
                  <a:pt x="417195" y="470535"/>
                  <a:pt x="419100" y="474345"/>
                  <a:pt x="419100" y="478155"/>
                </a:cubicBezTo>
                <a:cubicBezTo>
                  <a:pt x="419100" y="499110"/>
                  <a:pt x="401955" y="516255"/>
                  <a:pt x="381000" y="516255"/>
                </a:cubicBezTo>
                <a:cubicBezTo>
                  <a:pt x="363855" y="516255"/>
                  <a:pt x="348615" y="502920"/>
                  <a:pt x="344805" y="487680"/>
                </a:cubicBezTo>
                <a:lnTo>
                  <a:pt x="304800" y="321945"/>
                </a:lnTo>
                <a:lnTo>
                  <a:pt x="304800" y="857250"/>
                </a:lnTo>
                <a:lnTo>
                  <a:pt x="228600" y="857250"/>
                </a:lnTo>
                <a:lnTo>
                  <a:pt x="228600" y="514350"/>
                </a:lnTo>
                <a:lnTo>
                  <a:pt x="190500" y="514350"/>
                </a:lnTo>
                <a:lnTo>
                  <a:pt x="190500" y="857250"/>
                </a:lnTo>
                <a:lnTo>
                  <a:pt x="114300" y="857250"/>
                </a:lnTo>
                <a:lnTo>
                  <a:pt x="114300" y="323850"/>
                </a:lnTo>
                <a:lnTo>
                  <a:pt x="74295" y="489585"/>
                </a:lnTo>
                <a:cubicBezTo>
                  <a:pt x="70485" y="504825"/>
                  <a:pt x="55245" y="518160"/>
                  <a:pt x="38100" y="518160"/>
                </a:cubicBezTo>
                <a:cubicBezTo>
                  <a:pt x="17145" y="518160"/>
                  <a:pt x="0" y="501015"/>
                  <a:pt x="0" y="480060"/>
                </a:cubicBezTo>
                <a:cubicBezTo>
                  <a:pt x="0" y="476250"/>
                  <a:pt x="1905" y="472440"/>
                  <a:pt x="1905" y="470535"/>
                </a:cubicBezTo>
                <a:lnTo>
                  <a:pt x="55245" y="243840"/>
                </a:lnTo>
                <a:cubicBezTo>
                  <a:pt x="57150" y="236220"/>
                  <a:pt x="60960" y="228600"/>
                  <a:pt x="66675" y="222885"/>
                </a:cubicBezTo>
                <a:cubicBezTo>
                  <a:pt x="89535" y="203835"/>
                  <a:pt x="116205" y="188595"/>
                  <a:pt x="146685" y="180975"/>
                </a:cubicBezTo>
                <a:cubicBezTo>
                  <a:pt x="167640" y="175260"/>
                  <a:pt x="188595" y="171450"/>
                  <a:pt x="209550" y="171450"/>
                </a:cubicBezTo>
                <a:close/>
                <a:moveTo>
                  <a:pt x="209550" y="0"/>
                </a:moveTo>
                <a:cubicBezTo>
                  <a:pt x="251634" y="0"/>
                  <a:pt x="285750" y="34116"/>
                  <a:pt x="285750" y="76200"/>
                </a:cubicBezTo>
                <a:cubicBezTo>
                  <a:pt x="285750" y="118284"/>
                  <a:pt x="251634" y="152400"/>
                  <a:pt x="209550" y="152400"/>
                </a:cubicBezTo>
                <a:cubicBezTo>
                  <a:pt x="167466" y="152400"/>
                  <a:pt x="133350" y="118284"/>
                  <a:pt x="133350" y="76200"/>
                </a:cubicBezTo>
                <a:cubicBezTo>
                  <a:pt x="133350" y="34116"/>
                  <a:pt x="167466" y="0"/>
                  <a:pt x="209550" y="0"/>
                </a:cubicBezTo>
                <a:close/>
              </a:path>
            </a:pathLst>
          </a:custGeom>
          <a:solidFill>
            <a:srgbClr val="C8CDD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3007745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/>
              <a:t>Supporting text here.</a:t>
            </a:r>
          </a:p>
          <a:p>
            <a:pPr lvl="0"/>
            <a:r>
              <a:rPr lang="en-US" altLang="zh-CN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683554" y="2759231"/>
            <a:ext cx="97032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5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264303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0EB4161-E4F7-4D21-B245-041CD743CC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54DEC61-DCBB-4906-8784-3D5F5DAB9A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035EB2E-B05F-4BFA-97FF-4B5921D7D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8</a:t>
            </a:fld>
            <a:endParaRPr lang="zh-CN" altLang="en-US"/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B5D93994-DD49-4EB0-9593-E29165A332B5}"/>
              </a:ext>
            </a:extLst>
          </p:cNvPr>
          <p:cNvSpPr/>
          <p:nvPr/>
        </p:nvSpPr>
        <p:spPr>
          <a:xfrm rot="5400000">
            <a:off x="7102376" y="3430736"/>
            <a:ext cx="1328599" cy="17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32500" lnSpcReduction="20000"/>
          </a:bodyPr>
          <a:lstStyle/>
          <a:p>
            <a:pPr algn="ctr"/>
            <a:endParaRPr/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33B144D5-439C-4B42-B530-15C570DDBE0B}"/>
              </a:ext>
            </a:extLst>
          </p:cNvPr>
          <p:cNvSpPr/>
          <p:nvPr/>
        </p:nvSpPr>
        <p:spPr bwMode="auto">
          <a:xfrm>
            <a:off x="7820486" y="3452222"/>
            <a:ext cx="183860" cy="246174"/>
          </a:xfrm>
          <a:custGeom>
            <a:avLst/>
            <a:gdLst>
              <a:gd name="T0" fmla="*/ 43 w 263"/>
              <a:gd name="T1" fmla="*/ 348 h 354"/>
              <a:gd name="T2" fmla="*/ 43 w 263"/>
              <a:gd name="T3" fmla="*/ 348 h 354"/>
              <a:gd name="T4" fmla="*/ 250 w 263"/>
              <a:gd name="T5" fmla="*/ 198 h 354"/>
              <a:gd name="T6" fmla="*/ 262 w 263"/>
              <a:gd name="T7" fmla="*/ 178 h 354"/>
              <a:gd name="T8" fmla="*/ 250 w 263"/>
              <a:gd name="T9" fmla="*/ 155 h 354"/>
              <a:gd name="T10" fmla="*/ 43 w 263"/>
              <a:gd name="T11" fmla="*/ 5 h 354"/>
              <a:gd name="T12" fmla="*/ 14 w 263"/>
              <a:gd name="T13" fmla="*/ 5 h 354"/>
              <a:gd name="T14" fmla="*/ 0 w 263"/>
              <a:gd name="T15" fmla="*/ 28 h 354"/>
              <a:gd name="T16" fmla="*/ 0 w 263"/>
              <a:gd name="T17" fmla="*/ 324 h 354"/>
              <a:gd name="T18" fmla="*/ 14 w 263"/>
              <a:gd name="T19" fmla="*/ 350 h 354"/>
              <a:gd name="T20" fmla="*/ 43 w 263"/>
              <a:gd name="T21" fmla="*/ 348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3" h="354">
                <a:moveTo>
                  <a:pt x="43" y="348"/>
                </a:moveTo>
                <a:lnTo>
                  <a:pt x="43" y="348"/>
                </a:lnTo>
                <a:cubicBezTo>
                  <a:pt x="250" y="198"/>
                  <a:pt x="250" y="198"/>
                  <a:pt x="250" y="198"/>
                </a:cubicBezTo>
                <a:cubicBezTo>
                  <a:pt x="259" y="192"/>
                  <a:pt x="262" y="186"/>
                  <a:pt x="262" y="178"/>
                </a:cubicBezTo>
                <a:cubicBezTo>
                  <a:pt x="262" y="169"/>
                  <a:pt x="259" y="161"/>
                  <a:pt x="250" y="155"/>
                </a:cubicBezTo>
                <a:cubicBezTo>
                  <a:pt x="43" y="5"/>
                  <a:pt x="43" y="5"/>
                  <a:pt x="43" y="5"/>
                </a:cubicBezTo>
                <a:cubicBezTo>
                  <a:pt x="35" y="0"/>
                  <a:pt x="23" y="0"/>
                  <a:pt x="14" y="5"/>
                </a:cubicBezTo>
                <a:cubicBezTo>
                  <a:pt x="5" y="8"/>
                  <a:pt x="0" y="16"/>
                  <a:pt x="0" y="28"/>
                </a:cubicBezTo>
                <a:cubicBezTo>
                  <a:pt x="0" y="324"/>
                  <a:pt x="0" y="324"/>
                  <a:pt x="0" y="324"/>
                </a:cubicBezTo>
                <a:cubicBezTo>
                  <a:pt x="0" y="336"/>
                  <a:pt x="5" y="344"/>
                  <a:pt x="14" y="350"/>
                </a:cubicBezTo>
                <a:cubicBezTo>
                  <a:pt x="23" y="353"/>
                  <a:pt x="35" y="353"/>
                  <a:pt x="43" y="348"/>
                </a:cubicBezTo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algn="ctr"/>
            <a:endParaRPr/>
          </a:p>
        </p:txBody>
      </p:sp>
      <p:sp>
        <p:nvSpPr>
          <p:cNvPr id="8" name="矩形: 圆顶角 7">
            <a:extLst>
              <a:ext uri="{FF2B5EF4-FFF2-40B4-BE49-F238E27FC236}">
                <a16:creationId xmlns:a16="http://schemas.microsoft.com/office/drawing/2014/main" id="{49375140-70DB-4694-B5F3-9B36FBDCE7B2}"/>
              </a:ext>
            </a:extLst>
          </p:cNvPr>
          <p:cNvSpPr/>
          <p:nvPr/>
        </p:nvSpPr>
        <p:spPr>
          <a:xfrm rot="10800000">
            <a:off x="7680181" y="4205120"/>
            <a:ext cx="172999" cy="132859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5B910334-B83D-4772-9E95-205762A4DDB1}"/>
              </a:ext>
            </a:extLst>
          </p:cNvPr>
          <p:cNvSpPr txBox="1"/>
          <p:nvPr/>
        </p:nvSpPr>
        <p:spPr>
          <a:xfrm>
            <a:off x="6595672" y="1892902"/>
            <a:ext cx="996718" cy="514556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normAutofit/>
          </a:bodyPr>
          <a:lstStyle/>
          <a:p>
            <a:pPr algn="r"/>
            <a:r>
              <a:rPr lang="en-US" altLang="zh-CN" sz="1200" b="1" i="1" dirty="0"/>
              <a:t>09:00 AM </a:t>
            </a:r>
            <a:r>
              <a:rPr lang="en-US" altLang="zh-CN" sz="1200" b="1" i="1" dirty="0" err="1"/>
              <a:t>xxxx</a:t>
            </a:r>
            <a:endParaRPr lang="en-US" sz="1200" b="1" i="1" dirty="0"/>
          </a:p>
        </p:txBody>
      </p:sp>
      <p:sp>
        <p:nvSpPr>
          <p:cNvPr id="19" name="矩形: 圆顶角 18">
            <a:extLst>
              <a:ext uri="{FF2B5EF4-FFF2-40B4-BE49-F238E27FC236}">
                <a16:creationId xmlns:a16="http://schemas.microsoft.com/office/drawing/2014/main" id="{3CDCAC60-378F-4E77-895D-38AAAD03A302}"/>
              </a:ext>
            </a:extLst>
          </p:cNvPr>
          <p:cNvSpPr/>
          <p:nvPr/>
        </p:nvSpPr>
        <p:spPr>
          <a:xfrm flipH="1">
            <a:off x="7680178" y="1485881"/>
            <a:ext cx="172999" cy="132859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20" name="任意多边形: 形状 19">
            <a:extLst>
              <a:ext uri="{FF2B5EF4-FFF2-40B4-BE49-F238E27FC236}">
                <a16:creationId xmlns:a16="http://schemas.microsoft.com/office/drawing/2014/main" id="{F19327FB-725F-4934-BBA2-44240B24AAAA}"/>
              </a:ext>
            </a:extLst>
          </p:cNvPr>
          <p:cNvSpPr/>
          <p:nvPr/>
        </p:nvSpPr>
        <p:spPr bwMode="auto">
          <a:xfrm>
            <a:off x="7820487" y="2047226"/>
            <a:ext cx="183860" cy="246174"/>
          </a:xfrm>
          <a:custGeom>
            <a:avLst/>
            <a:gdLst>
              <a:gd name="T0" fmla="*/ 43 w 263"/>
              <a:gd name="T1" fmla="*/ 348 h 354"/>
              <a:gd name="T2" fmla="*/ 43 w 263"/>
              <a:gd name="T3" fmla="*/ 348 h 354"/>
              <a:gd name="T4" fmla="*/ 250 w 263"/>
              <a:gd name="T5" fmla="*/ 198 h 354"/>
              <a:gd name="T6" fmla="*/ 262 w 263"/>
              <a:gd name="T7" fmla="*/ 178 h 354"/>
              <a:gd name="T8" fmla="*/ 250 w 263"/>
              <a:gd name="T9" fmla="*/ 155 h 354"/>
              <a:gd name="T10" fmla="*/ 43 w 263"/>
              <a:gd name="T11" fmla="*/ 5 h 354"/>
              <a:gd name="T12" fmla="*/ 14 w 263"/>
              <a:gd name="T13" fmla="*/ 5 h 354"/>
              <a:gd name="T14" fmla="*/ 0 w 263"/>
              <a:gd name="T15" fmla="*/ 28 h 354"/>
              <a:gd name="T16" fmla="*/ 0 w 263"/>
              <a:gd name="T17" fmla="*/ 324 h 354"/>
              <a:gd name="T18" fmla="*/ 14 w 263"/>
              <a:gd name="T19" fmla="*/ 350 h 354"/>
              <a:gd name="T20" fmla="*/ 43 w 263"/>
              <a:gd name="T21" fmla="*/ 348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3" h="354">
                <a:moveTo>
                  <a:pt x="43" y="348"/>
                </a:moveTo>
                <a:lnTo>
                  <a:pt x="43" y="348"/>
                </a:lnTo>
                <a:cubicBezTo>
                  <a:pt x="250" y="198"/>
                  <a:pt x="250" y="198"/>
                  <a:pt x="250" y="198"/>
                </a:cubicBezTo>
                <a:cubicBezTo>
                  <a:pt x="259" y="192"/>
                  <a:pt x="262" y="186"/>
                  <a:pt x="262" y="178"/>
                </a:cubicBezTo>
                <a:cubicBezTo>
                  <a:pt x="262" y="169"/>
                  <a:pt x="259" y="161"/>
                  <a:pt x="250" y="155"/>
                </a:cubicBezTo>
                <a:cubicBezTo>
                  <a:pt x="43" y="5"/>
                  <a:pt x="43" y="5"/>
                  <a:pt x="43" y="5"/>
                </a:cubicBezTo>
                <a:cubicBezTo>
                  <a:pt x="35" y="0"/>
                  <a:pt x="23" y="0"/>
                  <a:pt x="14" y="5"/>
                </a:cubicBezTo>
                <a:cubicBezTo>
                  <a:pt x="5" y="8"/>
                  <a:pt x="0" y="16"/>
                  <a:pt x="0" y="28"/>
                </a:cubicBezTo>
                <a:cubicBezTo>
                  <a:pt x="0" y="324"/>
                  <a:pt x="0" y="324"/>
                  <a:pt x="0" y="324"/>
                </a:cubicBezTo>
                <a:cubicBezTo>
                  <a:pt x="0" y="336"/>
                  <a:pt x="5" y="344"/>
                  <a:pt x="14" y="350"/>
                </a:cubicBezTo>
                <a:cubicBezTo>
                  <a:pt x="23" y="353"/>
                  <a:pt x="35" y="353"/>
                  <a:pt x="43" y="348"/>
                </a:cubicBez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algn="ctr"/>
            <a:endParaRPr/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C1EA09DA-7A61-4656-8B65-6E0E616F3694}"/>
              </a:ext>
            </a:extLst>
          </p:cNvPr>
          <p:cNvSpPr/>
          <p:nvPr/>
        </p:nvSpPr>
        <p:spPr bwMode="auto">
          <a:xfrm>
            <a:off x="7820486" y="4731211"/>
            <a:ext cx="183860" cy="246174"/>
          </a:xfrm>
          <a:custGeom>
            <a:avLst/>
            <a:gdLst>
              <a:gd name="T0" fmla="*/ 43 w 263"/>
              <a:gd name="T1" fmla="*/ 348 h 354"/>
              <a:gd name="T2" fmla="*/ 43 w 263"/>
              <a:gd name="T3" fmla="*/ 348 h 354"/>
              <a:gd name="T4" fmla="*/ 250 w 263"/>
              <a:gd name="T5" fmla="*/ 198 h 354"/>
              <a:gd name="T6" fmla="*/ 262 w 263"/>
              <a:gd name="T7" fmla="*/ 178 h 354"/>
              <a:gd name="T8" fmla="*/ 250 w 263"/>
              <a:gd name="T9" fmla="*/ 155 h 354"/>
              <a:gd name="T10" fmla="*/ 43 w 263"/>
              <a:gd name="T11" fmla="*/ 5 h 354"/>
              <a:gd name="T12" fmla="*/ 14 w 263"/>
              <a:gd name="T13" fmla="*/ 5 h 354"/>
              <a:gd name="T14" fmla="*/ 0 w 263"/>
              <a:gd name="T15" fmla="*/ 28 h 354"/>
              <a:gd name="T16" fmla="*/ 0 w 263"/>
              <a:gd name="T17" fmla="*/ 324 h 354"/>
              <a:gd name="T18" fmla="*/ 14 w 263"/>
              <a:gd name="T19" fmla="*/ 350 h 354"/>
              <a:gd name="T20" fmla="*/ 43 w 263"/>
              <a:gd name="T21" fmla="*/ 348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3" h="354">
                <a:moveTo>
                  <a:pt x="43" y="348"/>
                </a:moveTo>
                <a:lnTo>
                  <a:pt x="43" y="348"/>
                </a:lnTo>
                <a:cubicBezTo>
                  <a:pt x="250" y="198"/>
                  <a:pt x="250" y="198"/>
                  <a:pt x="250" y="198"/>
                </a:cubicBezTo>
                <a:cubicBezTo>
                  <a:pt x="259" y="192"/>
                  <a:pt x="262" y="186"/>
                  <a:pt x="262" y="178"/>
                </a:cubicBezTo>
                <a:cubicBezTo>
                  <a:pt x="262" y="169"/>
                  <a:pt x="259" y="161"/>
                  <a:pt x="250" y="155"/>
                </a:cubicBezTo>
                <a:cubicBezTo>
                  <a:pt x="43" y="5"/>
                  <a:pt x="43" y="5"/>
                  <a:pt x="43" y="5"/>
                </a:cubicBezTo>
                <a:cubicBezTo>
                  <a:pt x="35" y="0"/>
                  <a:pt x="23" y="0"/>
                  <a:pt x="14" y="5"/>
                </a:cubicBezTo>
                <a:cubicBezTo>
                  <a:pt x="5" y="8"/>
                  <a:pt x="0" y="16"/>
                  <a:pt x="0" y="28"/>
                </a:cubicBezTo>
                <a:cubicBezTo>
                  <a:pt x="0" y="324"/>
                  <a:pt x="0" y="324"/>
                  <a:pt x="0" y="324"/>
                </a:cubicBezTo>
                <a:cubicBezTo>
                  <a:pt x="0" y="336"/>
                  <a:pt x="5" y="344"/>
                  <a:pt x="14" y="350"/>
                </a:cubicBezTo>
                <a:cubicBezTo>
                  <a:pt x="23" y="353"/>
                  <a:pt x="35" y="353"/>
                  <a:pt x="43" y="348"/>
                </a:cubicBezTo>
              </a:path>
            </a:pathLst>
          </a:custGeom>
          <a:solidFill>
            <a:schemeClr val="tx1">
              <a:lumMod val="40000"/>
              <a:lumOff val="6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algn="ctr"/>
            <a:endParaRPr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24B6E459-C14E-4924-A192-3FCE63575EC9}"/>
              </a:ext>
            </a:extLst>
          </p:cNvPr>
          <p:cNvSpPr txBox="1"/>
          <p:nvPr/>
        </p:nvSpPr>
        <p:spPr>
          <a:xfrm>
            <a:off x="673102" y="2484997"/>
            <a:ext cx="5206875" cy="85216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/>
          <a:p>
            <a:pPr>
              <a:buSzPct val="25000"/>
            </a:pPr>
            <a:r>
              <a:rPr lang="en-US" sz="2000" b="1" dirty="0"/>
              <a:t>Unified fonts make</a:t>
            </a:r>
          </a:p>
          <a:p>
            <a:pPr>
              <a:buSzPct val="25000"/>
            </a:pPr>
            <a:r>
              <a:rPr lang="en-US" sz="2000" b="1" dirty="0"/>
              <a:t>reading more fluent.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372BB8FE-61F9-4D20-AD9D-8E93CE3CD0E8}"/>
              </a:ext>
            </a:extLst>
          </p:cNvPr>
          <p:cNvSpPr txBox="1"/>
          <p:nvPr/>
        </p:nvSpPr>
        <p:spPr>
          <a:xfrm>
            <a:off x="673101" y="3337158"/>
            <a:ext cx="5206876" cy="104217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>
              <a:lnSpc>
                <a:spcPct val="150000"/>
              </a:lnSpc>
              <a:buSzPct val="25000"/>
            </a:pPr>
            <a:r>
              <a:rPr lang="en-US" sz="1200" dirty="0"/>
              <a:t>Theme color makes PPT more convenient to change.</a:t>
            </a:r>
          </a:p>
          <a:p>
            <a:pPr>
              <a:lnSpc>
                <a:spcPct val="150000"/>
              </a:lnSpc>
              <a:buSzPct val="25000"/>
            </a:pPr>
            <a:r>
              <a:rPr lang="en-US" sz="1200" dirty="0"/>
              <a:t>Adjust the spacing to adapt to Chinese typesetting, use the reference line in PPT.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B72DBC5D-AB08-4B63-B579-E37C7018A591}"/>
              </a:ext>
            </a:extLst>
          </p:cNvPr>
          <p:cNvSpPr txBox="1"/>
          <p:nvPr/>
        </p:nvSpPr>
        <p:spPr>
          <a:xfrm>
            <a:off x="8144656" y="1837721"/>
            <a:ext cx="3375832" cy="62491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py paste fonts. Choose the only option to retain text.…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.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57631360-D283-40E9-8BFF-6C66EC131AD9}"/>
              </a:ext>
            </a:extLst>
          </p:cNvPr>
          <p:cNvSpPr txBox="1"/>
          <p:nvPr/>
        </p:nvSpPr>
        <p:spPr>
          <a:xfrm>
            <a:off x="8144656" y="3204777"/>
            <a:ext cx="3375832" cy="62491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py paste fonts. Choose the only option to retain text.…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.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23E222B0-9487-425C-90EF-FDCB7F637120}"/>
              </a:ext>
            </a:extLst>
          </p:cNvPr>
          <p:cNvSpPr txBox="1"/>
          <p:nvPr/>
        </p:nvSpPr>
        <p:spPr>
          <a:xfrm>
            <a:off x="8144656" y="4556961"/>
            <a:ext cx="3375832" cy="62491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marL="0" marR="0" lvl="0" indent="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Copy paste fonts. Choose the only option to retain text.…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.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5A850C22-457A-449E-AF70-CA87DCC2013A}"/>
              </a:ext>
            </a:extLst>
          </p:cNvPr>
          <p:cNvSpPr txBox="1"/>
          <p:nvPr/>
        </p:nvSpPr>
        <p:spPr>
          <a:xfrm>
            <a:off x="6595672" y="3259958"/>
            <a:ext cx="996718" cy="514556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normAutofit/>
          </a:bodyPr>
          <a:lstStyle/>
          <a:p>
            <a:pPr algn="r"/>
            <a:r>
              <a:rPr lang="en-US" altLang="zh-CN" sz="1200" b="1" i="1" dirty="0"/>
              <a:t>11:00 AM </a:t>
            </a:r>
            <a:r>
              <a:rPr lang="en-US" altLang="zh-CN" sz="1200" b="1" i="1" dirty="0" err="1"/>
              <a:t>xxxx</a:t>
            </a:r>
            <a:endParaRPr lang="en-US" sz="1200" b="1" i="1" dirty="0"/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21AFFA2C-94F2-42AB-A685-76E36A8ACC3F}"/>
              </a:ext>
            </a:extLst>
          </p:cNvPr>
          <p:cNvSpPr txBox="1"/>
          <p:nvPr/>
        </p:nvSpPr>
        <p:spPr>
          <a:xfrm>
            <a:off x="6595672" y="4612142"/>
            <a:ext cx="996718" cy="514556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normAutofit/>
          </a:bodyPr>
          <a:lstStyle/>
          <a:p>
            <a:pPr algn="r"/>
            <a:r>
              <a:rPr lang="en-US" altLang="zh-CN" sz="1200" b="1" i="1" dirty="0"/>
              <a:t>16:00 PM </a:t>
            </a:r>
            <a:r>
              <a:rPr lang="en-US" altLang="zh-CN" sz="1200" b="1" i="1" dirty="0" err="1"/>
              <a:t>xxxx</a:t>
            </a:r>
            <a:endParaRPr lang="en-US" sz="1200" b="1" i="1" dirty="0"/>
          </a:p>
        </p:txBody>
      </p:sp>
    </p:spTree>
    <p:extLst>
      <p:ext uri="{BB962C8B-B14F-4D97-AF65-F5344CB8AC3E}">
        <p14:creationId xmlns:p14="http://schemas.microsoft.com/office/powerpoint/2010/main" val="214997515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0EB4161-E4F7-4D21-B245-041CD743CC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54DEC61-DCBB-4906-8784-3D5F5DAB9A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035EB2E-B05F-4BFA-97FF-4B5921D7D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9</a:t>
            </a:fld>
            <a:endParaRPr lang="zh-CN" altLang="en-US"/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316577BD-5BB0-43C2-9E0C-BC2DB7CFAE2A}"/>
              </a:ext>
            </a:extLst>
          </p:cNvPr>
          <p:cNvSpPr/>
          <p:nvPr/>
        </p:nvSpPr>
        <p:spPr>
          <a:xfrm>
            <a:off x="0" y="3472024"/>
            <a:ext cx="12192000" cy="3385972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grpSp>
        <p:nvGrpSpPr>
          <p:cNvPr id="84" name="组合 83">
            <a:extLst>
              <a:ext uri="{FF2B5EF4-FFF2-40B4-BE49-F238E27FC236}">
                <a16:creationId xmlns:a16="http://schemas.microsoft.com/office/drawing/2014/main" id="{1CD7EEEB-BE02-490E-8284-F402EC901861}"/>
              </a:ext>
            </a:extLst>
          </p:cNvPr>
          <p:cNvGrpSpPr/>
          <p:nvPr/>
        </p:nvGrpSpPr>
        <p:grpSpPr>
          <a:xfrm>
            <a:off x="2240085" y="655798"/>
            <a:ext cx="2583119" cy="1272648"/>
            <a:chOff x="5851479" y="741782"/>
            <a:chExt cx="2877059" cy="1417467"/>
          </a:xfrm>
        </p:grpSpPr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E19B465F-DE65-4E97-901E-A3E8D38FDD6B}"/>
                </a:ext>
              </a:extLst>
            </p:cNvPr>
            <p:cNvSpPr/>
            <p:nvPr/>
          </p:nvSpPr>
          <p:spPr bwMode="auto">
            <a:xfrm>
              <a:off x="6766902" y="1383435"/>
              <a:ext cx="1595259" cy="775814"/>
            </a:xfrm>
            <a:custGeom>
              <a:avLst/>
              <a:gdLst>
                <a:gd name="connsiteX0" fmla="*/ 1132965 w 1595259"/>
                <a:gd name="connsiteY0" fmla="*/ 657 h 775814"/>
                <a:gd name="connsiteX1" fmla="*/ 1595259 w 1595259"/>
                <a:gd name="connsiteY1" fmla="*/ 106343 h 775814"/>
                <a:gd name="connsiteX2" fmla="*/ 898676 w 1595259"/>
                <a:gd name="connsiteY2" fmla="*/ 56107 h 775814"/>
                <a:gd name="connsiteX3" fmla="*/ 75634 w 1595259"/>
                <a:gd name="connsiteY3" fmla="*/ 738331 h 775814"/>
                <a:gd name="connsiteX4" fmla="*/ 63872 w 1595259"/>
                <a:gd name="connsiteY4" fmla="*/ 775814 h 775814"/>
                <a:gd name="connsiteX5" fmla="*/ 0 w 1595259"/>
                <a:gd name="connsiteY5" fmla="*/ 775814 h 775814"/>
                <a:gd name="connsiteX6" fmla="*/ 7510 w 1595259"/>
                <a:gd name="connsiteY6" fmla="*/ 744930 h 775814"/>
                <a:gd name="connsiteX7" fmla="*/ 834044 w 1595259"/>
                <a:gd name="connsiteY7" fmla="*/ 27401 h 775814"/>
                <a:gd name="connsiteX8" fmla="*/ 1132965 w 1595259"/>
                <a:gd name="connsiteY8" fmla="*/ 657 h 77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95259" h="775814">
                  <a:moveTo>
                    <a:pt x="1132965" y="657"/>
                  </a:moveTo>
                  <a:cubicBezTo>
                    <a:pt x="1297349" y="5983"/>
                    <a:pt x="1456122" y="43548"/>
                    <a:pt x="1595259" y="106343"/>
                  </a:cubicBezTo>
                  <a:cubicBezTo>
                    <a:pt x="1387002" y="27401"/>
                    <a:pt x="1142839" y="5871"/>
                    <a:pt x="898676" y="56107"/>
                  </a:cubicBezTo>
                  <a:cubicBezTo>
                    <a:pt x="500115" y="142226"/>
                    <a:pt x="194462" y="414039"/>
                    <a:pt x="75634" y="738331"/>
                  </a:cubicBezTo>
                  <a:lnTo>
                    <a:pt x="63872" y="775814"/>
                  </a:lnTo>
                  <a:lnTo>
                    <a:pt x="0" y="775814"/>
                  </a:lnTo>
                  <a:lnTo>
                    <a:pt x="7510" y="744930"/>
                  </a:lnTo>
                  <a:cubicBezTo>
                    <a:pt x="107613" y="403499"/>
                    <a:pt x="413939" y="120696"/>
                    <a:pt x="834044" y="27401"/>
                  </a:cubicBezTo>
                  <a:cubicBezTo>
                    <a:pt x="933684" y="5871"/>
                    <a:pt x="1034334" y="-2539"/>
                    <a:pt x="1132965" y="657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/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57EB9BFD-ED6C-499D-A071-FAC1B1DE02FE}"/>
                </a:ext>
              </a:extLst>
            </p:cNvPr>
            <p:cNvSpPr/>
            <p:nvPr/>
          </p:nvSpPr>
          <p:spPr bwMode="auto">
            <a:xfrm>
              <a:off x="6960230" y="741782"/>
              <a:ext cx="1768308" cy="1329260"/>
            </a:xfrm>
            <a:custGeom>
              <a:avLst/>
              <a:gdLst>
                <a:gd name="T0" fmla="*/ 9 w 246"/>
                <a:gd name="T1" fmla="*/ 121 h 185"/>
                <a:gd name="T2" fmla="*/ 73 w 246"/>
                <a:gd name="T3" fmla="*/ 31 h 185"/>
                <a:gd name="T4" fmla="*/ 69 w 246"/>
                <a:gd name="T5" fmla="*/ 42 h 185"/>
                <a:gd name="T6" fmla="*/ 192 w 246"/>
                <a:gd name="T7" fmla="*/ 58 h 185"/>
                <a:gd name="T8" fmla="*/ 246 w 246"/>
                <a:gd name="T9" fmla="*/ 133 h 185"/>
                <a:gd name="T10" fmla="*/ 203 w 246"/>
                <a:gd name="T11" fmla="*/ 150 h 185"/>
                <a:gd name="T12" fmla="*/ 105 w 246"/>
                <a:gd name="T13" fmla="*/ 168 h 185"/>
                <a:gd name="T14" fmla="*/ 59 w 246"/>
                <a:gd name="T15" fmla="*/ 147 h 185"/>
                <a:gd name="T16" fmla="*/ 71 w 246"/>
                <a:gd name="T17" fmla="*/ 164 h 185"/>
                <a:gd name="T18" fmla="*/ 0 w 246"/>
                <a:gd name="T19" fmla="*/ 145 h 185"/>
                <a:gd name="T20" fmla="*/ 165 w 246"/>
                <a:gd name="T21" fmla="*/ 83 h 185"/>
                <a:gd name="T22" fmla="*/ 9 w 246"/>
                <a:gd name="T23" fmla="*/ 121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6" h="185">
                  <a:moveTo>
                    <a:pt x="9" y="121"/>
                  </a:moveTo>
                  <a:cubicBezTo>
                    <a:pt x="9" y="121"/>
                    <a:pt x="14" y="59"/>
                    <a:pt x="73" y="31"/>
                  </a:cubicBezTo>
                  <a:cubicBezTo>
                    <a:pt x="69" y="42"/>
                    <a:pt x="69" y="42"/>
                    <a:pt x="69" y="42"/>
                  </a:cubicBezTo>
                  <a:cubicBezTo>
                    <a:pt x="69" y="42"/>
                    <a:pt x="124" y="0"/>
                    <a:pt x="192" y="58"/>
                  </a:cubicBezTo>
                  <a:cubicBezTo>
                    <a:pt x="241" y="99"/>
                    <a:pt x="246" y="133"/>
                    <a:pt x="246" y="133"/>
                  </a:cubicBezTo>
                  <a:cubicBezTo>
                    <a:pt x="246" y="133"/>
                    <a:pt x="230" y="116"/>
                    <a:pt x="203" y="150"/>
                  </a:cubicBezTo>
                  <a:cubicBezTo>
                    <a:pt x="187" y="169"/>
                    <a:pt x="142" y="185"/>
                    <a:pt x="105" y="168"/>
                  </a:cubicBezTo>
                  <a:cubicBezTo>
                    <a:pt x="68" y="151"/>
                    <a:pt x="59" y="147"/>
                    <a:pt x="59" y="147"/>
                  </a:cubicBezTo>
                  <a:cubicBezTo>
                    <a:pt x="71" y="164"/>
                    <a:pt x="71" y="164"/>
                    <a:pt x="71" y="164"/>
                  </a:cubicBezTo>
                  <a:cubicBezTo>
                    <a:pt x="71" y="164"/>
                    <a:pt x="17" y="124"/>
                    <a:pt x="0" y="145"/>
                  </a:cubicBezTo>
                  <a:cubicBezTo>
                    <a:pt x="0" y="145"/>
                    <a:pt x="79" y="49"/>
                    <a:pt x="165" y="83"/>
                  </a:cubicBezTo>
                  <a:cubicBezTo>
                    <a:pt x="165" y="83"/>
                    <a:pt x="91" y="41"/>
                    <a:pt x="9" y="121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70D8C23F-8D4E-46C3-A46A-BCCD6306586E}"/>
                </a:ext>
              </a:extLst>
            </p:cNvPr>
            <p:cNvSpPr/>
            <p:nvPr/>
          </p:nvSpPr>
          <p:spPr bwMode="auto">
            <a:xfrm>
              <a:off x="5851479" y="1195506"/>
              <a:ext cx="1087553" cy="902787"/>
            </a:xfrm>
            <a:custGeom>
              <a:avLst/>
              <a:gdLst>
                <a:gd name="T0" fmla="*/ 167 w 196"/>
                <a:gd name="T1" fmla="*/ 142 h 163"/>
                <a:gd name="T2" fmla="*/ 170 w 196"/>
                <a:gd name="T3" fmla="*/ 48 h 163"/>
                <a:gd name="T4" fmla="*/ 167 w 196"/>
                <a:gd name="T5" fmla="*/ 57 h 163"/>
                <a:gd name="T6" fmla="*/ 75 w 196"/>
                <a:gd name="T7" fmla="*/ 3 h 163"/>
                <a:gd name="T8" fmla="*/ 0 w 196"/>
                <a:gd name="T9" fmla="*/ 26 h 163"/>
                <a:gd name="T10" fmla="*/ 20 w 196"/>
                <a:gd name="T11" fmla="*/ 60 h 163"/>
                <a:gd name="T12" fmla="*/ 77 w 196"/>
                <a:gd name="T13" fmla="*/ 124 h 163"/>
                <a:gd name="T14" fmla="*/ 119 w 196"/>
                <a:gd name="T15" fmla="*/ 134 h 163"/>
                <a:gd name="T16" fmla="*/ 102 w 196"/>
                <a:gd name="T17" fmla="*/ 139 h 163"/>
                <a:gd name="T18" fmla="*/ 161 w 196"/>
                <a:gd name="T19" fmla="*/ 163 h 163"/>
                <a:gd name="T20" fmla="*/ 81 w 196"/>
                <a:gd name="T21" fmla="*/ 35 h 163"/>
                <a:gd name="T22" fmla="*/ 167 w 196"/>
                <a:gd name="T23" fmla="*/ 142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6" h="163">
                  <a:moveTo>
                    <a:pt x="167" y="142"/>
                  </a:moveTo>
                  <a:cubicBezTo>
                    <a:pt x="167" y="142"/>
                    <a:pt x="196" y="98"/>
                    <a:pt x="170" y="48"/>
                  </a:cubicBezTo>
                  <a:cubicBezTo>
                    <a:pt x="167" y="57"/>
                    <a:pt x="167" y="57"/>
                    <a:pt x="167" y="57"/>
                  </a:cubicBezTo>
                  <a:cubicBezTo>
                    <a:pt x="167" y="57"/>
                    <a:pt x="152" y="0"/>
                    <a:pt x="75" y="3"/>
                  </a:cubicBezTo>
                  <a:cubicBezTo>
                    <a:pt x="21" y="6"/>
                    <a:pt x="0" y="26"/>
                    <a:pt x="0" y="26"/>
                  </a:cubicBezTo>
                  <a:cubicBezTo>
                    <a:pt x="0" y="26"/>
                    <a:pt x="19" y="23"/>
                    <a:pt x="20" y="60"/>
                  </a:cubicBezTo>
                  <a:cubicBezTo>
                    <a:pt x="21" y="81"/>
                    <a:pt x="43" y="116"/>
                    <a:pt x="77" y="124"/>
                  </a:cubicBezTo>
                  <a:cubicBezTo>
                    <a:pt x="111" y="131"/>
                    <a:pt x="119" y="134"/>
                    <a:pt x="119" y="134"/>
                  </a:cubicBezTo>
                  <a:cubicBezTo>
                    <a:pt x="102" y="139"/>
                    <a:pt x="102" y="139"/>
                    <a:pt x="102" y="139"/>
                  </a:cubicBezTo>
                  <a:cubicBezTo>
                    <a:pt x="102" y="139"/>
                    <a:pt x="159" y="140"/>
                    <a:pt x="161" y="163"/>
                  </a:cubicBezTo>
                  <a:cubicBezTo>
                    <a:pt x="161" y="163"/>
                    <a:pt x="157" y="56"/>
                    <a:pt x="81" y="35"/>
                  </a:cubicBezTo>
                  <a:cubicBezTo>
                    <a:pt x="81" y="35"/>
                    <a:pt x="153" y="45"/>
                    <a:pt x="167" y="142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</p:grpSp>
      <p:sp>
        <p:nvSpPr>
          <p:cNvPr id="85" name="椭圆 84">
            <a:extLst>
              <a:ext uri="{FF2B5EF4-FFF2-40B4-BE49-F238E27FC236}">
                <a16:creationId xmlns:a16="http://schemas.microsoft.com/office/drawing/2014/main" id="{FCED333D-08F6-4E09-85F0-BBA2AB6EF672}"/>
              </a:ext>
            </a:extLst>
          </p:cNvPr>
          <p:cNvSpPr/>
          <p:nvPr/>
        </p:nvSpPr>
        <p:spPr>
          <a:xfrm>
            <a:off x="2139760" y="1944008"/>
            <a:ext cx="1912880" cy="1912879"/>
          </a:xfrm>
          <a:prstGeom prst="ellipse">
            <a:avLst/>
          </a:prstGeom>
          <a:solidFill>
            <a:schemeClr val="bg1"/>
          </a:solidFill>
          <a:ln w="1270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86" name="任意多边形: 形状 85">
            <a:extLst>
              <a:ext uri="{FF2B5EF4-FFF2-40B4-BE49-F238E27FC236}">
                <a16:creationId xmlns:a16="http://schemas.microsoft.com/office/drawing/2014/main" id="{84901E4F-BC54-4F81-818C-5E6D10A77918}"/>
              </a:ext>
            </a:extLst>
          </p:cNvPr>
          <p:cNvSpPr/>
          <p:nvPr/>
        </p:nvSpPr>
        <p:spPr>
          <a:xfrm>
            <a:off x="2298374" y="1944008"/>
            <a:ext cx="1216721" cy="1641956"/>
          </a:xfrm>
          <a:custGeom>
            <a:avLst/>
            <a:gdLst>
              <a:gd name="connsiteX0" fmla="*/ 887090 w 1355175"/>
              <a:gd name="connsiteY0" fmla="*/ 0 h 1828800"/>
              <a:gd name="connsiteX1" fmla="*/ 996164 w 1355175"/>
              <a:gd name="connsiteY1" fmla="*/ 5508 h 1828800"/>
              <a:gd name="connsiteX2" fmla="*/ 1047944 w 1355175"/>
              <a:gd name="connsiteY2" fmla="*/ 13411 h 1828800"/>
              <a:gd name="connsiteX3" fmla="*/ 1111570 w 1355175"/>
              <a:gd name="connsiteY3" fmla="*/ 83416 h 1828800"/>
              <a:gd name="connsiteX4" fmla="*/ 1355175 w 1355175"/>
              <a:gd name="connsiteY4" fmla="*/ 762000 h 1828800"/>
              <a:gd name="connsiteX5" fmla="*/ 288375 w 1355175"/>
              <a:gd name="connsiteY5" fmla="*/ 1828800 h 1828800"/>
              <a:gd name="connsiteX6" fmla="*/ 179301 w 1355175"/>
              <a:gd name="connsiteY6" fmla="*/ 1823292 h 1828800"/>
              <a:gd name="connsiteX7" fmla="*/ 176223 w 1355175"/>
              <a:gd name="connsiteY7" fmla="*/ 1822822 h 1828800"/>
              <a:gd name="connsiteX8" fmla="*/ 254590 w 1355175"/>
              <a:gd name="connsiteY8" fmla="*/ 1814922 h 1828800"/>
              <a:gd name="connsiteX9" fmla="*/ 800005 w 1355175"/>
              <a:gd name="connsiteY9" fmla="*/ 1145721 h 1828800"/>
              <a:gd name="connsiteX10" fmla="*/ 116926 w 1355175"/>
              <a:gd name="connsiteY10" fmla="*/ 462642 h 1828800"/>
              <a:gd name="connsiteX11" fmla="*/ 0 w 1355175"/>
              <a:gd name="connsiteY11" fmla="*/ 474429 h 1828800"/>
              <a:gd name="connsiteX12" fmla="*/ 2483 w 1355175"/>
              <a:gd name="connsiteY12" fmla="*/ 470342 h 1828800"/>
              <a:gd name="connsiteX13" fmla="*/ 887090 w 1355175"/>
              <a:gd name="connsiteY13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355175" h="1828800">
                <a:moveTo>
                  <a:pt x="887090" y="0"/>
                </a:moveTo>
                <a:cubicBezTo>
                  <a:pt x="923914" y="0"/>
                  <a:pt x="960302" y="1866"/>
                  <a:pt x="996164" y="5508"/>
                </a:cubicBezTo>
                <a:lnTo>
                  <a:pt x="1047944" y="13411"/>
                </a:lnTo>
                <a:lnTo>
                  <a:pt x="1111570" y="83416"/>
                </a:lnTo>
                <a:cubicBezTo>
                  <a:pt x="1263755" y="267822"/>
                  <a:pt x="1355175" y="504235"/>
                  <a:pt x="1355175" y="762000"/>
                </a:cubicBezTo>
                <a:cubicBezTo>
                  <a:pt x="1355175" y="1351177"/>
                  <a:pt x="877552" y="1828800"/>
                  <a:pt x="288375" y="1828800"/>
                </a:cubicBezTo>
                <a:cubicBezTo>
                  <a:pt x="251552" y="1828800"/>
                  <a:pt x="215164" y="1826934"/>
                  <a:pt x="179301" y="1823292"/>
                </a:cubicBezTo>
                <a:lnTo>
                  <a:pt x="176223" y="1822822"/>
                </a:lnTo>
                <a:lnTo>
                  <a:pt x="254590" y="1814922"/>
                </a:lnTo>
                <a:cubicBezTo>
                  <a:pt x="565858" y="1751228"/>
                  <a:pt x="800005" y="1475818"/>
                  <a:pt x="800005" y="1145721"/>
                </a:cubicBezTo>
                <a:cubicBezTo>
                  <a:pt x="800005" y="768467"/>
                  <a:pt x="494180" y="462642"/>
                  <a:pt x="116926" y="462642"/>
                </a:cubicBezTo>
                <a:lnTo>
                  <a:pt x="0" y="474429"/>
                </a:lnTo>
                <a:lnTo>
                  <a:pt x="2483" y="470342"/>
                </a:lnTo>
                <a:cubicBezTo>
                  <a:pt x="194195" y="186571"/>
                  <a:pt x="518855" y="0"/>
                  <a:pt x="887090" y="0"/>
                </a:cubicBezTo>
                <a:close/>
              </a:path>
            </a:pathLst>
          </a:custGeom>
          <a:solidFill>
            <a:schemeClr val="accent1">
              <a:lumMod val="60000"/>
              <a:lumOff val="4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dirty="0"/>
          </a:p>
        </p:txBody>
      </p:sp>
      <p:sp>
        <p:nvSpPr>
          <p:cNvPr id="87" name="任意多边形: 形状 86">
            <a:extLst>
              <a:ext uri="{FF2B5EF4-FFF2-40B4-BE49-F238E27FC236}">
                <a16:creationId xmlns:a16="http://schemas.microsoft.com/office/drawing/2014/main" id="{654292C1-B529-46B1-9D8D-78CCEE0C1D84}"/>
              </a:ext>
            </a:extLst>
          </p:cNvPr>
          <p:cNvSpPr/>
          <p:nvPr/>
        </p:nvSpPr>
        <p:spPr>
          <a:xfrm>
            <a:off x="2422952" y="1956049"/>
            <a:ext cx="1629688" cy="1903575"/>
          </a:xfrm>
          <a:custGeom>
            <a:avLst/>
            <a:gdLst>
              <a:gd name="connsiteX0" fmla="*/ 909189 w 1815135"/>
              <a:gd name="connsiteY0" fmla="*/ 0 h 2120189"/>
              <a:gd name="connsiteX1" fmla="*/ 963332 w 1815135"/>
              <a:gd name="connsiteY1" fmla="*/ 8263 h 2120189"/>
              <a:gd name="connsiteX2" fmla="*/ 1815135 w 1815135"/>
              <a:gd name="connsiteY2" fmla="*/ 1053389 h 2120189"/>
              <a:gd name="connsiteX3" fmla="*/ 748335 w 1815135"/>
              <a:gd name="connsiteY3" fmla="*/ 2120189 h 2120189"/>
              <a:gd name="connsiteX4" fmla="*/ 69751 w 1815135"/>
              <a:gd name="connsiteY4" fmla="*/ 1876584 h 2120189"/>
              <a:gd name="connsiteX5" fmla="*/ 0 w 1815135"/>
              <a:gd name="connsiteY5" fmla="*/ 1813189 h 2120189"/>
              <a:gd name="connsiteX6" fmla="*/ 37468 w 1815135"/>
              <a:gd name="connsiteY6" fmla="*/ 1809411 h 2120189"/>
              <a:gd name="connsiteX7" fmla="*/ 40546 w 1815135"/>
              <a:gd name="connsiteY7" fmla="*/ 1809881 h 2120189"/>
              <a:gd name="connsiteX8" fmla="*/ 149620 w 1815135"/>
              <a:gd name="connsiteY8" fmla="*/ 1815389 h 2120189"/>
              <a:gd name="connsiteX9" fmla="*/ 1216420 w 1815135"/>
              <a:gd name="connsiteY9" fmla="*/ 748589 h 2120189"/>
              <a:gd name="connsiteX10" fmla="*/ 972815 w 1815135"/>
              <a:gd name="connsiteY10" fmla="*/ 70005 h 2120189"/>
              <a:gd name="connsiteX11" fmla="*/ 909189 w 1815135"/>
              <a:gd name="connsiteY11" fmla="*/ 0 h 2120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815135" h="2120189">
                <a:moveTo>
                  <a:pt x="909189" y="0"/>
                </a:moveTo>
                <a:lnTo>
                  <a:pt x="963332" y="8263"/>
                </a:lnTo>
                <a:cubicBezTo>
                  <a:pt x="1449455" y="107738"/>
                  <a:pt x="1815135" y="537859"/>
                  <a:pt x="1815135" y="1053389"/>
                </a:cubicBezTo>
                <a:cubicBezTo>
                  <a:pt x="1815135" y="1642566"/>
                  <a:pt x="1337512" y="2120189"/>
                  <a:pt x="748335" y="2120189"/>
                </a:cubicBezTo>
                <a:cubicBezTo>
                  <a:pt x="490570" y="2120189"/>
                  <a:pt x="254157" y="2028769"/>
                  <a:pt x="69751" y="1876584"/>
                </a:cubicBezTo>
                <a:lnTo>
                  <a:pt x="0" y="1813189"/>
                </a:lnTo>
                <a:lnTo>
                  <a:pt x="37468" y="1809411"/>
                </a:lnTo>
                <a:lnTo>
                  <a:pt x="40546" y="1809881"/>
                </a:lnTo>
                <a:cubicBezTo>
                  <a:pt x="76409" y="1813523"/>
                  <a:pt x="112797" y="1815389"/>
                  <a:pt x="149620" y="1815389"/>
                </a:cubicBezTo>
                <a:cubicBezTo>
                  <a:pt x="738797" y="1815389"/>
                  <a:pt x="1216420" y="1337766"/>
                  <a:pt x="1216420" y="748589"/>
                </a:cubicBezTo>
                <a:cubicBezTo>
                  <a:pt x="1216420" y="490824"/>
                  <a:pt x="1125000" y="254411"/>
                  <a:pt x="972815" y="70005"/>
                </a:cubicBezTo>
                <a:lnTo>
                  <a:pt x="909189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88" name="任意多边形: 形状 87">
            <a:extLst>
              <a:ext uri="{FF2B5EF4-FFF2-40B4-BE49-F238E27FC236}">
                <a16:creationId xmlns:a16="http://schemas.microsoft.com/office/drawing/2014/main" id="{FA606B19-6952-452F-82B5-F58770A9520C}"/>
              </a:ext>
            </a:extLst>
          </p:cNvPr>
          <p:cNvSpPr/>
          <p:nvPr/>
        </p:nvSpPr>
        <p:spPr>
          <a:xfrm>
            <a:off x="2137024" y="2359383"/>
            <a:ext cx="879621" cy="1221214"/>
          </a:xfrm>
          <a:custGeom>
            <a:avLst/>
            <a:gdLst>
              <a:gd name="connsiteX0" fmla="*/ 296636 w 979715"/>
              <a:gd name="connsiteY0" fmla="*/ 0 h 1360180"/>
              <a:gd name="connsiteX1" fmla="*/ 979715 w 979715"/>
              <a:gd name="connsiteY1" fmla="*/ 683079 h 1360180"/>
              <a:gd name="connsiteX2" fmla="*/ 434300 w 979715"/>
              <a:gd name="connsiteY2" fmla="*/ 1352280 h 1360180"/>
              <a:gd name="connsiteX3" fmla="*/ 355933 w 979715"/>
              <a:gd name="connsiteY3" fmla="*/ 1360180 h 1360180"/>
              <a:gd name="connsiteX4" fmla="*/ 307232 w 979715"/>
              <a:gd name="connsiteY4" fmla="*/ 1352748 h 1360180"/>
              <a:gd name="connsiteX5" fmla="*/ 243605 w 979715"/>
              <a:gd name="connsiteY5" fmla="*/ 1282742 h 1360180"/>
              <a:gd name="connsiteX6" fmla="*/ 0 w 979715"/>
              <a:gd name="connsiteY6" fmla="*/ 604158 h 1360180"/>
              <a:gd name="connsiteX7" fmla="*/ 128757 w 979715"/>
              <a:gd name="connsiteY7" fmla="*/ 95658 h 1360180"/>
              <a:gd name="connsiteX8" fmla="*/ 179710 w 979715"/>
              <a:gd name="connsiteY8" fmla="*/ 11787 h 1360180"/>
              <a:gd name="connsiteX9" fmla="*/ 296636 w 979715"/>
              <a:gd name="connsiteY9" fmla="*/ 0 h 1360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79715" h="1360180">
                <a:moveTo>
                  <a:pt x="296636" y="0"/>
                </a:moveTo>
                <a:cubicBezTo>
                  <a:pt x="673890" y="0"/>
                  <a:pt x="979715" y="305825"/>
                  <a:pt x="979715" y="683079"/>
                </a:cubicBezTo>
                <a:cubicBezTo>
                  <a:pt x="979715" y="1013176"/>
                  <a:pt x="745568" y="1288586"/>
                  <a:pt x="434300" y="1352280"/>
                </a:cubicBezTo>
                <a:lnTo>
                  <a:pt x="355933" y="1360180"/>
                </a:lnTo>
                <a:lnTo>
                  <a:pt x="307232" y="1352748"/>
                </a:lnTo>
                <a:lnTo>
                  <a:pt x="243605" y="1282742"/>
                </a:lnTo>
                <a:cubicBezTo>
                  <a:pt x="91420" y="1098336"/>
                  <a:pt x="0" y="861923"/>
                  <a:pt x="0" y="604158"/>
                </a:cubicBezTo>
                <a:cubicBezTo>
                  <a:pt x="0" y="420040"/>
                  <a:pt x="46643" y="246816"/>
                  <a:pt x="128757" y="95658"/>
                </a:cubicBezTo>
                <a:lnTo>
                  <a:pt x="179710" y="11787"/>
                </a:lnTo>
                <a:lnTo>
                  <a:pt x="296636" y="0"/>
                </a:lnTo>
                <a:close/>
              </a:path>
            </a:pathLst>
          </a:custGeom>
          <a:solidFill>
            <a:schemeClr val="accent1">
              <a:lumMod val="60000"/>
              <a:lumOff val="4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/>
          </a:p>
        </p:txBody>
      </p:sp>
      <p:sp>
        <p:nvSpPr>
          <p:cNvPr id="89" name="文本框 88">
            <a:extLst>
              <a:ext uri="{FF2B5EF4-FFF2-40B4-BE49-F238E27FC236}">
                <a16:creationId xmlns:a16="http://schemas.microsoft.com/office/drawing/2014/main" id="{5CB34215-1DE6-4CDB-A21A-94EEF33F74F2}"/>
              </a:ext>
            </a:extLst>
          </p:cNvPr>
          <p:cNvSpPr txBox="1"/>
          <p:nvPr/>
        </p:nvSpPr>
        <p:spPr>
          <a:xfrm>
            <a:off x="3385763" y="3193560"/>
            <a:ext cx="502062" cy="307777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/>
          <a:p>
            <a:pPr algn="ctr">
              <a:defRPr lang="zh-CN" altLang="en-US" sz="1050" b="0" i="0" u="none" strike="noStrike" kern="1200" baseline="0">
                <a:solidFill>
                  <a:schemeClr val="tx1">
                    <a:lumMod val="60000"/>
                    <a:lumOff val="40000"/>
                  </a:schemeClr>
                </a:solidFill>
                <a:latin typeface="Impact" panose="020B0806030902050204" pitchFamily="34" charset="0"/>
              </a:defRPr>
            </a:pPr>
            <a:r>
              <a:rPr lang="en-US" sz="140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50%</a:t>
            </a:r>
          </a:p>
        </p:txBody>
      </p:sp>
      <p:sp>
        <p:nvSpPr>
          <p:cNvPr id="90" name="文本框 89">
            <a:extLst>
              <a:ext uri="{FF2B5EF4-FFF2-40B4-BE49-F238E27FC236}">
                <a16:creationId xmlns:a16="http://schemas.microsoft.com/office/drawing/2014/main" id="{EFCAF3FE-8ABE-417E-BB83-32C34F977AB7}"/>
              </a:ext>
            </a:extLst>
          </p:cNvPr>
          <p:cNvSpPr txBox="1"/>
          <p:nvPr/>
        </p:nvSpPr>
        <p:spPr>
          <a:xfrm>
            <a:off x="2283129" y="2838733"/>
            <a:ext cx="495650" cy="307777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/>
          <a:p>
            <a:pPr algn="ctr">
              <a:defRPr lang="zh-CN" altLang="en-US" sz="1050" b="0" i="0" u="none" strike="noStrike" kern="1200" baseline="0">
                <a:solidFill>
                  <a:schemeClr val="tx1">
                    <a:lumMod val="60000"/>
                    <a:lumOff val="40000"/>
                  </a:schemeClr>
                </a:solidFill>
                <a:latin typeface="Impact" panose="020B0806030902050204" pitchFamily="34" charset="0"/>
              </a:defRPr>
            </a:pPr>
            <a:r>
              <a:rPr lang="en-US" sz="140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20%</a:t>
            </a:r>
          </a:p>
        </p:txBody>
      </p:sp>
      <p:sp>
        <p:nvSpPr>
          <p:cNvPr id="91" name="文本框 90">
            <a:extLst>
              <a:ext uri="{FF2B5EF4-FFF2-40B4-BE49-F238E27FC236}">
                <a16:creationId xmlns:a16="http://schemas.microsoft.com/office/drawing/2014/main" id="{D90253A2-C01F-4F98-87C4-FD033D56B2B5}"/>
              </a:ext>
            </a:extLst>
          </p:cNvPr>
          <p:cNvSpPr txBox="1"/>
          <p:nvPr/>
        </p:nvSpPr>
        <p:spPr>
          <a:xfrm>
            <a:off x="2817027" y="2173605"/>
            <a:ext cx="500458" cy="307777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/>
          <a:p>
            <a:pPr algn="ctr">
              <a:defRPr lang="zh-CN" altLang="en-US" sz="1050" b="0" i="0" u="none" strike="noStrike" kern="1200" baseline="0">
                <a:solidFill>
                  <a:schemeClr val="tx1">
                    <a:lumMod val="60000"/>
                    <a:lumOff val="40000"/>
                  </a:schemeClr>
                </a:solidFill>
                <a:latin typeface="Impact" panose="020B0806030902050204" pitchFamily="34" charset="0"/>
              </a:defRPr>
            </a:pPr>
            <a:r>
              <a:rPr lang="en-US" sz="1400">
                <a:solidFill>
                  <a:schemeClr val="bg1">
                    <a:lumMod val="100000"/>
                  </a:schemeClr>
                </a:solidFill>
                <a:latin typeface="Impact" panose="020B0806030902050204" pitchFamily="34" charset="0"/>
              </a:rPr>
              <a:t>30%</a:t>
            </a:r>
          </a:p>
        </p:txBody>
      </p: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DD155EB9-4819-4E68-B034-50A051B5EE68}"/>
              </a:ext>
            </a:extLst>
          </p:cNvPr>
          <p:cNvCxnSpPr/>
          <p:nvPr/>
        </p:nvCxnSpPr>
        <p:spPr>
          <a:xfrm>
            <a:off x="4033542" y="2317259"/>
            <a:ext cx="1188720" cy="0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  <a:prstDash val="sysDot"/>
            <a:headEnd type="none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文本框 81">
            <a:extLst>
              <a:ext uri="{FF2B5EF4-FFF2-40B4-BE49-F238E27FC236}">
                <a16:creationId xmlns:a16="http://schemas.microsoft.com/office/drawing/2014/main" id="{E7DD6F8C-ECA6-436D-9EDC-01F75C909B5B}"/>
              </a:ext>
            </a:extLst>
          </p:cNvPr>
          <p:cNvSpPr txBox="1"/>
          <p:nvPr/>
        </p:nvSpPr>
        <p:spPr>
          <a:xfrm>
            <a:off x="5255714" y="2342392"/>
            <a:ext cx="3185487" cy="551402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/>
          <a:p>
            <a:pPr lvl="0">
              <a:lnSpc>
                <a:spcPct val="130000"/>
              </a:lnSpc>
              <a:buSzPct val="25000"/>
              <a:defRPr/>
            </a:pPr>
            <a:r>
              <a:rPr lang="en-US" altLang="zh-CN" sz="1100" dirty="0"/>
              <a:t>Copy paste fonts. Choose the only option to retain text.</a:t>
            </a:r>
          </a:p>
        </p:txBody>
      </p:sp>
      <p:sp>
        <p:nvSpPr>
          <p:cNvPr id="83" name="文本框 82">
            <a:extLst>
              <a:ext uri="{FF2B5EF4-FFF2-40B4-BE49-F238E27FC236}">
                <a16:creationId xmlns:a16="http://schemas.microsoft.com/office/drawing/2014/main" id="{CD625FF8-5417-4F2D-B96D-9F03218DCC80}"/>
              </a:ext>
            </a:extLst>
          </p:cNvPr>
          <p:cNvSpPr txBox="1"/>
          <p:nvPr/>
        </p:nvSpPr>
        <p:spPr>
          <a:xfrm>
            <a:off x="5255714" y="1904313"/>
            <a:ext cx="3185487" cy="438080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/>
          <a:p>
            <a:r>
              <a:rPr lang="en-US" altLang="zh-CN" sz="2000" b="1" dirty="0">
                <a:solidFill>
                  <a:schemeClr val="dk1">
                    <a:lumMod val="100000"/>
                  </a:schemeClr>
                </a:solidFill>
              </a:rPr>
              <a:t>Text here</a:t>
            </a:r>
            <a:endParaRPr lang="zh-CN" altLang="en-US" sz="2000" b="1" dirty="0">
              <a:solidFill>
                <a:schemeClr val="dk1">
                  <a:lumMod val="100000"/>
                </a:schemeClr>
              </a:solidFill>
            </a:endParaRPr>
          </a:p>
        </p:txBody>
      </p:sp>
      <p:sp>
        <p:nvSpPr>
          <p:cNvPr id="78" name="文本框 77">
            <a:extLst>
              <a:ext uri="{FF2B5EF4-FFF2-40B4-BE49-F238E27FC236}">
                <a16:creationId xmlns:a16="http://schemas.microsoft.com/office/drawing/2014/main" id="{A39B4753-4FDD-400E-8B7B-033E5C10A929}"/>
              </a:ext>
            </a:extLst>
          </p:cNvPr>
          <p:cNvSpPr txBox="1"/>
          <p:nvPr/>
        </p:nvSpPr>
        <p:spPr>
          <a:xfrm>
            <a:off x="4190906" y="4395987"/>
            <a:ext cx="1630047" cy="590931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 fontScale="92500"/>
          </a:bodyPr>
          <a:lstStyle/>
          <a:p>
            <a:pPr lvl="0">
              <a:lnSpc>
                <a:spcPct val="150000"/>
              </a:lnSpc>
              <a:buSzPct val="25000"/>
              <a:defRPr/>
            </a:pPr>
            <a:r>
              <a:rPr lang="en-US" altLang="zh-CN" sz="1000" dirty="0"/>
              <a:t>Copy paste fonts. Choose the only option to retain text.</a:t>
            </a:r>
          </a:p>
        </p:txBody>
      </p:sp>
      <p:grpSp>
        <p:nvGrpSpPr>
          <p:cNvPr id="79" name="组合 78">
            <a:extLst>
              <a:ext uri="{FF2B5EF4-FFF2-40B4-BE49-F238E27FC236}">
                <a16:creationId xmlns:a16="http://schemas.microsoft.com/office/drawing/2014/main" id="{2C12EC72-5FF3-488A-9D8C-CCC39508609F}"/>
              </a:ext>
            </a:extLst>
          </p:cNvPr>
          <p:cNvGrpSpPr/>
          <p:nvPr/>
        </p:nvGrpSpPr>
        <p:grpSpPr>
          <a:xfrm>
            <a:off x="3522074" y="4376813"/>
            <a:ext cx="629278" cy="629278"/>
            <a:chOff x="3622260" y="4690925"/>
            <a:chExt cx="761316" cy="761316"/>
          </a:xfrm>
        </p:grpSpPr>
        <p:sp>
          <p:nvSpPr>
            <p:cNvPr id="80" name="矩形: 圆角 79">
              <a:extLst>
                <a:ext uri="{FF2B5EF4-FFF2-40B4-BE49-F238E27FC236}">
                  <a16:creationId xmlns:a16="http://schemas.microsoft.com/office/drawing/2014/main" id="{2C1BA965-2731-4456-BB3A-F39142C152B6}"/>
                </a:ext>
              </a:extLst>
            </p:cNvPr>
            <p:cNvSpPr/>
            <p:nvPr/>
          </p:nvSpPr>
          <p:spPr>
            <a:xfrm>
              <a:off x="3622260" y="4690925"/>
              <a:ext cx="761316" cy="761316"/>
            </a:xfrm>
            <a:prstGeom prst="roundRect">
              <a:avLst>
                <a:gd name="adj" fmla="val 35272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dirty="0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B6A00D0A-D9AF-4681-839D-3C7E1B0A9F54}"/>
                </a:ext>
              </a:extLst>
            </p:cNvPr>
            <p:cNvSpPr/>
            <p:nvPr/>
          </p:nvSpPr>
          <p:spPr>
            <a:xfrm>
              <a:off x="3860474" y="4900454"/>
              <a:ext cx="352260" cy="337233"/>
            </a:xfrm>
            <a:custGeom>
              <a:avLst/>
              <a:gdLst>
                <a:gd name="connsiteX0" fmla="*/ 203672 w 338280"/>
                <a:gd name="connsiteY0" fmla="*/ 246439 h 323850"/>
                <a:gd name="connsiteX1" fmla="*/ 209657 w 338280"/>
                <a:gd name="connsiteY1" fmla="*/ 252329 h 323850"/>
                <a:gd name="connsiteX2" fmla="*/ 238919 w 338280"/>
                <a:gd name="connsiteY2" fmla="*/ 305998 h 323850"/>
                <a:gd name="connsiteX3" fmla="*/ 233599 w 338280"/>
                <a:gd name="connsiteY3" fmla="*/ 316470 h 323850"/>
                <a:gd name="connsiteX4" fmla="*/ 197687 w 338280"/>
                <a:gd name="connsiteY4" fmla="*/ 252329 h 323850"/>
                <a:gd name="connsiteX5" fmla="*/ 203672 w 338280"/>
                <a:gd name="connsiteY5" fmla="*/ 246439 h 323850"/>
                <a:gd name="connsiteX6" fmla="*/ 251574 w 338280"/>
                <a:gd name="connsiteY6" fmla="*/ 214312 h 323850"/>
                <a:gd name="connsiteX7" fmla="*/ 283252 w 338280"/>
                <a:gd name="connsiteY7" fmla="*/ 222230 h 323850"/>
                <a:gd name="connsiteX8" fmla="*/ 314931 w 338280"/>
                <a:gd name="connsiteY8" fmla="*/ 275020 h 323850"/>
                <a:gd name="connsiteX9" fmla="*/ 316251 w 338280"/>
                <a:gd name="connsiteY9" fmla="*/ 285578 h 323850"/>
                <a:gd name="connsiteX10" fmla="*/ 325490 w 338280"/>
                <a:gd name="connsiteY10" fmla="*/ 313292 h 323850"/>
                <a:gd name="connsiteX11" fmla="*/ 328130 w 338280"/>
                <a:gd name="connsiteY11" fmla="*/ 319891 h 323850"/>
                <a:gd name="connsiteX12" fmla="*/ 322851 w 338280"/>
                <a:gd name="connsiteY12" fmla="*/ 323850 h 323850"/>
                <a:gd name="connsiteX13" fmla="*/ 321531 w 338280"/>
                <a:gd name="connsiteY13" fmla="*/ 323850 h 323850"/>
                <a:gd name="connsiteX14" fmla="*/ 293812 w 338280"/>
                <a:gd name="connsiteY14" fmla="*/ 310653 h 323850"/>
                <a:gd name="connsiteX15" fmla="*/ 288532 w 338280"/>
                <a:gd name="connsiteY15" fmla="*/ 301415 h 323850"/>
                <a:gd name="connsiteX16" fmla="*/ 279292 w 338280"/>
                <a:gd name="connsiteY16" fmla="*/ 288217 h 323850"/>
                <a:gd name="connsiteX17" fmla="*/ 276652 w 338280"/>
                <a:gd name="connsiteY17" fmla="*/ 289537 h 323850"/>
                <a:gd name="connsiteX18" fmla="*/ 276652 w 338280"/>
                <a:gd name="connsiteY18" fmla="*/ 290857 h 323850"/>
                <a:gd name="connsiteX19" fmla="*/ 280612 w 338280"/>
                <a:gd name="connsiteY19" fmla="*/ 294816 h 323850"/>
                <a:gd name="connsiteX20" fmla="*/ 284572 w 338280"/>
                <a:gd name="connsiteY20" fmla="*/ 301415 h 323850"/>
                <a:gd name="connsiteX21" fmla="*/ 279292 w 338280"/>
                <a:gd name="connsiteY21" fmla="*/ 308013 h 323850"/>
                <a:gd name="connsiteX22" fmla="*/ 272693 w 338280"/>
                <a:gd name="connsiteY22" fmla="*/ 308013 h 323850"/>
                <a:gd name="connsiteX23" fmla="*/ 215935 w 338280"/>
                <a:gd name="connsiteY23" fmla="*/ 259183 h 323850"/>
                <a:gd name="connsiteX24" fmla="*/ 218574 w 338280"/>
                <a:gd name="connsiteY24" fmla="*/ 226190 h 323850"/>
                <a:gd name="connsiteX25" fmla="*/ 218574 w 338280"/>
                <a:gd name="connsiteY25" fmla="*/ 224870 h 323850"/>
                <a:gd name="connsiteX26" fmla="*/ 221214 w 338280"/>
                <a:gd name="connsiteY26" fmla="*/ 222230 h 323850"/>
                <a:gd name="connsiteX27" fmla="*/ 251574 w 338280"/>
                <a:gd name="connsiteY27" fmla="*/ 214312 h 323850"/>
                <a:gd name="connsiteX28" fmla="*/ 248551 w 338280"/>
                <a:gd name="connsiteY28" fmla="*/ 198166 h 323850"/>
                <a:gd name="connsiteX29" fmla="*/ 308559 w 338280"/>
                <a:gd name="connsiteY29" fmla="*/ 219221 h 323850"/>
                <a:gd name="connsiteX30" fmla="*/ 325895 w 338280"/>
                <a:gd name="connsiteY30" fmla="*/ 246857 h 323850"/>
                <a:gd name="connsiteX31" fmla="*/ 337896 w 338280"/>
                <a:gd name="connsiteY31" fmla="*/ 287651 h 323850"/>
                <a:gd name="connsiteX32" fmla="*/ 325895 w 338280"/>
                <a:gd name="connsiteY32" fmla="*/ 290283 h 323850"/>
                <a:gd name="connsiteX33" fmla="*/ 301892 w 338280"/>
                <a:gd name="connsiteY33" fmla="*/ 229749 h 323850"/>
                <a:gd name="connsiteX34" fmla="*/ 248551 w 338280"/>
                <a:gd name="connsiteY34" fmla="*/ 210010 h 323850"/>
                <a:gd name="connsiteX35" fmla="*/ 248551 w 338280"/>
                <a:gd name="connsiteY35" fmla="*/ 198166 h 323850"/>
                <a:gd name="connsiteX36" fmla="*/ 146094 w 338280"/>
                <a:gd name="connsiteY36" fmla="*/ 133350 h 323850"/>
                <a:gd name="connsiteX37" fmla="*/ 134187 w 338280"/>
                <a:gd name="connsiteY37" fmla="*/ 145257 h 323850"/>
                <a:gd name="connsiteX38" fmla="*/ 146094 w 338280"/>
                <a:gd name="connsiteY38" fmla="*/ 157164 h 323850"/>
                <a:gd name="connsiteX39" fmla="*/ 158001 w 338280"/>
                <a:gd name="connsiteY39" fmla="*/ 145257 h 323850"/>
                <a:gd name="connsiteX40" fmla="*/ 146094 w 338280"/>
                <a:gd name="connsiteY40" fmla="*/ 133350 h 323850"/>
                <a:gd name="connsiteX41" fmla="*/ 80560 w 338280"/>
                <a:gd name="connsiteY41" fmla="*/ 50800 h 323850"/>
                <a:gd name="connsiteX42" fmla="*/ 60662 w 338280"/>
                <a:gd name="connsiteY42" fmla="*/ 58619 h 323850"/>
                <a:gd name="connsiteX43" fmla="*/ 52703 w 338280"/>
                <a:gd name="connsiteY43" fmla="*/ 87289 h 323850"/>
                <a:gd name="connsiteX44" fmla="*/ 71275 w 338280"/>
                <a:gd name="connsiteY44" fmla="*/ 118565 h 323850"/>
                <a:gd name="connsiteX45" fmla="*/ 111071 w 338280"/>
                <a:gd name="connsiteY45" fmla="*/ 138113 h 323850"/>
                <a:gd name="connsiteX46" fmla="*/ 132296 w 338280"/>
                <a:gd name="connsiteY46" fmla="*/ 130294 h 323850"/>
                <a:gd name="connsiteX47" fmla="*/ 121683 w 338280"/>
                <a:gd name="connsiteY47" fmla="*/ 69045 h 323850"/>
                <a:gd name="connsiteX48" fmla="*/ 80560 w 338280"/>
                <a:gd name="connsiteY48" fmla="*/ 50800 h 323850"/>
                <a:gd name="connsiteX49" fmla="*/ 32941 w 338280"/>
                <a:gd name="connsiteY49" fmla="*/ 0 h 323850"/>
                <a:gd name="connsiteX50" fmla="*/ 154073 w 338280"/>
                <a:gd name="connsiteY50" fmla="*/ 71005 h 323850"/>
                <a:gd name="connsiteX51" fmla="*/ 192256 w 338280"/>
                <a:gd name="connsiteY51" fmla="*/ 114396 h 323850"/>
                <a:gd name="connsiteX52" fmla="*/ 255455 w 338280"/>
                <a:gd name="connsiteY52" fmla="*/ 144639 h 323850"/>
                <a:gd name="connsiteX53" fmla="*/ 219905 w 338280"/>
                <a:gd name="connsiteY53" fmla="*/ 219588 h 323850"/>
                <a:gd name="connsiteX54" fmla="*/ 158023 w 338280"/>
                <a:gd name="connsiteY54" fmla="*/ 260350 h 323850"/>
                <a:gd name="connsiteX55" fmla="*/ 144856 w 338280"/>
                <a:gd name="connsiteY55" fmla="*/ 255090 h 323850"/>
                <a:gd name="connsiteX56" fmla="*/ 114573 w 338280"/>
                <a:gd name="connsiteY56" fmla="*/ 191975 h 323850"/>
                <a:gd name="connsiteX57" fmla="*/ 71124 w 338280"/>
                <a:gd name="connsiteY57" fmla="*/ 153843 h 323850"/>
                <a:gd name="connsiteX58" fmla="*/ 10558 w 338280"/>
                <a:gd name="connsiteY58" fmla="*/ 71005 h 323850"/>
                <a:gd name="connsiteX59" fmla="*/ 9241 w 338280"/>
                <a:gd name="connsiteY59" fmla="*/ 9204 h 323850"/>
                <a:gd name="connsiteX60" fmla="*/ 32941 w 338280"/>
                <a:gd name="connsiteY60" fmla="*/ 0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338280" h="323850">
                  <a:moveTo>
                    <a:pt x="203672" y="246439"/>
                  </a:moveTo>
                  <a:cubicBezTo>
                    <a:pt x="206665" y="246439"/>
                    <a:pt x="209657" y="248402"/>
                    <a:pt x="209657" y="252329"/>
                  </a:cubicBezTo>
                  <a:cubicBezTo>
                    <a:pt x="210988" y="271964"/>
                    <a:pt x="220298" y="295526"/>
                    <a:pt x="238919" y="305998"/>
                  </a:cubicBezTo>
                  <a:cubicBezTo>
                    <a:pt x="246900" y="308616"/>
                    <a:pt x="240249" y="319088"/>
                    <a:pt x="233599" y="316470"/>
                  </a:cubicBezTo>
                  <a:cubicBezTo>
                    <a:pt x="210988" y="304689"/>
                    <a:pt x="199017" y="275891"/>
                    <a:pt x="197687" y="252329"/>
                  </a:cubicBezTo>
                  <a:cubicBezTo>
                    <a:pt x="197687" y="248402"/>
                    <a:pt x="200679" y="246439"/>
                    <a:pt x="203672" y="246439"/>
                  </a:cubicBezTo>
                  <a:close/>
                  <a:moveTo>
                    <a:pt x="251574" y="214312"/>
                  </a:moveTo>
                  <a:cubicBezTo>
                    <a:pt x="262133" y="214312"/>
                    <a:pt x="274013" y="216951"/>
                    <a:pt x="283252" y="222230"/>
                  </a:cubicBezTo>
                  <a:cubicBezTo>
                    <a:pt x="307011" y="235428"/>
                    <a:pt x="312291" y="257863"/>
                    <a:pt x="314931" y="275020"/>
                  </a:cubicBezTo>
                  <a:cubicBezTo>
                    <a:pt x="316251" y="278979"/>
                    <a:pt x="316251" y="282938"/>
                    <a:pt x="316251" y="285578"/>
                  </a:cubicBezTo>
                  <a:cubicBezTo>
                    <a:pt x="317571" y="297455"/>
                    <a:pt x="318891" y="308013"/>
                    <a:pt x="325490" y="313292"/>
                  </a:cubicBezTo>
                  <a:cubicBezTo>
                    <a:pt x="328130" y="314612"/>
                    <a:pt x="329450" y="317251"/>
                    <a:pt x="328130" y="319891"/>
                  </a:cubicBezTo>
                  <a:cubicBezTo>
                    <a:pt x="328130" y="322530"/>
                    <a:pt x="325490" y="323850"/>
                    <a:pt x="322851" y="323850"/>
                  </a:cubicBezTo>
                  <a:cubicBezTo>
                    <a:pt x="322851" y="323850"/>
                    <a:pt x="321531" y="323850"/>
                    <a:pt x="321531" y="323850"/>
                  </a:cubicBezTo>
                  <a:cubicBezTo>
                    <a:pt x="309651" y="323850"/>
                    <a:pt x="300411" y="318571"/>
                    <a:pt x="293812" y="310653"/>
                  </a:cubicBezTo>
                  <a:cubicBezTo>
                    <a:pt x="292492" y="306693"/>
                    <a:pt x="289852" y="304054"/>
                    <a:pt x="288532" y="301415"/>
                  </a:cubicBezTo>
                  <a:cubicBezTo>
                    <a:pt x="285892" y="296136"/>
                    <a:pt x="281932" y="288217"/>
                    <a:pt x="279292" y="288217"/>
                  </a:cubicBezTo>
                  <a:cubicBezTo>
                    <a:pt x="277972" y="288217"/>
                    <a:pt x="277972" y="289537"/>
                    <a:pt x="276652" y="289537"/>
                  </a:cubicBezTo>
                  <a:cubicBezTo>
                    <a:pt x="276652" y="289537"/>
                    <a:pt x="276652" y="290857"/>
                    <a:pt x="276652" y="290857"/>
                  </a:cubicBezTo>
                  <a:cubicBezTo>
                    <a:pt x="276652" y="293496"/>
                    <a:pt x="277972" y="294816"/>
                    <a:pt x="280612" y="294816"/>
                  </a:cubicBezTo>
                  <a:cubicBezTo>
                    <a:pt x="283252" y="296136"/>
                    <a:pt x="285892" y="298775"/>
                    <a:pt x="284572" y="301415"/>
                  </a:cubicBezTo>
                  <a:cubicBezTo>
                    <a:pt x="284572" y="304054"/>
                    <a:pt x="283252" y="306693"/>
                    <a:pt x="279292" y="308013"/>
                  </a:cubicBezTo>
                  <a:cubicBezTo>
                    <a:pt x="277972" y="308013"/>
                    <a:pt x="275333" y="308013"/>
                    <a:pt x="272693" y="308013"/>
                  </a:cubicBezTo>
                  <a:cubicBezTo>
                    <a:pt x="246294" y="308013"/>
                    <a:pt x="221214" y="286897"/>
                    <a:pt x="215935" y="259183"/>
                  </a:cubicBezTo>
                  <a:cubicBezTo>
                    <a:pt x="213295" y="251265"/>
                    <a:pt x="211975" y="236748"/>
                    <a:pt x="218574" y="226190"/>
                  </a:cubicBezTo>
                  <a:cubicBezTo>
                    <a:pt x="218574" y="226190"/>
                    <a:pt x="218574" y="226190"/>
                    <a:pt x="218574" y="224870"/>
                  </a:cubicBezTo>
                  <a:cubicBezTo>
                    <a:pt x="219894" y="223550"/>
                    <a:pt x="219894" y="222230"/>
                    <a:pt x="221214" y="222230"/>
                  </a:cubicBezTo>
                  <a:cubicBezTo>
                    <a:pt x="230454" y="216951"/>
                    <a:pt x="241014" y="214312"/>
                    <a:pt x="251574" y="214312"/>
                  </a:cubicBezTo>
                  <a:close/>
                  <a:moveTo>
                    <a:pt x="248551" y="198166"/>
                  </a:moveTo>
                  <a:cubicBezTo>
                    <a:pt x="269887" y="196850"/>
                    <a:pt x="292557" y="203430"/>
                    <a:pt x="308559" y="219221"/>
                  </a:cubicBezTo>
                  <a:cubicBezTo>
                    <a:pt x="316560" y="227117"/>
                    <a:pt x="321894" y="236329"/>
                    <a:pt x="325895" y="246857"/>
                  </a:cubicBezTo>
                  <a:cubicBezTo>
                    <a:pt x="331229" y="260016"/>
                    <a:pt x="331229" y="274492"/>
                    <a:pt x="337896" y="287651"/>
                  </a:cubicBezTo>
                  <a:cubicBezTo>
                    <a:pt x="340563" y="294231"/>
                    <a:pt x="328562" y="296863"/>
                    <a:pt x="325895" y="290283"/>
                  </a:cubicBezTo>
                  <a:cubicBezTo>
                    <a:pt x="316560" y="269228"/>
                    <a:pt x="317894" y="246857"/>
                    <a:pt x="301892" y="229749"/>
                  </a:cubicBezTo>
                  <a:cubicBezTo>
                    <a:pt x="287223" y="215273"/>
                    <a:pt x="268554" y="210010"/>
                    <a:pt x="248551" y="210010"/>
                  </a:cubicBezTo>
                  <a:cubicBezTo>
                    <a:pt x="240550" y="210010"/>
                    <a:pt x="240550" y="198166"/>
                    <a:pt x="248551" y="198166"/>
                  </a:cubicBezTo>
                  <a:close/>
                  <a:moveTo>
                    <a:pt x="146094" y="133350"/>
                  </a:moveTo>
                  <a:cubicBezTo>
                    <a:pt x="139518" y="133350"/>
                    <a:pt x="134187" y="138681"/>
                    <a:pt x="134187" y="145257"/>
                  </a:cubicBezTo>
                  <a:cubicBezTo>
                    <a:pt x="134187" y="151833"/>
                    <a:pt x="139518" y="157164"/>
                    <a:pt x="146094" y="157164"/>
                  </a:cubicBezTo>
                  <a:cubicBezTo>
                    <a:pt x="152670" y="157164"/>
                    <a:pt x="158001" y="151833"/>
                    <a:pt x="158001" y="145257"/>
                  </a:cubicBezTo>
                  <a:cubicBezTo>
                    <a:pt x="158001" y="138681"/>
                    <a:pt x="152670" y="133350"/>
                    <a:pt x="146094" y="133350"/>
                  </a:cubicBezTo>
                  <a:close/>
                  <a:moveTo>
                    <a:pt x="80560" y="50800"/>
                  </a:moveTo>
                  <a:cubicBezTo>
                    <a:pt x="72601" y="50800"/>
                    <a:pt x="65968" y="53406"/>
                    <a:pt x="60662" y="58619"/>
                  </a:cubicBezTo>
                  <a:cubicBezTo>
                    <a:pt x="52703" y="65135"/>
                    <a:pt x="50050" y="75560"/>
                    <a:pt x="52703" y="87289"/>
                  </a:cubicBezTo>
                  <a:cubicBezTo>
                    <a:pt x="55356" y="99018"/>
                    <a:pt x="61989" y="109443"/>
                    <a:pt x="71275" y="118565"/>
                  </a:cubicBezTo>
                  <a:cubicBezTo>
                    <a:pt x="83213" y="130294"/>
                    <a:pt x="97805" y="138113"/>
                    <a:pt x="111071" y="138113"/>
                  </a:cubicBezTo>
                  <a:cubicBezTo>
                    <a:pt x="120357" y="138113"/>
                    <a:pt x="126990" y="135507"/>
                    <a:pt x="132296" y="130294"/>
                  </a:cubicBezTo>
                  <a:cubicBezTo>
                    <a:pt x="146888" y="115959"/>
                    <a:pt x="141582" y="89895"/>
                    <a:pt x="121683" y="69045"/>
                  </a:cubicBezTo>
                  <a:cubicBezTo>
                    <a:pt x="109744" y="57316"/>
                    <a:pt x="93826" y="50800"/>
                    <a:pt x="80560" y="50800"/>
                  </a:cubicBezTo>
                  <a:close/>
                  <a:moveTo>
                    <a:pt x="32941" y="0"/>
                  </a:moveTo>
                  <a:cubicBezTo>
                    <a:pt x="63224" y="0"/>
                    <a:pt x="111940" y="27613"/>
                    <a:pt x="154073" y="71005"/>
                  </a:cubicBezTo>
                  <a:cubicBezTo>
                    <a:pt x="168556" y="84154"/>
                    <a:pt x="181722" y="99932"/>
                    <a:pt x="192256" y="114396"/>
                  </a:cubicBezTo>
                  <a:cubicBezTo>
                    <a:pt x="221222" y="123601"/>
                    <a:pt x="248872" y="138064"/>
                    <a:pt x="255455" y="144639"/>
                  </a:cubicBezTo>
                  <a:cubicBezTo>
                    <a:pt x="273888" y="161733"/>
                    <a:pt x="243605" y="195920"/>
                    <a:pt x="219905" y="219588"/>
                  </a:cubicBezTo>
                  <a:cubicBezTo>
                    <a:pt x="190939" y="247201"/>
                    <a:pt x="172506" y="260350"/>
                    <a:pt x="158023" y="260350"/>
                  </a:cubicBezTo>
                  <a:cubicBezTo>
                    <a:pt x="152756" y="260350"/>
                    <a:pt x="148806" y="259035"/>
                    <a:pt x="144856" y="255090"/>
                  </a:cubicBezTo>
                  <a:cubicBezTo>
                    <a:pt x="138273" y="248516"/>
                    <a:pt x="123790" y="220903"/>
                    <a:pt x="114573" y="191975"/>
                  </a:cubicBezTo>
                  <a:cubicBezTo>
                    <a:pt x="100090" y="181456"/>
                    <a:pt x="84290" y="168307"/>
                    <a:pt x="71124" y="153843"/>
                  </a:cubicBezTo>
                  <a:cubicBezTo>
                    <a:pt x="43474" y="127545"/>
                    <a:pt x="22408" y="97303"/>
                    <a:pt x="10558" y="71005"/>
                  </a:cubicBezTo>
                  <a:cubicBezTo>
                    <a:pt x="-2609" y="43392"/>
                    <a:pt x="-3925" y="21038"/>
                    <a:pt x="9241" y="9204"/>
                  </a:cubicBezTo>
                  <a:cubicBezTo>
                    <a:pt x="14508" y="2630"/>
                    <a:pt x="22408" y="0"/>
                    <a:pt x="32941" y="0"/>
                  </a:cubicBez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85000" lnSpcReduction="20000"/>
            </a:bodyPr>
            <a:lstStyle/>
            <a:p>
              <a:pPr algn="ctr"/>
              <a:endParaRPr/>
            </a:p>
          </p:txBody>
        </p:sp>
      </p:grpSp>
      <p:sp>
        <p:nvSpPr>
          <p:cNvPr id="74" name="文本框 73">
            <a:extLst>
              <a:ext uri="{FF2B5EF4-FFF2-40B4-BE49-F238E27FC236}">
                <a16:creationId xmlns:a16="http://schemas.microsoft.com/office/drawing/2014/main" id="{5007F2AD-D39D-4A3C-908B-E19E10D8599F}"/>
              </a:ext>
            </a:extLst>
          </p:cNvPr>
          <p:cNvSpPr txBox="1"/>
          <p:nvPr/>
        </p:nvSpPr>
        <p:spPr>
          <a:xfrm>
            <a:off x="7039880" y="4395987"/>
            <a:ext cx="1630047" cy="590931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 fontScale="92500"/>
          </a:bodyPr>
          <a:lstStyle/>
          <a:p>
            <a:pPr lvl="0">
              <a:lnSpc>
                <a:spcPct val="150000"/>
              </a:lnSpc>
              <a:buSzPct val="25000"/>
              <a:defRPr/>
            </a:pPr>
            <a:r>
              <a:rPr lang="en-US" altLang="zh-CN" sz="1000" dirty="0"/>
              <a:t>Copy paste fonts. Choose the only option to retain text.</a:t>
            </a:r>
          </a:p>
        </p:txBody>
      </p:sp>
      <p:grpSp>
        <p:nvGrpSpPr>
          <p:cNvPr id="75" name="组合 74">
            <a:extLst>
              <a:ext uri="{FF2B5EF4-FFF2-40B4-BE49-F238E27FC236}">
                <a16:creationId xmlns:a16="http://schemas.microsoft.com/office/drawing/2014/main" id="{FD64C11B-3D18-484C-B001-70F9BDA75797}"/>
              </a:ext>
            </a:extLst>
          </p:cNvPr>
          <p:cNvGrpSpPr/>
          <p:nvPr/>
        </p:nvGrpSpPr>
        <p:grpSpPr>
          <a:xfrm>
            <a:off x="6371048" y="4376813"/>
            <a:ext cx="629278" cy="629278"/>
            <a:chOff x="6129305" y="4690925"/>
            <a:chExt cx="761316" cy="761316"/>
          </a:xfrm>
        </p:grpSpPr>
        <p:sp>
          <p:nvSpPr>
            <p:cNvPr id="76" name="矩形: 圆角 75">
              <a:extLst>
                <a:ext uri="{FF2B5EF4-FFF2-40B4-BE49-F238E27FC236}">
                  <a16:creationId xmlns:a16="http://schemas.microsoft.com/office/drawing/2014/main" id="{26C1E8B4-C0FE-4767-9158-5AAA10338318}"/>
                </a:ext>
              </a:extLst>
            </p:cNvPr>
            <p:cNvSpPr/>
            <p:nvPr/>
          </p:nvSpPr>
          <p:spPr>
            <a:xfrm>
              <a:off x="6129305" y="4690925"/>
              <a:ext cx="761316" cy="761316"/>
            </a:xfrm>
            <a:prstGeom prst="roundRect">
              <a:avLst>
                <a:gd name="adj" fmla="val 3527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23CE8272-B3F3-4F5B-81F6-ACB1291A4837}"/>
                </a:ext>
              </a:extLst>
            </p:cNvPr>
            <p:cNvSpPr/>
            <p:nvPr/>
          </p:nvSpPr>
          <p:spPr>
            <a:xfrm>
              <a:off x="6367520" y="4892940"/>
              <a:ext cx="352258" cy="352260"/>
            </a:xfrm>
            <a:custGeom>
              <a:avLst/>
              <a:gdLst>
                <a:gd name="connsiteX0" fmla="*/ 200152 w 335445"/>
                <a:gd name="connsiteY0" fmla="*/ 177088 h 335446"/>
                <a:gd name="connsiteX1" fmla="*/ 214487 w 335445"/>
                <a:gd name="connsiteY1" fmla="*/ 183022 h 335446"/>
                <a:gd name="connsiteX2" fmla="*/ 256189 w 335445"/>
                <a:gd name="connsiteY2" fmla="*/ 225225 h 335446"/>
                <a:gd name="connsiteX3" fmla="*/ 262053 w 335445"/>
                <a:gd name="connsiteY3" fmla="*/ 240392 h 335446"/>
                <a:gd name="connsiteX4" fmla="*/ 256436 w 335445"/>
                <a:gd name="connsiteY4" fmla="*/ 254920 h 335446"/>
                <a:gd name="connsiteX5" fmla="*/ 255540 w 335445"/>
                <a:gd name="connsiteY5" fmla="*/ 255798 h 335446"/>
                <a:gd name="connsiteX6" fmla="*/ 241854 w 335445"/>
                <a:gd name="connsiteY6" fmla="*/ 260834 h 335446"/>
                <a:gd name="connsiteX7" fmla="*/ 227519 w 335445"/>
                <a:gd name="connsiteY7" fmla="*/ 255559 h 335446"/>
                <a:gd name="connsiteX8" fmla="*/ 185817 w 335445"/>
                <a:gd name="connsiteY8" fmla="*/ 213356 h 335446"/>
                <a:gd name="connsiteX9" fmla="*/ 185817 w 335445"/>
                <a:gd name="connsiteY9" fmla="*/ 183022 h 335446"/>
                <a:gd name="connsiteX10" fmla="*/ 200152 w 335445"/>
                <a:gd name="connsiteY10" fmla="*/ 177088 h 335446"/>
                <a:gd name="connsiteX11" fmla="*/ 115027 w 335445"/>
                <a:gd name="connsiteY11" fmla="*/ 146534 h 335446"/>
                <a:gd name="connsiteX12" fmla="*/ 107150 w 335445"/>
                <a:gd name="connsiteY12" fmla="*/ 154616 h 335446"/>
                <a:gd name="connsiteX13" fmla="*/ 92710 w 335445"/>
                <a:gd name="connsiteY13" fmla="*/ 161350 h 335446"/>
                <a:gd name="connsiteX14" fmla="*/ 78270 w 335445"/>
                <a:gd name="connsiteY14" fmla="*/ 154616 h 335446"/>
                <a:gd name="connsiteX15" fmla="*/ 113714 w 335445"/>
                <a:gd name="connsiteY15" fmla="*/ 190984 h 335446"/>
                <a:gd name="connsiteX16" fmla="*/ 146533 w 335445"/>
                <a:gd name="connsiteY16" fmla="*/ 158656 h 335446"/>
                <a:gd name="connsiteX17" fmla="*/ 138656 w 335445"/>
                <a:gd name="connsiteY17" fmla="*/ 161350 h 335446"/>
                <a:gd name="connsiteX18" fmla="*/ 124216 w 335445"/>
                <a:gd name="connsiteY18" fmla="*/ 154616 h 335446"/>
                <a:gd name="connsiteX19" fmla="*/ 115027 w 335445"/>
                <a:gd name="connsiteY19" fmla="*/ 146534 h 335446"/>
                <a:gd name="connsiteX20" fmla="*/ 221146 w 335445"/>
                <a:gd name="connsiteY20" fmla="*/ 141771 h 335446"/>
                <a:gd name="connsiteX21" fmla="*/ 143358 w 335445"/>
                <a:gd name="connsiteY21" fmla="*/ 219559 h 335446"/>
                <a:gd name="connsiteX22" fmla="*/ 216383 w 335445"/>
                <a:gd name="connsiteY22" fmla="*/ 292584 h 335446"/>
                <a:gd name="connsiteX23" fmla="*/ 217971 w 335445"/>
                <a:gd name="connsiteY23" fmla="*/ 292584 h 335446"/>
                <a:gd name="connsiteX24" fmla="*/ 255540 w 335445"/>
                <a:gd name="connsiteY24" fmla="*/ 255798 h 335446"/>
                <a:gd name="connsiteX25" fmla="*/ 256189 w 335445"/>
                <a:gd name="connsiteY25" fmla="*/ 255559 h 335446"/>
                <a:gd name="connsiteX26" fmla="*/ 256436 w 335445"/>
                <a:gd name="connsiteY26" fmla="*/ 254920 h 335446"/>
                <a:gd name="connsiteX27" fmla="*/ 294171 w 335445"/>
                <a:gd name="connsiteY27" fmla="*/ 217971 h 335446"/>
                <a:gd name="connsiteX28" fmla="*/ 292584 w 335445"/>
                <a:gd name="connsiteY28" fmla="*/ 217971 h 335446"/>
                <a:gd name="connsiteX29" fmla="*/ 292584 w 335445"/>
                <a:gd name="connsiteY29" fmla="*/ 213209 h 335446"/>
                <a:gd name="connsiteX30" fmla="*/ 71424 w 335445"/>
                <a:gd name="connsiteY30" fmla="*/ 87796 h 335446"/>
                <a:gd name="connsiteX31" fmla="*/ 41758 w 335445"/>
                <a:gd name="connsiteY31" fmla="*/ 116558 h 335446"/>
                <a:gd name="connsiteX32" fmla="*/ 41758 w 335445"/>
                <a:gd name="connsiteY32" fmla="*/ 119172 h 335446"/>
                <a:gd name="connsiteX33" fmla="*/ 77873 w 335445"/>
                <a:gd name="connsiteY33" fmla="*/ 154471 h 335446"/>
                <a:gd name="connsiteX34" fmla="*/ 77873 w 335445"/>
                <a:gd name="connsiteY34" fmla="*/ 125709 h 335446"/>
                <a:gd name="connsiteX35" fmla="*/ 83033 w 335445"/>
                <a:gd name="connsiteY35" fmla="*/ 115250 h 335446"/>
                <a:gd name="connsiteX36" fmla="*/ 75294 w 335445"/>
                <a:gd name="connsiteY36" fmla="*/ 106099 h 335446"/>
                <a:gd name="connsiteX37" fmla="*/ 71424 w 335445"/>
                <a:gd name="connsiteY37" fmla="*/ 87796 h 335446"/>
                <a:gd name="connsiteX38" fmla="*/ 103278 w 335445"/>
                <a:gd name="connsiteY38" fmla="*/ 27471 h 335446"/>
                <a:gd name="connsiteX39" fmla="*/ 117723 w 335445"/>
                <a:gd name="connsiteY39" fmla="*/ 41863 h 335446"/>
                <a:gd name="connsiteX40" fmla="*/ 86208 w 335445"/>
                <a:gd name="connsiteY40" fmla="*/ 73264 h 335446"/>
                <a:gd name="connsiteX41" fmla="*/ 107218 w 335445"/>
                <a:gd name="connsiteY41" fmla="*/ 77189 h 335446"/>
                <a:gd name="connsiteX42" fmla="*/ 115097 w 335445"/>
                <a:gd name="connsiteY42" fmla="*/ 85040 h 335446"/>
                <a:gd name="connsiteX43" fmla="*/ 124288 w 335445"/>
                <a:gd name="connsiteY43" fmla="*/ 79806 h 335446"/>
                <a:gd name="connsiteX44" fmla="*/ 153177 w 335445"/>
                <a:gd name="connsiteY44" fmla="*/ 79806 h 335446"/>
                <a:gd name="connsiteX45" fmla="*/ 153177 w 335445"/>
                <a:gd name="connsiteY45" fmla="*/ 108591 h 335446"/>
                <a:gd name="connsiteX46" fmla="*/ 143985 w 335445"/>
                <a:gd name="connsiteY46" fmla="*/ 116441 h 335446"/>
                <a:gd name="connsiteX47" fmla="*/ 153177 w 335445"/>
                <a:gd name="connsiteY47" fmla="*/ 125600 h 335446"/>
                <a:gd name="connsiteX48" fmla="*/ 159743 w 335445"/>
                <a:gd name="connsiteY48" fmla="*/ 146534 h 335446"/>
                <a:gd name="connsiteX49" fmla="*/ 192571 w 335445"/>
                <a:gd name="connsiteY49" fmla="*/ 112516 h 335446"/>
                <a:gd name="connsiteX50" fmla="*/ 121662 w 335445"/>
                <a:gd name="connsiteY50" fmla="*/ 41863 h 335446"/>
                <a:gd name="connsiteX51" fmla="*/ 119990 w 335445"/>
                <a:gd name="connsiteY51" fmla="*/ 0 h 335446"/>
                <a:gd name="connsiteX52" fmla="*/ 151098 w 335445"/>
                <a:gd name="connsiteY52" fmla="*/ 12839 h 335446"/>
                <a:gd name="connsiteX53" fmla="*/ 323594 w 335445"/>
                <a:gd name="connsiteY53" fmla="*/ 184018 h 335446"/>
                <a:gd name="connsiteX54" fmla="*/ 335445 w 335445"/>
                <a:gd name="connsiteY54" fmla="*/ 215621 h 335446"/>
                <a:gd name="connsiteX55" fmla="*/ 323594 w 335445"/>
                <a:gd name="connsiteY55" fmla="*/ 247223 h 335446"/>
                <a:gd name="connsiteX56" fmla="*/ 248539 w 335445"/>
                <a:gd name="connsiteY56" fmla="*/ 323595 h 335446"/>
                <a:gd name="connsiteX57" fmla="*/ 216936 w 335445"/>
                <a:gd name="connsiteY57" fmla="*/ 335446 h 335446"/>
                <a:gd name="connsiteX58" fmla="*/ 185334 w 335445"/>
                <a:gd name="connsiteY58" fmla="*/ 323595 h 335446"/>
                <a:gd name="connsiteX59" fmla="*/ 98427 w 335445"/>
                <a:gd name="connsiteY59" fmla="*/ 236689 h 335446"/>
                <a:gd name="connsiteX60" fmla="*/ 12838 w 335445"/>
                <a:gd name="connsiteY60" fmla="*/ 151099 h 335446"/>
                <a:gd name="connsiteX61" fmla="*/ 12838 w 335445"/>
                <a:gd name="connsiteY61" fmla="*/ 87894 h 335446"/>
                <a:gd name="connsiteX62" fmla="*/ 20738 w 335445"/>
                <a:gd name="connsiteY62" fmla="*/ 79994 h 335446"/>
                <a:gd name="connsiteX63" fmla="*/ 16788 w 335445"/>
                <a:gd name="connsiteY63" fmla="*/ 77360 h 335446"/>
                <a:gd name="connsiteX64" fmla="*/ 16788 w 335445"/>
                <a:gd name="connsiteY64" fmla="*/ 41807 h 335446"/>
                <a:gd name="connsiteX65" fmla="*/ 40490 w 335445"/>
                <a:gd name="connsiteY65" fmla="*/ 23373 h 335446"/>
                <a:gd name="connsiteX66" fmla="*/ 58925 w 335445"/>
                <a:gd name="connsiteY66" fmla="*/ 20739 h 335446"/>
                <a:gd name="connsiteX67" fmla="*/ 78676 w 335445"/>
                <a:gd name="connsiteY67" fmla="*/ 23373 h 335446"/>
                <a:gd name="connsiteX68" fmla="*/ 87893 w 335445"/>
                <a:gd name="connsiteY68" fmla="*/ 12839 h 335446"/>
                <a:gd name="connsiteX69" fmla="*/ 119990 w 335445"/>
                <a:gd name="connsiteY69" fmla="*/ 0 h 335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335445" h="335446">
                  <a:moveTo>
                    <a:pt x="200152" y="177088"/>
                  </a:moveTo>
                  <a:cubicBezTo>
                    <a:pt x="205365" y="177087"/>
                    <a:pt x="210578" y="179066"/>
                    <a:pt x="214487" y="183022"/>
                  </a:cubicBezTo>
                  <a:lnTo>
                    <a:pt x="256189" y="225225"/>
                  </a:lnTo>
                  <a:cubicBezTo>
                    <a:pt x="260099" y="229841"/>
                    <a:pt x="262053" y="235117"/>
                    <a:pt x="262053" y="240392"/>
                  </a:cubicBezTo>
                  <a:lnTo>
                    <a:pt x="256436" y="254920"/>
                  </a:lnTo>
                  <a:lnTo>
                    <a:pt x="255540" y="255798"/>
                  </a:lnTo>
                  <a:lnTo>
                    <a:pt x="241854" y="260834"/>
                  </a:lnTo>
                  <a:cubicBezTo>
                    <a:pt x="237945" y="260834"/>
                    <a:pt x="231429" y="259515"/>
                    <a:pt x="227519" y="255559"/>
                  </a:cubicBezTo>
                  <a:cubicBezTo>
                    <a:pt x="227519" y="255559"/>
                    <a:pt x="227519" y="255559"/>
                    <a:pt x="185817" y="213356"/>
                  </a:cubicBezTo>
                  <a:cubicBezTo>
                    <a:pt x="176695" y="204124"/>
                    <a:pt x="176695" y="192254"/>
                    <a:pt x="185817" y="183022"/>
                  </a:cubicBezTo>
                  <a:cubicBezTo>
                    <a:pt x="189727" y="179066"/>
                    <a:pt x="194940" y="177087"/>
                    <a:pt x="200152" y="177088"/>
                  </a:cubicBezTo>
                  <a:close/>
                  <a:moveTo>
                    <a:pt x="115027" y="146534"/>
                  </a:moveTo>
                  <a:cubicBezTo>
                    <a:pt x="115027" y="146534"/>
                    <a:pt x="115027" y="146534"/>
                    <a:pt x="107150" y="154616"/>
                  </a:cubicBezTo>
                  <a:cubicBezTo>
                    <a:pt x="103212" y="158656"/>
                    <a:pt x="97961" y="161350"/>
                    <a:pt x="92710" y="161350"/>
                  </a:cubicBezTo>
                  <a:cubicBezTo>
                    <a:pt x="86146" y="161350"/>
                    <a:pt x="82208" y="158656"/>
                    <a:pt x="78270" y="154616"/>
                  </a:cubicBezTo>
                  <a:lnTo>
                    <a:pt x="113714" y="190984"/>
                  </a:lnTo>
                  <a:cubicBezTo>
                    <a:pt x="113714" y="190984"/>
                    <a:pt x="113714" y="190984"/>
                    <a:pt x="146533" y="158656"/>
                  </a:cubicBezTo>
                  <a:cubicBezTo>
                    <a:pt x="142595" y="161350"/>
                    <a:pt x="139969" y="161350"/>
                    <a:pt x="138656" y="161350"/>
                  </a:cubicBezTo>
                  <a:cubicBezTo>
                    <a:pt x="134718" y="161350"/>
                    <a:pt x="128154" y="158656"/>
                    <a:pt x="124216" y="154616"/>
                  </a:cubicBezTo>
                  <a:cubicBezTo>
                    <a:pt x="124216" y="154616"/>
                    <a:pt x="124216" y="154616"/>
                    <a:pt x="115027" y="146534"/>
                  </a:cubicBezTo>
                  <a:close/>
                  <a:moveTo>
                    <a:pt x="221146" y="141771"/>
                  </a:moveTo>
                  <a:lnTo>
                    <a:pt x="143358" y="219559"/>
                  </a:lnTo>
                  <a:lnTo>
                    <a:pt x="216383" y="292584"/>
                  </a:lnTo>
                  <a:lnTo>
                    <a:pt x="217971" y="292584"/>
                  </a:lnTo>
                  <a:lnTo>
                    <a:pt x="255540" y="255798"/>
                  </a:lnTo>
                  <a:lnTo>
                    <a:pt x="256189" y="255559"/>
                  </a:lnTo>
                  <a:lnTo>
                    <a:pt x="256436" y="254920"/>
                  </a:lnTo>
                  <a:lnTo>
                    <a:pt x="294171" y="217971"/>
                  </a:lnTo>
                  <a:lnTo>
                    <a:pt x="292584" y="217971"/>
                  </a:lnTo>
                  <a:lnTo>
                    <a:pt x="292584" y="213209"/>
                  </a:lnTo>
                  <a:close/>
                  <a:moveTo>
                    <a:pt x="71424" y="87796"/>
                  </a:moveTo>
                  <a:cubicBezTo>
                    <a:pt x="71424" y="87796"/>
                    <a:pt x="71424" y="87796"/>
                    <a:pt x="41758" y="116558"/>
                  </a:cubicBezTo>
                  <a:lnTo>
                    <a:pt x="41758" y="119172"/>
                  </a:lnTo>
                  <a:cubicBezTo>
                    <a:pt x="41758" y="119172"/>
                    <a:pt x="41758" y="119172"/>
                    <a:pt x="77873" y="154471"/>
                  </a:cubicBezTo>
                  <a:cubicBezTo>
                    <a:pt x="68845" y="146627"/>
                    <a:pt x="68845" y="133553"/>
                    <a:pt x="77873" y="125709"/>
                  </a:cubicBezTo>
                  <a:cubicBezTo>
                    <a:pt x="77873" y="125709"/>
                    <a:pt x="77873" y="125709"/>
                    <a:pt x="83033" y="115250"/>
                  </a:cubicBezTo>
                  <a:cubicBezTo>
                    <a:pt x="83033" y="115250"/>
                    <a:pt x="83033" y="115250"/>
                    <a:pt x="75294" y="106099"/>
                  </a:cubicBezTo>
                  <a:cubicBezTo>
                    <a:pt x="71424" y="102177"/>
                    <a:pt x="68845" y="94333"/>
                    <a:pt x="71424" y="87796"/>
                  </a:cubicBezTo>
                  <a:close/>
                  <a:moveTo>
                    <a:pt x="103278" y="27471"/>
                  </a:moveTo>
                  <a:cubicBezTo>
                    <a:pt x="103278" y="27471"/>
                    <a:pt x="103278" y="27471"/>
                    <a:pt x="117723" y="41863"/>
                  </a:cubicBezTo>
                  <a:cubicBezTo>
                    <a:pt x="117723" y="41863"/>
                    <a:pt x="117723" y="41863"/>
                    <a:pt x="86208" y="73264"/>
                  </a:cubicBezTo>
                  <a:cubicBezTo>
                    <a:pt x="94087" y="70647"/>
                    <a:pt x="100652" y="73264"/>
                    <a:pt x="107218" y="77189"/>
                  </a:cubicBezTo>
                  <a:cubicBezTo>
                    <a:pt x="107218" y="77189"/>
                    <a:pt x="107218" y="77189"/>
                    <a:pt x="115097" y="85040"/>
                  </a:cubicBezTo>
                  <a:cubicBezTo>
                    <a:pt x="115097" y="85040"/>
                    <a:pt x="115097" y="85040"/>
                    <a:pt x="124288" y="79806"/>
                  </a:cubicBezTo>
                  <a:cubicBezTo>
                    <a:pt x="132167" y="70647"/>
                    <a:pt x="143985" y="70647"/>
                    <a:pt x="153177" y="79806"/>
                  </a:cubicBezTo>
                  <a:cubicBezTo>
                    <a:pt x="161056" y="87656"/>
                    <a:pt x="161056" y="100740"/>
                    <a:pt x="153177" y="108591"/>
                  </a:cubicBezTo>
                  <a:cubicBezTo>
                    <a:pt x="153177" y="108591"/>
                    <a:pt x="153177" y="108591"/>
                    <a:pt x="143985" y="116441"/>
                  </a:cubicBezTo>
                  <a:cubicBezTo>
                    <a:pt x="143985" y="116441"/>
                    <a:pt x="143985" y="116441"/>
                    <a:pt x="153177" y="125600"/>
                  </a:cubicBezTo>
                  <a:cubicBezTo>
                    <a:pt x="159743" y="130833"/>
                    <a:pt x="161056" y="139992"/>
                    <a:pt x="159743" y="146534"/>
                  </a:cubicBezTo>
                  <a:cubicBezTo>
                    <a:pt x="159743" y="146534"/>
                    <a:pt x="159743" y="146534"/>
                    <a:pt x="192571" y="112516"/>
                  </a:cubicBezTo>
                  <a:cubicBezTo>
                    <a:pt x="192571" y="112516"/>
                    <a:pt x="192571" y="112516"/>
                    <a:pt x="121662" y="41863"/>
                  </a:cubicBezTo>
                  <a:close/>
                  <a:moveTo>
                    <a:pt x="119990" y="0"/>
                  </a:moveTo>
                  <a:cubicBezTo>
                    <a:pt x="131676" y="0"/>
                    <a:pt x="143197" y="4280"/>
                    <a:pt x="151098" y="12839"/>
                  </a:cubicBezTo>
                  <a:lnTo>
                    <a:pt x="323594" y="184018"/>
                  </a:lnTo>
                  <a:cubicBezTo>
                    <a:pt x="331495" y="193236"/>
                    <a:pt x="335445" y="203770"/>
                    <a:pt x="335445" y="215621"/>
                  </a:cubicBezTo>
                  <a:cubicBezTo>
                    <a:pt x="335445" y="228788"/>
                    <a:pt x="331495" y="239323"/>
                    <a:pt x="323594" y="247223"/>
                  </a:cubicBezTo>
                  <a:cubicBezTo>
                    <a:pt x="323594" y="247223"/>
                    <a:pt x="323594" y="247223"/>
                    <a:pt x="248539" y="323595"/>
                  </a:cubicBezTo>
                  <a:cubicBezTo>
                    <a:pt x="239321" y="331496"/>
                    <a:pt x="228787" y="335446"/>
                    <a:pt x="216936" y="335446"/>
                  </a:cubicBezTo>
                  <a:cubicBezTo>
                    <a:pt x="203769" y="335446"/>
                    <a:pt x="193235" y="331496"/>
                    <a:pt x="185334" y="323595"/>
                  </a:cubicBezTo>
                  <a:cubicBezTo>
                    <a:pt x="185334" y="323595"/>
                    <a:pt x="185334" y="323595"/>
                    <a:pt x="98427" y="236689"/>
                  </a:cubicBezTo>
                  <a:cubicBezTo>
                    <a:pt x="98427" y="236689"/>
                    <a:pt x="98427" y="236689"/>
                    <a:pt x="12838" y="151099"/>
                  </a:cubicBezTo>
                  <a:cubicBezTo>
                    <a:pt x="-4280" y="131347"/>
                    <a:pt x="-4280" y="105012"/>
                    <a:pt x="12838" y="87894"/>
                  </a:cubicBezTo>
                  <a:cubicBezTo>
                    <a:pt x="12838" y="87894"/>
                    <a:pt x="12838" y="87894"/>
                    <a:pt x="20738" y="79994"/>
                  </a:cubicBezTo>
                  <a:cubicBezTo>
                    <a:pt x="20738" y="79994"/>
                    <a:pt x="20738" y="79994"/>
                    <a:pt x="16788" y="77360"/>
                  </a:cubicBezTo>
                  <a:cubicBezTo>
                    <a:pt x="6254" y="66826"/>
                    <a:pt x="6254" y="52342"/>
                    <a:pt x="16788" y="41807"/>
                  </a:cubicBezTo>
                  <a:cubicBezTo>
                    <a:pt x="16788" y="41807"/>
                    <a:pt x="16788" y="41807"/>
                    <a:pt x="40490" y="23373"/>
                  </a:cubicBezTo>
                  <a:cubicBezTo>
                    <a:pt x="44440" y="18106"/>
                    <a:pt x="52341" y="20739"/>
                    <a:pt x="58925" y="20739"/>
                  </a:cubicBezTo>
                  <a:cubicBezTo>
                    <a:pt x="65508" y="20739"/>
                    <a:pt x="72092" y="18106"/>
                    <a:pt x="78676" y="23373"/>
                  </a:cubicBezTo>
                  <a:cubicBezTo>
                    <a:pt x="78676" y="23373"/>
                    <a:pt x="78676" y="23373"/>
                    <a:pt x="87893" y="12839"/>
                  </a:cubicBezTo>
                  <a:cubicBezTo>
                    <a:pt x="96452" y="4280"/>
                    <a:pt x="108303" y="0"/>
                    <a:pt x="119990" y="0"/>
                  </a:cubicBez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85000" lnSpcReduction="20000"/>
            </a:bodyPr>
            <a:lstStyle/>
            <a:p>
              <a:pPr algn="ctr"/>
              <a:endParaRPr/>
            </a:p>
          </p:txBody>
        </p:sp>
      </p:grpSp>
      <p:sp>
        <p:nvSpPr>
          <p:cNvPr id="70" name="文本框 69">
            <a:extLst>
              <a:ext uri="{FF2B5EF4-FFF2-40B4-BE49-F238E27FC236}">
                <a16:creationId xmlns:a16="http://schemas.microsoft.com/office/drawing/2014/main" id="{35B15245-C30D-4B8C-B208-2AAFCA43E2F3}"/>
              </a:ext>
            </a:extLst>
          </p:cNvPr>
          <p:cNvSpPr txBox="1"/>
          <p:nvPr/>
        </p:nvSpPr>
        <p:spPr>
          <a:xfrm>
            <a:off x="9888853" y="4395987"/>
            <a:ext cx="1630047" cy="590931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 fontScale="92500"/>
          </a:bodyPr>
          <a:lstStyle/>
          <a:p>
            <a:pPr lvl="0">
              <a:lnSpc>
                <a:spcPct val="150000"/>
              </a:lnSpc>
              <a:buSzPct val="25000"/>
              <a:defRPr/>
            </a:pPr>
            <a:r>
              <a:rPr lang="en-US" altLang="zh-CN" sz="1000" dirty="0"/>
              <a:t>Copy paste fonts. Choose the only option to retain text.</a:t>
            </a:r>
          </a:p>
        </p:txBody>
      </p:sp>
      <p:grpSp>
        <p:nvGrpSpPr>
          <p:cNvPr id="71" name="组合 70">
            <a:extLst>
              <a:ext uri="{FF2B5EF4-FFF2-40B4-BE49-F238E27FC236}">
                <a16:creationId xmlns:a16="http://schemas.microsoft.com/office/drawing/2014/main" id="{1CF15904-1D6D-4603-B977-C0C1AE4E35D5}"/>
              </a:ext>
            </a:extLst>
          </p:cNvPr>
          <p:cNvGrpSpPr/>
          <p:nvPr/>
        </p:nvGrpSpPr>
        <p:grpSpPr>
          <a:xfrm>
            <a:off x="9220023" y="4376813"/>
            <a:ext cx="629278" cy="629278"/>
            <a:chOff x="8636350" y="4690925"/>
            <a:chExt cx="761316" cy="761316"/>
          </a:xfrm>
        </p:grpSpPr>
        <p:sp>
          <p:nvSpPr>
            <p:cNvPr id="72" name="矩形: 圆角 71">
              <a:extLst>
                <a:ext uri="{FF2B5EF4-FFF2-40B4-BE49-F238E27FC236}">
                  <a16:creationId xmlns:a16="http://schemas.microsoft.com/office/drawing/2014/main" id="{9AC20E0C-5E80-4D95-A905-13B142F4B630}"/>
                </a:ext>
              </a:extLst>
            </p:cNvPr>
            <p:cNvSpPr/>
            <p:nvPr/>
          </p:nvSpPr>
          <p:spPr>
            <a:xfrm>
              <a:off x="8636350" y="4690925"/>
              <a:ext cx="761316" cy="761316"/>
            </a:xfrm>
            <a:prstGeom prst="roundRect">
              <a:avLst>
                <a:gd name="adj" fmla="val 35272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9BB873F3-CFFA-4A7F-9626-2B77CBBA3A37}"/>
                </a:ext>
              </a:extLst>
            </p:cNvPr>
            <p:cNvSpPr/>
            <p:nvPr/>
          </p:nvSpPr>
          <p:spPr>
            <a:xfrm>
              <a:off x="8874564" y="4921055"/>
              <a:ext cx="352260" cy="296031"/>
            </a:xfrm>
            <a:custGeom>
              <a:avLst/>
              <a:gdLst>
                <a:gd name="connsiteX0" fmla="*/ 120521 w 338138"/>
                <a:gd name="connsiteY0" fmla="*/ 168275 h 284163"/>
                <a:gd name="connsiteX1" fmla="*/ 217618 w 338138"/>
                <a:gd name="connsiteY1" fmla="*/ 168275 h 284163"/>
                <a:gd name="connsiteX2" fmla="*/ 233363 w 338138"/>
                <a:gd name="connsiteY2" fmla="*/ 184840 h 284163"/>
                <a:gd name="connsiteX3" fmla="*/ 217618 w 338138"/>
                <a:gd name="connsiteY3" fmla="*/ 200025 h 284163"/>
                <a:gd name="connsiteX4" fmla="*/ 120521 w 338138"/>
                <a:gd name="connsiteY4" fmla="*/ 200025 h 284163"/>
                <a:gd name="connsiteX5" fmla="*/ 104775 w 338138"/>
                <a:gd name="connsiteY5" fmla="*/ 184840 h 284163"/>
                <a:gd name="connsiteX6" fmla="*/ 120521 w 338138"/>
                <a:gd name="connsiteY6" fmla="*/ 168275 h 284163"/>
                <a:gd name="connsiteX7" fmla="*/ 30163 w 338138"/>
                <a:gd name="connsiteY7" fmla="*/ 112712 h 284163"/>
                <a:gd name="connsiteX8" fmla="*/ 30163 w 338138"/>
                <a:gd name="connsiteY8" fmla="*/ 255587 h 284163"/>
                <a:gd name="connsiteX9" fmla="*/ 307976 w 338138"/>
                <a:gd name="connsiteY9" fmla="*/ 255587 h 284163"/>
                <a:gd name="connsiteX10" fmla="*/ 307976 w 338138"/>
                <a:gd name="connsiteY10" fmla="*/ 112712 h 284163"/>
                <a:gd name="connsiteX11" fmla="*/ 57150 w 338138"/>
                <a:gd name="connsiteY11" fmla="*/ 30162 h 284163"/>
                <a:gd name="connsiteX12" fmla="*/ 38100 w 338138"/>
                <a:gd name="connsiteY12" fmla="*/ 84137 h 284163"/>
                <a:gd name="connsiteX13" fmla="*/ 301625 w 338138"/>
                <a:gd name="connsiteY13" fmla="*/ 84137 h 284163"/>
                <a:gd name="connsiteX14" fmla="*/ 280988 w 338138"/>
                <a:gd name="connsiteY14" fmla="*/ 30162 h 284163"/>
                <a:gd name="connsiteX15" fmla="*/ 46230 w 338138"/>
                <a:gd name="connsiteY15" fmla="*/ 0 h 284163"/>
                <a:gd name="connsiteX16" fmla="*/ 291908 w 338138"/>
                <a:gd name="connsiteY16" fmla="*/ 0 h 284163"/>
                <a:gd name="connsiteX17" fmla="*/ 306438 w 338138"/>
                <a:gd name="connsiteY17" fmla="*/ 9209 h 284163"/>
                <a:gd name="connsiteX18" fmla="*/ 336817 w 338138"/>
                <a:gd name="connsiteY18" fmla="*/ 92090 h 284163"/>
                <a:gd name="connsiteX19" fmla="*/ 338138 w 338138"/>
                <a:gd name="connsiteY19" fmla="*/ 94721 h 284163"/>
                <a:gd name="connsiteX20" fmla="*/ 338138 w 338138"/>
                <a:gd name="connsiteY20" fmla="*/ 97352 h 284163"/>
                <a:gd name="connsiteX21" fmla="*/ 338138 w 338138"/>
                <a:gd name="connsiteY21" fmla="*/ 269692 h 284163"/>
                <a:gd name="connsiteX22" fmla="*/ 322288 w 338138"/>
                <a:gd name="connsiteY22" fmla="*/ 284163 h 284163"/>
                <a:gd name="connsiteX23" fmla="*/ 15850 w 338138"/>
                <a:gd name="connsiteY23" fmla="*/ 284163 h 284163"/>
                <a:gd name="connsiteX24" fmla="*/ 0 w 338138"/>
                <a:gd name="connsiteY24" fmla="*/ 269692 h 284163"/>
                <a:gd name="connsiteX25" fmla="*/ 0 w 338138"/>
                <a:gd name="connsiteY25" fmla="*/ 97352 h 284163"/>
                <a:gd name="connsiteX26" fmla="*/ 0 w 338138"/>
                <a:gd name="connsiteY26" fmla="*/ 94721 h 284163"/>
                <a:gd name="connsiteX27" fmla="*/ 1321 w 338138"/>
                <a:gd name="connsiteY27" fmla="*/ 92090 h 284163"/>
                <a:gd name="connsiteX28" fmla="*/ 31700 w 338138"/>
                <a:gd name="connsiteY28" fmla="*/ 9209 h 284163"/>
                <a:gd name="connsiteX29" fmla="*/ 46230 w 338138"/>
                <a:gd name="connsiteY29" fmla="*/ 0 h 284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38138" h="284163">
                  <a:moveTo>
                    <a:pt x="120521" y="168275"/>
                  </a:moveTo>
                  <a:cubicBezTo>
                    <a:pt x="120521" y="168275"/>
                    <a:pt x="120521" y="168275"/>
                    <a:pt x="217618" y="168275"/>
                  </a:cubicBezTo>
                  <a:cubicBezTo>
                    <a:pt x="226803" y="168275"/>
                    <a:pt x="233363" y="175177"/>
                    <a:pt x="233363" y="184840"/>
                  </a:cubicBezTo>
                  <a:cubicBezTo>
                    <a:pt x="233363" y="193123"/>
                    <a:pt x="226803" y="200025"/>
                    <a:pt x="217618" y="200025"/>
                  </a:cubicBezTo>
                  <a:cubicBezTo>
                    <a:pt x="217618" y="200025"/>
                    <a:pt x="217618" y="200025"/>
                    <a:pt x="120521" y="200025"/>
                  </a:cubicBezTo>
                  <a:cubicBezTo>
                    <a:pt x="111336" y="200025"/>
                    <a:pt x="104775" y="193123"/>
                    <a:pt x="104775" y="184840"/>
                  </a:cubicBezTo>
                  <a:cubicBezTo>
                    <a:pt x="104775" y="175177"/>
                    <a:pt x="111336" y="168275"/>
                    <a:pt x="120521" y="168275"/>
                  </a:cubicBezTo>
                  <a:close/>
                  <a:moveTo>
                    <a:pt x="30163" y="112712"/>
                  </a:moveTo>
                  <a:lnTo>
                    <a:pt x="30163" y="255587"/>
                  </a:lnTo>
                  <a:lnTo>
                    <a:pt x="307976" y="255587"/>
                  </a:lnTo>
                  <a:lnTo>
                    <a:pt x="307976" y="112712"/>
                  </a:lnTo>
                  <a:close/>
                  <a:moveTo>
                    <a:pt x="57150" y="30162"/>
                  </a:moveTo>
                  <a:lnTo>
                    <a:pt x="38100" y="84137"/>
                  </a:lnTo>
                  <a:lnTo>
                    <a:pt x="301625" y="84137"/>
                  </a:lnTo>
                  <a:lnTo>
                    <a:pt x="280988" y="30162"/>
                  </a:lnTo>
                  <a:close/>
                  <a:moveTo>
                    <a:pt x="46230" y="0"/>
                  </a:moveTo>
                  <a:cubicBezTo>
                    <a:pt x="46230" y="0"/>
                    <a:pt x="46230" y="0"/>
                    <a:pt x="291908" y="0"/>
                  </a:cubicBezTo>
                  <a:cubicBezTo>
                    <a:pt x="298513" y="0"/>
                    <a:pt x="305117" y="3946"/>
                    <a:pt x="306438" y="9209"/>
                  </a:cubicBezTo>
                  <a:cubicBezTo>
                    <a:pt x="306438" y="9209"/>
                    <a:pt x="306438" y="9209"/>
                    <a:pt x="336817" y="92090"/>
                  </a:cubicBezTo>
                  <a:cubicBezTo>
                    <a:pt x="336817" y="93405"/>
                    <a:pt x="338138" y="93405"/>
                    <a:pt x="338138" y="94721"/>
                  </a:cubicBezTo>
                  <a:cubicBezTo>
                    <a:pt x="338138" y="94721"/>
                    <a:pt x="338138" y="96036"/>
                    <a:pt x="338138" y="97352"/>
                  </a:cubicBezTo>
                  <a:cubicBezTo>
                    <a:pt x="338138" y="97352"/>
                    <a:pt x="338138" y="97352"/>
                    <a:pt x="338138" y="269692"/>
                  </a:cubicBezTo>
                  <a:cubicBezTo>
                    <a:pt x="338138" y="277585"/>
                    <a:pt x="331534" y="284163"/>
                    <a:pt x="322288" y="284163"/>
                  </a:cubicBezTo>
                  <a:cubicBezTo>
                    <a:pt x="322288" y="284163"/>
                    <a:pt x="322288" y="284163"/>
                    <a:pt x="15850" y="284163"/>
                  </a:cubicBezTo>
                  <a:cubicBezTo>
                    <a:pt x="6604" y="284163"/>
                    <a:pt x="0" y="277585"/>
                    <a:pt x="0" y="269692"/>
                  </a:cubicBezTo>
                  <a:cubicBezTo>
                    <a:pt x="0" y="269692"/>
                    <a:pt x="0" y="269692"/>
                    <a:pt x="0" y="97352"/>
                  </a:cubicBezTo>
                  <a:cubicBezTo>
                    <a:pt x="0" y="96036"/>
                    <a:pt x="0" y="94721"/>
                    <a:pt x="0" y="94721"/>
                  </a:cubicBezTo>
                  <a:cubicBezTo>
                    <a:pt x="0" y="93405"/>
                    <a:pt x="1321" y="93405"/>
                    <a:pt x="1321" y="92090"/>
                  </a:cubicBezTo>
                  <a:cubicBezTo>
                    <a:pt x="1321" y="92090"/>
                    <a:pt x="1321" y="92090"/>
                    <a:pt x="31700" y="9209"/>
                  </a:cubicBezTo>
                  <a:cubicBezTo>
                    <a:pt x="33021" y="3946"/>
                    <a:pt x="39625" y="0"/>
                    <a:pt x="46230" y="0"/>
                  </a:cubicBez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/>
            </a:p>
          </p:txBody>
        </p:sp>
      </p:grpSp>
      <p:sp>
        <p:nvSpPr>
          <p:cNvPr id="66" name="文本框 65">
            <a:extLst>
              <a:ext uri="{FF2B5EF4-FFF2-40B4-BE49-F238E27FC236}">
                <a16:creationId xmlns:a16="http://schemas.microsoft.com/office/drawing/2014/main" id="{AD33BEEE-8740-41EF-98B4-5010372A02A0}"/>
              </a:ext>
            </a:extLst>
          </p:cNvPr>
          <p:cNvSpPr txBox="1"/>
          <p:nvPr/>
        </p:nvSpPr>
        <p:spPr>
          <a:xfrm>
            <a:off x="1341932" y="4395987"/>
            <a:ext cx="1630047" cy="590931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 fontScale="92500"/>
          </a:bodyPr>
          <a:lstStyle/>
          <a:p>
            <a:pPr lvl="0">
              <a:lnSpc>
                <a:spcPct val="150000"/>
              </a:lnSpc>
              <a:buSzPct val="25000"/>
              <a:defRPr/>
            </a:pPr>
            <a:r>
              <a:rPr lang="en-US" altLang="zh-CN" sz="1000" dirty="0"/>
              <a:t>Copy paste fonts. Choose the only option to retain text.</a:t>
            </a:r>
          </a:p>
        </p:txBody>
      </p:sp>
      <p:grpSp>
        <p:nvGrpSpPr>
          <p:cNvPr id="67" name="组合 66">
            <a:extLst>
              <a:ext uri="{FF2B5EF4-FFF2-40B4-BE49-F238E27FC236}">
                <a16:creationId xmlns:a16="http://schemas.microsoft.com/office/drawing/2014/main" id="{019328B5-CDEA-4667-A931-66A7E637B304}"/>
              </a:ext>
            </a:extLst>
          </p:cNvPr>
          <p:cNvGrpSpPr/>
          <p:nvPr/>
        </p:nvGrpSpPr>
        <p:grpSpPr>
          <a:xfrm>
            <a:off x="673100" y="4376813"/>
            <a:ext cx="629278" cy="629278"/>
            <a:chOff x="1115215" y="4690925"/>
            <a:chExt cx="761316" cy="761316"/>
          </a:xfrm>
        </p:grpSpPr>
        <p:sp>
          <p:nvSpPr>
            <p:cNvPr id="68" name="矩形: 圆角 67">
              <a:extLst>
                <a:ext uri="{FF2B5EF4-FFF2-40B4-BE49-F238E27FC236}">
                  <a16:creationId xmlns:a16="http://schemas.microsoft.com/office/drawing/2014/main" id="{180B57A9-2ADD-4057-AC3C-C23AD33D38B6}"/>
                </a:ext>
              </a:extLst>
            </p:cNvPr>
            <p:cNvSpPr/>
            <p:nvPr/>
          </p:nvSpPr>
          <p:spPr>
            <a:xfrm>
              <a:off x="1115215" y="4690925"/>
              <a:ext cx="761316" cy="761316"/>
            </a:xfrm>
            <a:prstGeom prst="roundRect">
              <a:avLst>
                <a:gd name="adj" fmla="val 35272"/>
              </a:avLst>
            </a:prstGeom>
            <a:solidFill>
              <a:schemeClr val="accen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F8690E06-9D4E-4838-B807-B82B2F69195F}"/>
                </a:ext>
              </a:extLst>
            </p:cNvPr>
            <p:cNvSpPr/>
            <p:nvPr/>
          </p:nvSpPr>
          <p:spPr bwMode="auto">
            <a:xfrm>
              <a:off x="1301177" y="4872687"/>
              <a:ext cx="389392" cy="406656"/>
            </a:xfrm>
            <a:custGeom>
              <a:avLst/>
              <a:gdLst>
                <a:gd name="connsiteX0" fmla="*/ 293688 w 322263"/>
                <a:gd name="connsiteY0" fmla="*/ 298450 h 336550"/>
                <a:gd name="connsiteX1" fmla="*/ 293688 w 322263"/>
                <a:gd name="connsiteY1" fmla="*/ 305019 h 336550"/>
                <a:gd name="connsiteX2" fmla="*/ 261635 w 322263"/>
                <a:gd name="connsiteY2" fmla="*/ 336550 h 336550"/>
                <a:gd name="connsiteX3" fmla="*/ 241603 w 322263"/>
                <a:gd name="connsiteY3" fmla="*/ 336550 h 336550"/>
                <a:gd name="connsiteX4" fmla="*/ 209550 w 322263"/>
                <a:gd name="connsiteY4" fmla="*/ 305019 h 336550"/>
                <a:gd name="connsiteX5" fmla="*/ 209550 w 322263"/>
                <a:gd name="connsiteY5" fmla="*/ 301078 h 336550"/>
                <a:gd name="connsiteX6" fmla="*/ 277662 w 322263"/>
                <a:gd name="connsiteY6" fmla="*/ 301078 h 336550"/>
                <a:gd name="connsiteX7" fmla="*/ 293688 w 322263"/>
                <a:gd name="connsiteY7" fmla="*/ 298450 h 336550"/>
                <a:gd name="connsiteX8" fmla="*/ 28575 w 322263"/>
                <a:gd name="connsiteY8" fmla="*/ 298450 h 336550"/>
                <a:gd name="connsiteX9" fmla="*/ 44601 w 322263"/>
                <a:gd name="connsiteY9" fmla="*/ 301078 h 336550"/>
                <a:gd name="connsiteX10" fmla="*/ 112713 w 322263"/>
                <a:gd name="connsiteY10" fmla="*/ 301078 h 336550"/>
                <a:gd name="connsiteX11" fmla="*/ 112713 w 322263"/>
                <a:gd name="connsiteY11" fmla="*/ 305019 h 336550"/>
                <a:gd name="connsiteX12" fmla="*/ 80660 w 322263"/>
                <a:gd name="connsiteY12" fmla="*/ 336550 h 336550"/>
                <a:gd name="connsiteX13" fmla="*/ 60628 w 322263"/>
                <a:gd name="connsiteY13" fmla="*/ 336550 h 336550"/>
                <a:gd name="connsiteX14" fmla="*/ 28575 w 322263"/>
                <a:gd name="connsiteY14" fmla="*/ 305019 h 336550"/>
                <a:gd name="connsiteX15" fmla="*/ 28575 w 322263"/>
                <a:gd name="connsiteY15" fmla="*/ 298450 h 336550"/>
                <a:gd name="connsiteX16" fmla="*/ 233362 w 322263"/>
                <a:gd name="connsiteY16" fmla="*/ 228600 h 336550"/>
                <a:gd name="connsiteX17" fmla="*/ 273050 w 322263"/>
                <a:gd name="connsiteY17" fmla="*/ 228600 h 336550"/>
                <a:gd name="connsiteX18" fmla="*/ 273050 w 322263"/>
                <a:gd name="connsiteY18" fmla="*/ 241300 h 336550"/>
                <a:gd name="connsiteX19" fmla="*/ 233362 w 322263"/>
                <a:gd name="connsiteY19" fmla="*/ 241300 h 336550"/>
                <a:gd name="connsiteX20" fmla="*/ 49212 w 322263"/>
                <a:gd name="connsiteY20" fmla="*/ 228600 h 336550"/>
                <a:gd name="connsiteX21" fmla="*/ 88900 w 322263"/>
                <a:gd name="connsiteY21" fmla="*/ 228600 h 336550"/>
                <a:gd name="connsiteX22" fmla="*/ 88900 w 322263"/>
                <a:gd name="connsiteY22" fmla="*/ 241300 h 336550"/>
                <a:gd name="connsiteX23" fmla="*/ 49212 w 322263"/>
                <a:gd name="connsiteY23" fmla="*/ 241300 h 336550"/>
                <a:gd name="connsiteX24" fmla="*/ 228109 w 322263"/>
                <a:gd name="connsiteY24" fmla="*/ 212725 h 336550"/>
                <a:gd name="connsiteX25" fmla="*/ 217487 w 322263"/>
                <a:gd name="connsiteY25" fmla="*/ 224912 h 336550"/>
                <a:gd name="connsiteX26" fmla="*/ 217487 w 322263"/>
                <a:gd name="connsiteY26" fmla="*/ 246577 h 336550"/>
                <a:gd name="connsiteX27" fmla="*/ 228109 w 322263"/>
                <a:gd name="connsiteY27" fmla="*/ 258763 h 336550"/>
                <a:gd name="connsiteX28" fmla="*/ 278563 w 322263"/>
                <a:gd name="connsiteY28" fmla="*/ 258763 h 336550"/>
                <a:gd name="connsiteX29" fmla="*/ 290512 w 322263"/>
                <a:gd name="connsiteY29" fmla="*/ 246577 h 336550"/>
                <a:gd name="connsiteX30" fmla="*/ 290512 w 322263"/>
                <a:gd name="connsiteY30" fmla="*/ 224912 h 336550"/>
                <a:gd name="connsiteX31" fmla="*/ 278563 w 322263"/>
                <a:gd name="connsiteY31" fmla="*/ 212725 h 336550"/>
                <a:gd name="connsiteX32" fmla="*/ 228109 w 322263"/>
                <a:gd name="connsiteY32" fmla="*/ 212725 h 336550"/>
                <a:gd name="connsiteX33" fmla="*/ 43699 w 322263"/>
                <a:gd name="connsiteY33" fmla="*/ 212725 h 336550"/>
                <a:gd name="connsiteX34" fmla="*/ 31750 w 322263"/>
                <a:gd name="connsiteY34" fmla="*/ 224912 h 336550"/>
                <a:gd name="connsiteX35" fmla="*/ 31750 w 322263"/>
                <a:gd name="connsiteY35" fmla="*/ 246577 h 336550"/>
                <a:gd name="connsiteX36" fmla="*/ 43699 w 322263"/>
                <a:gd name="connsiteY36" fmla="*/ 258763 h 336550"/>
                <a:gd name="connsiteX37" fmla="*/ 94153 w 322263"/>
                <a:gd name="connsiteY37" fmla="*/ 258763 h 336550"/>
                <a:gd name="connsiteX38" fmla="*/ 104775 w 322263"/>
                <a:gd name="connsiteY38" fmla="*/ 246577 h 336550"/>
                <a:gd name="connsiteX39" fmla="*/ 104775 w 322263"/>
                <a:gd name="connsiteY39" fmla="*/ 224912 h 336550"/>
                <a:gd name="connsiteX40" fmla="*/ 94153 w 322263"/>
                <a:gd name="connsiteY40" fmla="*/ 212725 h 336550"/>
                <a:gd name="connsiteX41" fmla="*/ 43699 w 322263"/>
                <a:gd name="connsiteY41" fmla="*/ 212725 h 336550"/>
                <a:gd name="connsiteX42" fmla="*/ 44905 w 322263"/>
                <a:gd name="connsiteY42" fmla="*/ 184150 h 336550"/>
                <a:gd name="connsiteX43" fmla="*/ 277358 w 322263"/>
                <a:gd name="connsiteY43" fmla="*/ 184150 h 336550"/>
                <a:gd name="connsiteX44" fmla="*/ 322263 w 322263"/>
                <a:gd name="connsiteY44" fmla="*/ 228893 h 336550"/>
                <a:gd name="connsiteX45" fmla="*/ 322263 w 322263"/>
                <a:gd name="connsiteY45" fmla="*/ 239421 h 336550"/>
                <a:gd name="connsiteX46" fmla="*/ 277358 w 322263"/>
                <a:gd name="connsiteY46" fmla="*/ 284163 h 336550"/>
                <a:gd name="connsiteX47" fmla="*/ 44905 w 322263"/>
                <a:gd name="connsiteY47" fmla="*/ 284163 h 336550"/>
                <a:gd name="connsiteX48" fmla="*/ 0 w 322263"/>
                <a:gd name="connsiteY48" fmla="*/ 239421 h 336550"/>
                <a:gd name="connsiteX49" fmla="*/ 0 w 322263"/>
                <a:gd name="connsiteY49" fmla="*/ 228893 h 336550"/>
                <a:gd name="connsiteX50" fmla="*/ 44905 w 322263"/>
                <a:gd name="connsiteY50" fmla="*/ 184150 h 336550"/>
                <a:gd name="connsiteX51" fmla="*/ 100909 w 322263"/>
                <a:gd name="connsiteY51" fmla="*/ 112712 h 336550"/>
                <a:gd name="connsiteX52" fmla="*/ 221354 w 322263"/>
                <a:gd name="connsiteY52" fmla="*/ 112712 h 336550"/>
                <a:gd name="connsiteX53" fmla="*/ 242300 w 322263"/>
                <a:gd name="connsiteY53" fmla="*/ 125563 h 336550"/>
                <a:gd name="connsiteX54" fmla="*/ 259320 w 322263"/>
                <a:gd name="connsiteY54" fmla="*/ 158977 h 336550"/>
                <a:gd name="connsiteX55" fmla="*/ 254083 w 322263"/>
                <a:gd name="connsiteY55" fmla="*/ 166687 h 336550"/>
                <a:gd name="connsiteX56" fmla="*/ 68180 w 322263"/>
                <a:gd name="connsiteY56" fmla="*/ 166687 h 336550"/>
                <a:gd name="connsiteX57" fmla="*/ 62943 w 322263"/>
                <a:gd name="connsiteY57" fmla="*/ 158977 h 336550"/>
                <a:gd name="connsiteX58" fmla="*/ 79963 w 322263"/>
                <a:gd name="connsiteY58" fmla="*/ 125563 h 336550"/>
                <a:gd name="connsiteX59" fmla="*/ 100909 w 322263"/>
                <a:gd name="connsiteY59" fmla="*/ 112712 h 336550"/>
                <a:gd name="connsiteX60" fmla="*/ 209688 w 322263"/>
                <a:gd name="connsiteY60" fmla="*/ 60325 h 336550"/>
                <a:gd name="connsiteX61" fmla="*/ 222112 w 322263"/>
                <a:gd name="connsiteY61" fmla="*/ 60325 h 336550"/>
                <a:gd name="connsiteX62" fmla="*/ 231775 w 322263"/>
                <a:gd name="connsiteY62" fmla="*/ 69850 h 336550"/>
                <a:gd name="connsiteX63" fmla="*/ 222112 w 322263"/>
                <a:gd name="connsiteY63" fmla="*/ 79375 h 336550"/>
                <a:gd name="connsiteX64" fmla="*/ 209688 w 322263"/>
                <a:gd name="connsiteY64" fmla="*/ 79375 h 336550"/>
                <a:gd name="connsiteX65" fmla="*/ 200025 w 322263"/>
                <a:gd name="connsiteY65" fmla="*/ 69850 h 336550"/>
                <a:gd name="connsiteX66" fmla="*/ 209688 w 322263"/>
                <a:gd name="connsiteY66" fmla="*/ 60325 h 336550"/>
                <a:gd name="connsiteX67" fmla="*/ 101255 w 322263"/>
                <a:gd name="connsiteY67" fmla="*/ 60325 h 336550"/>
                <a:gd name="connsiteX68" fmla="*/ 113058 w 322263"/>
                <a:gd name="connsiteY68" fmla="*/ 60325 h 336550"/>
                <a:gd name="connsiteX69" fmla="*/ 122238 w 322263"/>
                <a:gd name="connsiteY69" fmla="*/ 69850 h 336550"/>
                <a:gd name="connsiteX70" fmla="*/ 113058 w 322263"/>
                <a:gd name="connsiteY70" fmla="*/ 79375 h 336550"/>
                <a:gd name="connsiteX71" fmla="*/ 101255 w 322263"/>
                <a:gd name="connsiteY71" fmla="*/ 79375 h 336550"/>
                <a:gd name="connsiteX72" fmla="*/ 92075 w 322263"/>
                <a:gd name="connsiteY72" fmla="*/ 69850 h 336550"/>
                <a:gd name="connsiteX73" fmla="*/ 101255 w 322263"/>
                <a:gd name="connsiteY73" fmla="*/ 60325 h 336550"/>
                <a:gd name="connsiteX74" fmla="*/ 161132 w 322263"/>
                <a:gd name="connsiteY74" fmla="*/ 34925 h 336550"/>
                <a:gd name="connsiteX75" fmla="*/ 195263 w 322263"/>
                <a:gd name="connsiteY75" fmla="*/ 69920 h 336550"/>
                <a:gd name="connsiteX76" fmla="*/ 195263 w 322263"/>
                <a:gd name="connsiteY76" fmla="*/ 86071 h 336550"/>
                <a:gd name="connsiteX77" fmla="*/ 184761 w 322263"/>
                <a:gd name="connsiteY77" fmla="*/ 96838 h 336550"/>
                <a:gd name="connsiteX78" fmla="*/ 137502 w 322263"/>
                <a:gd name="connsiteY78" fmla="*/ 96838 h 336550"/>
                <a:gd name="connsiteX79" fmla="*/ 127000 w 322263"/>
                <a:gd name="connsiteY79" fmla="*/ 86071 h 336550"/>
                <a:gd name="connsiteX80" fmla="*/ 127000 w 322263"/>
                <a:gd name="connsiteY80" fmla="*/ 69920 h 336550"/>
                <a:gd name="connsiteX81" fmla="*/ 161132 w 322263"/>
                <a:gd name="connsiteY81" fmla="*/ 34925 h 336550"/>
                <a:gd name="connsiteX82" fmla="*/ 196771 w 322263"/>
                <a:gd name="connsiteY82" fmla="*/ 21272 h 336550"/>
                <a:gd name="connsiteX83" fmla="*/ 210265 w 322263"/>
                <a:gd name="connsiteY83" fmla="*/ 21272 h 336550"/>
                <a:gd name="connsiteX84" fmla="*/ 210265 w 322263"/>
                <a:gd name="connsiteY84" fmla="*/ 33972 h 336550"/>
                <a:gd name="connsiteX85" fmla="*/ 204867 w 322263"/>
                <a:gd name="connsiteY85" fmla="*/ 39052 h 336550"/>
                <a:gd name="connsiteX86" fmla="*/ 196771 w 322263"/>
                <a:gd name="connsiteY86" fmla="*/ 42862 h 336550"/>
                <a:gd name="connsiteX87" fmla="*/ 190024 w 322263"/>
                <a:gd name="connsiteY87" fmla="*/ 39052 h 336550"/>
                <a:gd name="connsiteX88" fmla="*/ 190024 w 322263"/>
                <a:gd name="connsiteY88" fmla="*/ 26352 h 336550"/>
                <a:gd name="connsiteX89" fmla="*/ 196771 w 322263"/>
                <a:gd name="connsiteY89" fmla="*/ 21272 h 336550"/>
                <a:gd name="connsiteX90" fmla="*/ 111998 w 322263"/>
                <a:gd name="connsiteY90" fmla="*/ 21272 h 336550"/>
                <a:gd name="connsiteX91" fmla="*/ 125492 w 322263"/>
                <a:gd name="connsiteY91" fmla="*/ 21272 h 336550"/>
                <a:gd name="connsiteX92" fmla="*/ 132239 w 322263"/>
                <a:gd name="connsiteY92" fmla="*/ 26352 h 336550"/>
                <a:gd name="connsiteX93" fmla="*/ 132239 w 322263"/>
                <a:gd name="connsiteY93" fmla="*/ 39052 h 336550"/>
                <a:gd name="connsiteX94" fmla="*/ 125492 w 322263"/>
                <a:gd name="connsiteY94" fmla="*/ 42862 h 336550"/>
                <a:gd name="connsiteX95" fmla="*/ 117396 w 322263"/>
                <a:gd name="connsiteY95" fmla="*/ 39052 h 336550"/>
                <a:gd name="connsiteX96" fmla="*/ 111998 w 322263"/>
                <a:gd name="connsiteY96" fmla="*/ 33972 h 336550"/>
                <a:gd name="connsiteX97" fmla="*/ 111998 w 322263"/>
                <a:gd name="connsiteY97" fmla="*/ 21272 h 336550"/>
                <a:gd name="connsiteX98" fmla="*/ 161132 w 322263"/>
                <a:gd name="connsiteY98" fmla="*/ 0 h 336550"/>
                <a:gd name="connsiteX99" fmla="*/ 169863 w 322263"/>
                <a:gd name="connsiteY99" fmla="*/ 9180 h 336550"/>
                <a:gd name="connsiteX100" fmla="*/ 169863 w 322263"/>
                <a:gd name="connsiteY100" fmla="*/ 20983 h 336550"/>
                <a:gd name="connsiteX101" fmla="*/ 161132 w 322263"/>
                <a:gd name="connsiteY101" fmla="*/ 30163 h 336550"/>
                <a:gd name="connsiteX102" fmla="*/ 152400 w 322263"/>
                <a:gd name="connsiteY102" fmla="*/ 20983 h 336550"/>
                <a:gd name="connsiteX103" fmla="*/ 152400 w 322263"/>
                <a:gd name="connsiteY103" fmla="*/ 9180 h 336550"/>
                <a:gd name="connsiteX104" fmla="*/ 161132 w 322263"/>
                <a:gd name="connsiteY104" fmla="*/ 0 h 336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322263" h="336550">
                  <a:moveTo>
                    <a:pt x="293688" y="298450"/>
                  </a:moveTo>
                  <a:cubicBezTo>
                    <a:pt x="293688" y="298450"/>
                    <a:pt x="293688" y="298450"/>
                    <a:pt x="293688" y="305019"/>
                  </a:cubicBezTo>
                  <a:cubicBezTo>
                    <a:pt x="293688" y="322099"/>
                    <a:pt x="280333" y="336550"/>
                    <a:pt x="261635" y="336550"/>
                  </a:cubicBezTo>
                  <a:cubicBezTo>
                    <a:pt x="261635" y="336550"/>
                    <a:pt x="261635" y="336550"/>
                    <a:pt x="241603" y="336550"/>
                  </a:cubicBezTo>
                  <a:cubicBezTo>
                    <a:pt x="224241" y="336550"/>
                    <a:pt x="209550" y="322099"/>
                    <a:pt x="209550" y="305019"/>
                  </a:cubicBezTo>
                  <a:cubicBezTo>
                    <a:pt x="209550" y="305019"/>
                    <a:pt x="209550" y="305019"/>
                    <a:pt x="209550" y="301078"/>
                  </a:cubicBezTo>
                  <a:lnTo>
                    <a:pt x="277662" y="301078"/>
                  </a:lnTo>
                  <a:cubicBezTo>
                    <a:pt x="283004" y="301078"/>
                    <a:pt x="289681" y="299764"/>
                    <a:pt x="293688" y="298450"/>
                  </a:cubicBezTo>
                  <a:close/>
                  <a:moveTo>
                    <a:pt x="28575" y="298450"/>
                  </a:moveTo>
                  <a:cubicBezTo>
                    <a:pt x="32582" y="299764"/>
                    <a:pt x="39259" y="301078"/>
                    <a:pt x="44601" y="301078"/>
                  </a:cubicBezTo>
                  <a:cubicBezTo>
                    <a:pt x="44601" y="301078"/>
                    <a:pt x="44601" y="301078"/>
                    <a:pt x="112713" y="301078"/>
                  </a:cubicBezTo>
                  <a:cubicBezTo>
                    <a:pt x="112713" y="301078"/>
                    <a:pt x="112713" y="301078"/>
                    <a:pt x="112713" y="305019"/>
                  </a:cubicBezTo>
                  <a:cubicBezTo>
                    <a:pt x="112713" y="322099"/>
                    <a:pt x="98022" y="336550"/>
                    <a:pt x="80660" y="336550"/>
                  </a:cubicBezTo>
                  <a:cubicBezTo>
                    <a:pt x="80660" y="336550"/>
                    <a:pt x="80660" y="336550"/>
                    <a:pt x="60628" y="336550"/>
                  </a:cubicBezTo>
                  <a:cubicBezTo>
                    <a:pt x="41930" y="336550"/>
                    <a:pt x="28575" y="322099"/>
                    <a:pt x="28575" y="305019"/>
                  </a:cubicBezTo>
                  <a:cubicBezTo>
                    <a:pt x="28575" y="305019"/>
                    <a:pt x="28575" y="305019"/>
                    <a:pt x="28575" y="298450"/>
                  </a:cubicBezTo>
                  <a:close/>
                  <a:moveTo>
                    <a:pt x="233362" y="228600"/>
                  </a:moveTo>
                  <a:lnTo>
                    <a:pt x="273050" y="228600"/>
                  </a:lnTo>
                  <a:lnTo>
                    <a:pt x="273050" y="241300"/>
                  </a:lnTo>
                  <a:lnTo>
                    <a:pt x="233362" y="241300"/>
                  </a:lnTo>
                  <a:close/>
                  <a:moveTo>
                    <a:pt x="49212" y="228600"/>
                  </a:moveTo>
                  <a:lnTo>
                    <a:pt x="88900" y="228600"/>
                  </a:lnTo>
                  <a:lnTo>
                    <a:pt x="88900" y="241300"/>
                  </a:lnTo>
                  <a:lnTo>
                    <a:pt x="49212" y="241300"/>
                  </a:lnTo>
                  <a:close/>
                  <a:moveTo>
                    <a:pt x="228109" y="212725"/>
                  </a:moveTo>
                  <a:cubicBezTo>
                    <a:pt x="222798" y="212725"/>
                    <a:pt x="217487" y="218141"/>
                    <a:pt x="217487" y="224912"/>
                  </a:cubicBezTo>
                  <a:cubicBezTo>
                    <a:pt x="217487" y="224912"/>
                    <a:pt x="217487" y="224912"/>
                    <a:pt x="217487" y="246577"/>
                  </a:cubicBezTo>
                  <a:cubicBezTo>
                    <a:pt x="217487" y="253347"/>
                    <a:pt x="222798" y="258763"/>
                    <a:pt x="228109" y="258763"/>
                  </a:cubicBezTo>
                  <a:cubicBezTo>
                    <a:pt x="228109" y="258763"/>
                    <a:pt x="228109" y="258763"/>
                    <a:pt x="278563" y="258763"/>
                  </a:cubicBezTo>
                  <a:cubicBezTo>
                    <a:pt x="285201" y="258763"/>
                    <a:pt x="290512" y="253347"/>
                    <a:pt x="290512" y="246577"/>
                  </a:cubicBezTo>
                  <a:lnTo>
                    <a:pt x="290512" y="224912"/>
                  </a:lnTo>
                  <a:cubicBezTo>
                    <a:pt x="290512" y="218141"/>
                    <a:pt x="285201" y="212725"/>
                    <a:pt x="278563" y="212725"/>
                  </a:cubicBezTo>
                  <a:cubicBezTo>
                    <a:pt x="278563" y="212725"/>
                    <a:pt x="278563" y="212725"/>
                    <a:pt x="228109" y="212725"/>
                  </a:cubicBezTo>
                  <a:close/>
                  <a:moveTo>
                    <a:pt x="43699" y="212725"/>
                  </a:moveTo>
                  <a:cubicBezTo>
                    <a:pt x="37061" y="212725"/>
                    <a:pt x="31750" y="218141"/>
                    <a:pt x="31750" y="224912"/>
                  </a:cubicBezTo>
                  <a:cubicBezTo>
                    <a:pt x="31750" y="224912"/>
                    <a:pt x="31750" y="224912"/>
                    <a:pt x="31750" y="246577"/>
                  </a:cubicBezTo>
                  <a:cubicBezTo>
                    <a:pt x="31750" y="253347"/>
                    <a:pt x="37061" y="258763"/>
                    <a:pt x="43699" y="258763"/>
                  </a:cubicBezTo>
                  <a:cubicBezTo>
                    <a:pt x="43699" y="258763"/>
                    <a:pt x="43699" y="258763"/>
                    <a:pt x="94153" y="258763"/>
                  </a:cubicBezTo>
                  <a:cubicBezTo>
                    <a:pt x="99464" y="258763"/>
                    <a:pt x="104775" y="253347"/>
                    <a:pt x="104775" y="246577"/>
                  </a:cubicBezTo>
                  <a:lnTo>
                    <a:pt x="104775" y="224912"/>
                  </a:lnTo>
                  <a:cubicBezTo>
                    <a:pt x="104775" y="218141"/>
                    <a:pt x="99464" y="212725"/>
                    <a:pt x="94153" y="212725"/>
                  </a:cubicBezTo>
                  <a:cubicBezTo>
                    <a:pt x="94153" y="212725"/>
                    <a:pt x="94153" y="212725"/>
                    <a:pt x="43699" y="212725"/>
                  </a:cubicBezTo>
                  <a:close/>
                  <a:moveTo>
                    <a:pt x="44905" y="184150"/>
                  </a:moveTo>
                  <a:cubicBezTo>
                    <a:pt x="44905" y="184150"/>
                    <a:pt x="44905" y="184150"/>
                    <a:pt x="277358" y="184150"/>
                  </a:cubicBezTo>
                  <a:cubicBezTo>
                    <a:pt x="302452" y="184150"/>
                    <a:pt x="322263" y="203890"/>
                    <a:pt x="322263" y="228893"/>
                  </a:cubicBezTo>
                  <a:cubicBezTo>
                    <a:pt x="322263" y="228893"/>
                    <a:pt x="322263" y="228893"/>
                    <a:pt x="322263" y="239421"/>
                  </a:cubicBezTo>
                  <a:cubicBezTo>
                    <a:pt x="322263" y="264424"/>
                    <a:pt x="302452" y="284163"/>
                    <a:pt x="277358" y="284163"/>
                  </a:cubicBezTo>
                  <a:cubicBezTo>
                    <a:pt x="277358" y="284163"/>
                    <a:pt x="277358" y="284163"/>
                    <a:pt x="44905" y="284163"/>
                  </a:cubicBezTo>
                  <a:cubicBezTo>
                    <a:pt x="19811" y="284163"/>
                    <a:pt x="0" y="264424"/>
                    <a:pt x="0" y="239421"/>
                  </a:cubicBezTo>
                  <a:cubicBezTo>
                    <a:pt x="0" y="239421"/>
                    <a:pt x="0" y="239421"/>
                    <a:pt x="0" y="228893"/>
                  </a:cubicBezTo>
                  <a:cubicBezTo>
                    <a:pt x="0" y="203890"/>
                    <a:pt x="19811" y="184150"/>
                    <a:pt x="44905" y="184150"/>
                  </a:cubicBezTo>
                  <a:close/>
                  <a:moveTo>
                    <a:pt x="100909" y="112712"/>
                  </a:moveTo>
                  <a:cubicBezTo>
                    <a:pt x="100909" y="112712"/>
                    <a:pt x="100909" y="112712"/>
                    <a:pt x="221354" y="112712"/>
                  </a:cubicBezTo>
                  <a:cubicBezTo>
                    <a:pt x="229209" y="112712"/>
                    <a:pt x="239682" y="119138"/>
                    <a:pt x="242300" y="125563"/>
                  </a:cubicBezTo>
                  <a:lnTo>
                    <a:pt x="259320" y="158977"/>
                  </a:lnTo>
                  <a:cubicBezTo>
                    <a:pt x="261938" y="162832"/>
                    <a:pt x="259320" y="166687"/>
                    <a:pt x="254083" y="166687"/>
                  </a:cubicBezTo>
                  <a:cubicBezTo>
                    <a:pt x="254083" y="166687"/>
                    <a:pt x="254083" y="166687"/>
                    <a:pt x="68180" y="166687"/>
                  </a:cubicBezTo>
                  <a:cubicBezTo>
                    <a:pt x="62943" y="166687"/>
                    <a:pt x="60325" y="162832"/>
                    <a:pt x="62943" y="158977"/>
                  </a:cubicBezTo>
                  <a:cubicBezTo>
                    <a:pt x="62943" y="158977"/>
                    <a:pt x="62943" y="158977"/>
                    <a:pt x="79963" y="125563"/>
                  </a:cubicBezTo>
                  <a:cubicBezTo>
                    <a:pt x="82581" y="119138"/>
                    <a:pt x="93054" y="112712"/>
                    <a:pt x="100909" y="112712"/>
                  </a:cubicBezTo>
                  <a:close/>
                  <a:moveTo>
                    <a:pt x="209688" y="60325"/>
                  </a:moveTo>
                  <a:cubicBezTo>
                    <a:pt x="209688" y="60325"/>
                    <a:pt x="209688" y="60325"/>
                    <a:pt x="222112" y="60325"/>
                  </a:cubicBezTo>
                  <a:cubicBezTo>
                    <a:pt x="227634" y="60325"/>
                    <a:pt x="231775" y="64407"/>
                    <a:pt x="231775" y="69850"/>
                  </a:cubicBezTo>
                  <a:cubicBezTo>
                    <a:pt x="231775" y="75293"/>
                    <a:pt x="227634" y="79375"/>
                    <a:pt x="222112" y="79375"/>
                  </a:cubicBezTo>
                  <a:cubicBezTo>
                    <a:pt x="222112" y="79375"/>
                    <a:pt x="222112" y="79375"/>
                    <a:pt x="209688" y="79375"/>
                  </a:cubicBezTo>
                  <a:cubicBezTo>
                    <a:pt x="204166" y="79375"/>
                    <a:pt x="200025" y="75293"/>
                    <a:pt x="200025" y="69850"/>
                  </a:cubicBezTo>
                  <a:cubicBezTo>
                    <a:pt x="200025" y="64407"/>
                    <a:pt x="204166" y="60325"/>
                    <a:pt x="209688" y="60325"/>
                  </a:cubicBezTo>
                  <a:close/>
                  <a:moveTo>
                    <a:pt x="101255" y="60325"/>
                  </a:moveTo>
                  <a:cubicBezTo>
                    <a:pt x="101255" y="60325"/>
                    <a:pt x="101255" y="60325"/>
                    <a:pt x="113058" y="60325"/>
                  </a:cubicBezTo>
                  <a:cubicBezTo>
                    <a:pt x="118304" y="60325"/>
                    <a:pt x="122238" y="64407"/>
                    <a:pt x="122238" y="69850"/>
                  </a:cubicBezTo>
                  <a:cubicBezTo>
                    <a:pt x="122238" y="75293"/>
                    <a:pt x="118304" y="79375"/>
                    <a:pt x="113058" y="79375"/>
                  </a:cubicBezTo>
                  <a:cubicBezTo>
                    <a:pt x="113058" y="79375"/>
                    <a:pt x="113058" y="79375"/>
                    <a:pt x="101255" y="79375"/>
                  </a:cubicBezTo>
                  <a:cubicBezTo>
                    <a:pt x="96009" y="79375"/>
                    <a:pt x="92075" y="75293"/>
                    <a:pt x="92075" y="69850"/>
                  </a:cubicBezTo>
                  <a:cubicBezTo>
                    <a:pt x="92075" y="64407"/>
                    <a:pt x="96009" y="60325"/>
                    <a:pt x="101255" y="60325"/>
                  </a:cubicBezTo>
                  <a:close/>
                  <a:moveTo>
                    <a:pt x="161132" y="34925"/>
                  </a:moveTo>
                  <a:cubicBezTo>
                    <a:pt x="179510" y="34925"/>
                    <a:pt x="195263" y="49731"/>
                    <a:pt x="195263" y="69920"/>
                  </a:cubicBezTo>
                  <a:lnTo>
                    <a:pt x="195263" y="86071"/>
                  </a:lnTo>
                  <a:cubicBezTo>
                    <a:pt x="195263" y="91455"/>
                    <a:pt x="190012" y="96838"/>
                    <a:pt x="184761" y="96838"/>
                  </a:cubicBezTo>
                  <a:cubicBezTo>
                    <a:pt x="184761" y="96838"/>
                    <a:pt x="184761" y="96838"/>
                    <a:pt x="137502" y="96838"/>
                  </a:cubicBezTo>
                  <a:cubicBezTo>
                    <a:pt x="132251" y="96838"/>
                    <a:pt x="127000" y="91455"/>
                    <a:pt x="127000" y="86071"/>
                  </a:cubicBezTo>
                  <a:cubicBezTo>
                    <a:pt x="127000" y="86071"/>
                    <a:pt x="127000" y="86071"/>
                    <a:pt x="127000" y="69920"/>
                  </a:cubicBezTo>
                  <a:cubicBezTo>
                    <a:pt x="127000" y="49731"/>
                    <a:pt x="142753" y="34925"/>
                    <a:pt x="161132" y="34925"/>
                  </a:cubicBezTo>
                  <a:close/>
                  <a:moveTo>
                    <a:pt x="196771" y="21272"/>
                  </a:moveTo>
                  <a:cubicBezTo>
                    <a:pt x="200819" y="17462"/>
                    <a:pt x="206217" y="17462"/>
                    <a:pt x="210265" y="21272"/>
                  </a:cubicBezTo>
                  <a:cubicBezTo>
                    <a:pt x="214313" y="25082"/>
                    <a:pt x="214313" y="30162"/>
                    <a:pt x="210265" y="33972"/>
                  </a:cubicBezTo>
                  <a:cubicBezTo>
                    <a:pt x="210265" y="33972"/>
                    <a:pt x="210265" y="33972"/>
                    <a:pt x="204867" y="39052"/>
                  </a:cubicBezTo>
                  <a:cubicBezTo>
                    <a:pt x="202168" y="41592"/>
                    <a:pt x="199470" y="42862"/>
                    <a:pt x="196771" y="42862"/>
                  </a:cubicBezTo>
                  <a:cubicBezTo>
                    <a:pt x="195421" y="42862"/>
                    <a:pt x="192723" y="41592"/>
                    <a:pt x="190024" y="39052"/>
                  </a:cubicBezTo>
                  <a:cubicBezTo>
                    <a:pt x="187325" y="36512"/>
                    <a:pt x="187325" y="30162"/>
                    <a:pt x="190024" y="26352"/>
                  </a:cubicBezTo>
                  <a:cubicBezTo>
                    <a:pt x="190024" y="26352"/>
                    <a:pt x="190024" y="26352"/>
                    <a:pt x="196771" y="21272"/>
                  </a:cubicBezTo>
                  <a:close/>
                  <a:moveTo>
                    <a:pt x="111998" y="21272"/>
                  </a:moveTo>
                  <a:cubicBezTo>
                    <a:pt x="116046" y="17462"/>
                    <a:pt x="121444" y="17462"/>
                    <a:pt x="125492" y="21272"/>
                  </a:cubicBezTo>
                  <a:cubicBezTo>
                    <a:pt x="125492" y="21272"/>
                    <a:pt x="125492" y="21272"/>
                    <a:pt x="132239" y="26352"/>
                  </a:cubicBezTo>
                  <a:cubicBezTo>
                    <a:pt x="134938" y="30162"/>
                    <a:pt x="134938" y="36512"/>
                    <a:pt x="132239" y="39052"/>
                  </a:cubicBezTo>
                  <a:cubicBezTo>
                    <a:pt x="129540" y="41592"/>
                    <a:pt x="126842" y="42862"/>
                    <a:pt x="125492" y="42862"/>
                  </a:cubicBezTo>
                  <a:cubicBezTo>
                    <a:pt x="122793" y="42862"/>
                    <a:pt x="120095" y="41592"/>
                    <a:pt x="117396" y="39052"/>
                  </a:cubicBezTo>
                  <a:lnTo>
                    <a:pt x="111998" y="33972"/>
                  </a:lnTo>
                  <a:cubicBezTo>
                    <a:pt x="107950" y="30162"/>
                    <a:pt x="107950" y="25082"/>
                    <a:pt x="111998" y="21272"/>
                  </a:cubicBezTo>
                  <a:close/>
                  <a:moveTo>
                    <a:pt x="161132" y="0"/>
                  </a:moveTo>
                  <a:cubicBezTo>
                    <a:pt x="166121" y="0"/>
                    <a:pt x="169863" y="3934"/>
                    <a:pt x="169863" y="9180"/>
                  </a:cubicBezTo>
                  <a:cubicBezTo>
                    <a:pt x="169863" y="9180"/>
                    <a:pt x="169863" y="9180"/>
                    <a:pt x="169863" y="20983"/>
                  </a:cubicBezTo>
                  <a:cubicBezTo>
                    <a:pt x="169863" y="26228"/>
                    <a:pt x="166121" y="30163"/>
                    <a:pt x="161132" y="30163"/>
                  </a:cubicBezTo>
                  <a:cubicBezTo>
                    <a:pt x="156142" y="30163"/>
                    <a:pt x="152400" y="26228"/>
                    <a:pt x="152400" y="20983"/>
                  </a:cubicBezTo>
                  <a:cubicBezTo>
                    <a:pt x="152400" y="20983"/>
                    <a:pt x="152400" y="20983"/>
                    <a:pt x="152400" y="9180"/>
                  </a:cubicBezTo>
                  <a:cubicBezTo>
                    <a:pt x="152400" y="3934"/>
                    <a:pt x="156142" y="0"/>
                    <a:pt x="161132" y="0"/>
                  </a:cubicBezTo>
                  <a:close/>
                </a:path>
              </a:pathLst>
            </a:custGeom>
            <a:solidFill>
              <a:schemeClr val="bg1">
                <a:lumMod val="10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 fontScale="92500" lnSpcReduction="10000"/>
            </a:bodyPr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7397802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/>
              <a:t>Supporting text here.</a:t>
            </a:r>
          </a:p>
          <a:p>
            <a:pPr lvl="0"/>
            <a:r>
              <a:rPr lang="en-US" altLang="zh-CN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683554" y="2759231"/>
            <a:ext cx="97032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1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0</a:t>
            </a:fld>
            <a:endParaRPr lang="zh-CN" altLang="en-US"/>
          </a:p>
        </p:txBody>
      </p:sp>
      <p:cxnSp>
        <p:nvCxnSpPr>
          <p:cNvPr id="6" name="连接符: 肘形 5">
            <a:extLst>
              <a:ext uri="{FF2B5EF4-FFF2-40B4-BE49-F238E27FC236}">
                <a16:creationId xmlns:a16="http://schemas.microsoft.com/office/drawing/2014/main" id="{CDD0B782-293D-42F4-BA59-FE2A80BBFA34}"/>
              </a:ext>
            </a:extLst>
          </p:cNvPr>
          <p:cNvCxnSpPr>
            <a:cxnSpLocks/>
            <a:stCxn id="28" idx="6"/>
            <a:endCxn id="23" idx="0"/>
          </p:cNvCxnSpPr>
          <p:nvPr/>
        </p:nvCxnSpPr>
        <p:spPr>
          <a:xfrm>
            <a:off x="6718296" y="1904548"/>
            <a:ext cx="3610849" cy="1269196"/>
          </a:xfrm>
          <a:prstGeom prst="bentConnector2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连接符: 肘形 6">
            <a:extLst>
              <a:ext uri="{FF2B5EF4-FFF2-40B4-BE49-F238E27FC236}">
                <a16:creationId xmlns:a16="http://schemas.microsoft.com/office/drawing/2014/main" id="{2475F96E-D9C9-4E6F-972B-C94BEFEC5475}"/>
              </a:ext>
            </a:extLst>
          </p:cNvPr>
          <p:cNvCxnSpPr>
            <a:cxnSpLocks/>
            <a:stCxn id="28" idx="2"/>
            <a:endCxn id="11" idx="0"/>
          </p:cNvCxnSpPr>
          <p:nvPr/>
        </p:nvCxnSpPr>
        <p:spPr>
          <a:xfrm rot="10800000" flipV="1">
            <a:off x="1862842" y="1904547"/>
            <a:ext cx="3610853" cy="1269196"/>
          </a:xfrm>
          <a:prstGeom prst="bentConnector2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组合 7">
            <a:extLst>
              <a:ext uri="{FF2B5EF4-FFF2-40B4-BE49-F238E27FC236}">
                <a16:creationId xmlns:a16="http://schemas.microsoft.com/office/drawing/2014/main" id="{C1B62A49-C1AE-4D5F-8493-C2019FB57ED0}"/>
              </a:ext>
            </a:extLst>
          </p:cNvPr>
          <p:cNvGrpSpPr/>
          <p:nvPr/>
        </p:nvGrpSpPr>
        <p:grpSpPr>
          <a:xfrm>
            <a:off x="3166" y="3245921"/>
            <a:ext cx="12188834" cy="3612079"/>
            <a:chOff x="3175" y="2656396"/>
            <a:chExt cx="12188825" cy="4201604"/>
          </a:xfrm>
        </p:grpSpPr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3CEB5568-D536-435C-9A2D-DE9D0ED050B5}"/>
                </a:ext>
              </a:extLst>
            </p:cNvPr>
            <p:cNvSpPr/>
            <p:nvPr/>
          </p:nvSpPr>
          <p:spPr bwMode="auto">
            <a:xfrm>
              <a:off x="10164502" y="5375511"/>
              <a:ext cx="2027498" cy="1482489"/>
            </a:xfrm>
            <a:custGeom>
              <a:avLst/>
              <a:gdLst>
                <a:gd name="T0" fmla="*/ 1230 w 1276"/>
                <a:gd name="T1" fmla="*/ 748 h 933"/>
                <a:gd name="T2" fmla="*/ 1221 w 1276"/>
                <a:gd name="T3" fmla="*/ 748 h 933"/>
                <a:gd name="T4" fmla="*/ 1206 w 1276"/>
                <a:gd name="T5" fmla="*/ 748 h 933"/>
                <a:gd name="T6" fmla="*/ 1211 w 1276"/>
                <a:gd name="T7" fmla="*/ 216 h 933"/>
                <a:gd name="T8" fmla="*/ 1218 w 1276"/>
                <a:gd name="T9" fmla="*/ 216 h 933"/>
                <a:gd name="T10" fmla="*/ 1221 w 1276"/>
                <a:gd name="T11" fmla="*/ 214 h 933"/>
                <a:gd name="T12" fmla="*/ 1218 w 1276"/>
                <a:gd name="T13" fmla="*/ 185 h 933"/>
                <a:gd name="T14" fmla="*/ 1206 w 1276"/>
                <a:gd name="T15" fmla="*/ 182 h 933"/>
                <a:gd name="T16" fmla="*/ 1192 w 1276"/>
                <a:gd name="T17" fmla="*/ 180 h 933"/>
                <a:gd name="T18" fmla="*/ 1182 w 1276"/>
                <a:gd name="T19" fmla="*/ 0 h 933"/>
                <a:gd name="T20" fmla="*/ 1172 w 1276"/>
                <a:gd name="T21" fmla="*/ 180 h 933"/>
                <a:gd name="T22" fmla="*/ 1158 w 1276"/>
                <a:gd name="T23" fmla="*/ 180 h 933"/>
                <a:gd name="T24" fmla="*/ 1143 w 1276"/>
                <a:gd name="T25" fmla="*/ 182 h 933"/>
                <a:gd name="T26" fmla="*/ 1141 w 1276"/>
                <a:gd name="T27" fmla="*/ 212 h 933"/>
                <a:gd name="T28" fmla="*/ 1143 w 1276"/>
                <a:gd name="T29" fmla="*/ 214 h 933"/>
                <a:gd name="T30" fmla="*/ 1151 w 1276"/>
                <a:gd name="T31" fmla="*/ 214 h 933"/>
                <a:gd name="T32" fmla="*/ 1071 w 1276"/>
                <a:gd name="T33" fmla="*/ 659 h 933"/>
                <a:gd name="T34" fmla="*/ 659 w 1276"/>
                <a:gd name="T35" fmla="*/ 496 h 933"/>
                <a:gd name="T36" fmla="*/ 666 w 1276"/>
                <a:gd name="T37" fmla="*/ 491 h 933"/>
                <a:gd name="T38" fmla="*/ 611 w 1276"/>
                <a:gd name="T39" fmla="*/ 430 h 933"/>
                <a:gd name="T40" fmla="*/ 620 w 1276"/>
                <a:gd name="T41" fmla="*/ 425 h 933"/>
                <a:gd name="T42" fmla="*/ 606 w 1276"/>
                <a:gd name="T43" fmla="*/ 420 h 933"/>
                <a:gd name="T44" fmla="*/ 608 w 1276"/>
                <a:gd name="T45" fmla="*/ 406 h 933"/>
                <a:gd name="T46" fmla="*/ 606 w 1276"/>
                <a:gd name="T47" fmla="*/ 389 h 933"/>
                <a:gd name="T48" fmla="*/ 594 w 1276"/>
                <a:gd name="T49" fmla="*/ 379 h 933"/>
                <a:gd name="T50" fmla="*/ 586 w 1276"/>
                <a:gd name="T51" fmla="*/ 377 h 933"/>
                <a:gd name="T52" fmla="*/ 569 w 1276"/>
                <a:gd name="T53" fmla="*/ 377 h 933"/>
                <a:gd name="T54" fmla="*/ 562 w 1276"/>
                <a:gd name="T55" fmla="*/ 379 h 933"/>
                <a:gd name="T56" fmla="*/ 552 w 1276"/>
                <a:gd name="T57" fmla="*/ 391 h 933"/>
                <a:gd name="T58" fmla="*/ 548 w 1276"/>
                <a:gd name="T59" fmla="*/ 399 h 933"/>
                <a:gd name="T60" fmla="*/ 548 w 1276"/>
                <a:gd name="T61" fmla="*/ 413 h 933"/>
                <a:gd name="T62" fmla="*/ 552 w 1276"/>
                <a:gd name="T63" fmla="*/ 423 h 933"/>
                <a:gd name="T64" fmla="*/ 538 w 1276"/>
                <a:gd name="T65" fmla="*/ 425 h 933"/>
                <a:gd name="T66" fmla="*/ 548 w 1276"/>
                <a:gd name="T67" fmla="*/ 430 h 933"/>
                <a:gd name="T68" fmla="*/ 519 w 1276"/>
                <a:gd name="T69" fmla="*/ 491 h 933"/>
                <a:gd name="T70" fmla="*/ 412 w 1276"/>
                <a:gd name="T71" fmla="*/ 491 h 933"/>
                <a:gd name="T72" fmla="*/ 402 w 1276"/>
                <a:gd name="T73" fmla="*/ 491 h 933"/>
                <a:gd name="T74" fmla="*/ 359 w 1276"/>
                <a:gd name="T75" fmla="*/ 464 h 933"/>
                <a:gd name="T76" fmla="*/ 366 w 1276"/>
                <a:gd name="T77" fmla="*/ 459 h 933"/>
                <a:gd name="T78" fmla="*/ 204 w 1276"/>
                <a:gd name="T79" fmla="*/ 447 h 933"/>
                <a:gd name="T80" fmla="*/ 194 w 1276"/>
                <a:gd name="T81" fmla="*/ 416 h 933"/>
                <a:gd name="T82" fmla="*/ 177 w 1276"/>
                <a:gd name="T83" fmla="*/ 391 h 933"/>
                <a:gd name="T84" fmla="*/ 155 w 1276"/>
                <a:gd name="T85" fmla="*/ 369 h 933"/>
                <a:gd name="T86" fmla="*/ 141 w 1276"/>
                <a:gd name="T87" fmla="*/ 360 h 933"/>
                <a:gd name="T88" fmla="*/ 114 w 1276"/>
                <a:gd name="T89" fmla="*/ 350 h 933"/>
                <a:gd name="T90" fmla="*/ 112 w 1276"/>
                <a:gd name="T91" fmla="*/ 348 h 933"/>
                <a:gd name="T92" fmla="*/ 97 w 1276"/>
                <a:gd name="T93" fmla="*/ 345 h 933"/>
                <a:gd name="T94" fmla="*/ 92 w 1276"/>
                <a:gd name="T95" fmla="*/ 345 h 933"/>
                <a:gd name="T96" fmla="*/ 88 w 1276"/>
                <a:gd name="T97" fmla="*/ 345 h 933"/>
                <a:gd name="T98" fmla="*/ 78 w 1276"/>
                <a:gd name="T99" fmla="*/ 263 h 933"/>
                <a:gd name="T100" fmla="*/ 73 w 1276"/>
                <a:gd name="T101" fmla="*/ 345 h 933"/>
                <a:gd name="T102" fmla="*/ 68 w 1276"/>
                <a:gd name="T103" fmla="*/ 345 h 933"/>
                <a:gd name="T104" fmla="*/ 51 w 1276"/>
                <a:gd name="T105" fmla="*/ 348 h 933"/>
                <a:gd name="T106" fmla="*/ 51 w 1276"/>
                <a:gd name="T107" fmla="*/ 348 h 933"/>
                <a:gd name="T108" fmla="*/ 37 w 1276"/>
                <a:gd name="T109" fmla="*/ 355 h 933"/>
                <a:gd name="T110" fmla="*/ 22 w 1276"/>
                <a:gd name="T111" fmla="*/ 360 h 933"/>
                <a:gd name="T112" fmla="*/ 0 w 1276"/>
                <a:gd name="T113" fmla="*/ 374 h 933"/>
                <a:gd name="T114" fmla="*/ 1276 w 1276"/>
                <a:gd name="T115" fmla="*/ 933 h 933"/>
                <a:gd name="T116" fmla="*/ 1233 w 1276"/>
                <a:gd name="T117" fmla="*/ 739 h 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76" h="933">
                  <a:moveTo>
                    <a:pt x="1233" y="746"/>
                  </a:moveTo>
                  <a:lnTo>
                    <a:pt x="1230" y="748"/>
                  </a:lnTo>
                  <a:lnTo>
                    <a:pt x="1228" y="748"/>
                  </a:lnTo>
                  <a:lnTo>
                    <a:pt x="1221" y="748"/>
                  </a:lnTo>
                  <a:lnTo>
                    <a:pt x="1216" y="748"/>
                  </a:lnTo>
                  <a:lnTo>
                    <a:pt x="1206" y="748"/>
                  </a:lnTo>
                  <a:lnTo>
                    <a:pt x="1206" y="741"/>
                  </a:lnTo>
                  <a:lnTo>
                    <a:pt x="1211" y="216"/>
                  </a:lnTo>
                  <a:lnTo>
                    <a:pt x="1213" y="216"/>
                  </a:lnTo>
                  <a:lnTo>
                    <a:pt x="1218" y="216"/>
                  </a:lnTo>
                  <a:lnTo>
                    <a:pt x="1221" y="214"/>
                  </a:lnTo>
                  <a:lnTo>
                    <a:pt x="1221" y="214"/>
                  </a:lnTo>
                  <a:lnTo>
                    <a:pt x="1221" y="185"/>
                  </a:lnTo>
                  <a:lnTo>
                    <a:pt x="1218" y="185"/>
                  </a:lnTo>
                  <a:lnTo>
                    <a:pt x="1213" y="182"/>
                  </a:lnTo>
                  <a:lnTo>
                    <a:pt x="1206" y="182"/>
                  </a:lnTo>
                  <a:lnTo>
                    <a:pt x="1197" y="180"/>
                  </a:lnTo>
                  <a:lnTo>
                    <a:pt x="1192" y="180"/>
                  </a:lnTo>
                  <a:lnTo>
                    <a:pt x="1192" y="93"/>
                  </a:lnTo>
                  <a:lnTo>
                    <a:pt x="1182" y="0"/>
                  </a:lnTo>
                  <a:lnTo>
                    <a:pt x="1175" y="90"/>
                  </a:lnTo>
                  <a:lnTo>
                    <a:pt x="1172" y="180"/>
                  </a:lnTo>
                  <a:lnTo>
                    <a:pt x="1165" y="180"/>
                  </a:lnTo>
                  <a:lnTo>
                    <a:pt x="1158" y="180"/>
                  </a:lnTo>
                  <a:lnTo>
                    <a:pt x="1151" y="180"/>
                  </a:lnTo>
                  <a:lnTo>
                    <a:pt x="1143" y="182"/>
                  </a:lnTo>
                  <a:lnTo>
                    <a:pt x="1141" y="182"/>
                  </a:lnTo>
                  <a:lnTo>
                    <a:pt x="1141" y="212"/>
                  </a:lnTo>
                  <a:lnTo>
                    <a:pt x="1141" y="212"/>
                  </a:lnTo>
                  <a:lnTo>
                    <a:pt x="1143" y="214"/>
                  </a:lnTo>
                  <a:lnTo>
                    <a:pt x="1148" y="214"/>
                  </a:lnTo>
                  <a:lnTo>
                    <a:pt x="1151" y="214"/>
                  </a:lnTo>
                  <a:lnTo>
                    <a:pt x="1146" y="714"/>
                  </a:lnTo>
                  <a:lnTo>
                    <a:pt x="1071" y="659"/>
                  </a:lnTo>
                  <a:lnTo>
                    <a:pt x="661" y="651"/>
                  </a:lnTo>
                  <a:lnTo>
                    <a:pt x="659" y="496"/>
                  </a:lnTo>
                  <a:lnTo>
                    <a:pt x="666" y="496"/>
                  </a:lnTo>
                  <a:lnTo>
                    <a:pt x="666" y="491"/>
                  </a:lnTo>
                  <a:lnTo>
                    <a:pt x="611" y="491"/>
                  </a:lnTo>
                  <a:lnTo>
                    <a:pt x="611" y="430"/>
                  </a:lnTo>
                  <a:lnTo>
                    <a:pt x="620" y="428"/>
                  </a:lnTo>
                  <a:lnTo>
                    <a:pt x="620" y="425"/>
                  </a:lnTo>
                  <a:lnTo>
                    <a:pt x="603" y="423"/>
                  </a:lnTo>
                  <a:lnTo>
                    <a:pt x="606" y="420"/>
                  </a:lnTo>
                  <a:lnTo>
                    <a:pt x="608" y="413"/>
                  </a:lnTo>
                  <a:lnTo>
                    <a:pt x="608" y="406"/>
                  </a:lnTo>
                  <a:lnTo>
                    <a:pt x="608" y="399"/>
                  </a:lnTo>
                  <a:lnTo>
                    <a:pt x="606" y="389"/>
                  </a:lnTo>
                  <a:lnTo>
                    <a:pt x="601" y="384"/>
                  </a:lnTo>
                  <a:lnTo>
                    <a:pt x="594" y="379"/>
                  </a:lnTo>
                  <a:lnTo>
                    <a:pt x="586" y="377"/>
                  </a:lnTo>
                  <a:lnTo>
                    <a:pt x="586" y="377"/>
                  </a:lnTo>
                  <a:lnTo>
                    <a:pt x="577" y="374"/>
                  </a:lnTo>
                  <a:lnTo>
                    <a:pt x="569" y="377"/>
                  </a:lnTo>
                  <a:lnTo>
                    <a:pt x="569" y="377"/>
                  </a:lnTo>
                  <a:lnTo>
                    <a:pt x="562" y="379"/>
                  </a:lnTo>
                  <a:lnTo>
                    <a:pt x="557" y="384"/>
                  </a:lnTo>
                  <a:lnTo>
                    <a:pt x="552" y="391"/>
                  </a:lnTo>
                  <a:lnTo>
                    <a:pt x="548" y="399"/>
                  </a:lnTo>
                  <a:lnTo>
                    <a:pt x="548" y="399"/>
                  </a:lnTo>
                  <a:lnTo>
                    <a:pt x="548" y="406"/>
                  </a:lnTo>
                  <a:lnTo>
                    <a:pt x="548" y="413"/>
                  </a:lnTo>
                  <a:lnTo>
                    <a:pt x="552" y="420"/>
                  </a:lnTo>
                  <a:lnTo>
                    <a:pt x="552" y="423"/>
                  </a:lnTo>
                  <a:lnTo>
                    <a:pt x="552" y="423"/>
                  </a:lnTo>
                  <a:lnTo>
                    <a:pt x="538" y="425"/>
                  </a:lnTo>
                  <a:lnTo>
                    <a:pt x="538" y="430"/>
                  </a:lnTo>
                  <a:lnTo>
                    <a:pt x="548" y="430"/>
                  </a:lnTo>
                  <a:lnTo>
                    <a:pt x="550" y="491"/>
                  </a:lnTo>
                  <a:lnTo>
                    <a:pt x="519" y="491"/>
                  </a:lnTo>
                  <a:lnTo>
                    <a:pt x="509" y="491"/>
                  </a:lnTo>
                  <a:lnTo>
                    <a:pt x="412" y="491"/>
                  </a:lnTo>
                  <a:lnTo>
                    <a:pt x="412" y="491"/>
                  </a:lnTo>
                  <a:lnTo>
                    <a:pt x="402" y="491"/>
                  </a:lnTo>
                  <a:lnTo>
                    <a:pt x="359" y="491"/>
                  </a:lnTo>
                  <a:lnTo>
                    <a:pt x="359" y="464"/>
                  </a:lnTo>
                  <a:lnTo>
                    <a:pt x="366" y="464"/>
                  </a:lnTo>
                  <a:lnTo>
                    <a:pt x="366" y="459"/>
                  </a:lnTo>
                  <a:lnTo>
                    <a:pt x="206" y="459"/>
                  </a:lnTo>
                  <a:lnTo>
                    <a:pt x="204" y="447"/>
                  </a:lnTo>
                  <a:lnTo>
                    <a:pt x="201" y="430"/>
                  </a:lnTo>
                  <a:lnTo>
                    <a:pt x="194" y="416"/>
                  </a:lnTo>
                  <a:lnTo>
                    <a:pt x="187" y="403"/>
                  </a:lnTo>
                  <a:lnTo>
                    <a:pt x="177" y="391"/>
                  </a:lnTo>
                  <a:lnTo>
                    <a:pt x="167" y="379"/>
                  </a:lnTo>
                  <a:lnTo>
                    <a:pt x="155" y="369"/>
                  </a:lnTo>
                  <a:lnTo>
                    <a:pt x="141" y="362"/>
                  </a:lnTo>
                  <a:lnTo>
                    <a:pt x="141" y="360"/>
                  </a:lnTo>
                  <a:lnTo>
                    <a:pt x="126" y="355"/>
                  </a:lnTo>
                  <a:lnTo>
                    <a:pt x="114" y="350"/>
                  </a:lnTo>
                  <a:lnTo>
                    <a:pt x="114" y="348"/>
                  </a:lnTo>
                  <a:lnTo>
                    <a:pt x="112" y="348"/>
                  </a:lnTo>
                  <a:lnTo>
                    <a:pt x="112" y="348"/>
                  </a:lnTo>
                  <a:lnTo>
                    <a:pt x="97" y="345"/>
                  </a:lnTo>
                  <a:lnTo>
                    <a:pt x="95" y="345"/>
                  </a:lnTo>
                  <a:lnTo>
                    <a:pt x="92" y="345"/>
                  </a:lnTo>
                  <a:lnTo>
                    <a:pt x="90" y="345"/>
                  </a:lnTo>
                  <a:lnTo>
                    <a:pt x="88" y="345"/>
                  </a:lnTo>
                  <a:lnTo>
                    <a:pt x="90" y="263"/>
                  </a:lnTo>
                  <a:lnTo>
                    <a:pt x="78" y="263"/>
                  </a:lnTo>
                  <a:lnTo>
                    <a:pt x="75" y="345"/>
                  </a:lnTo>
                  <a:lnTo>
                    <a:pt x="73" y="345"/>
                  </a:lnTo>
                  <a:lnTo>
                    <a:pt x="71" y="345"/>
                  </a:lnTo>
                  <a:lnTo>
                    <a:pt x="68" y="345"/>
                  </a:lnTo>
                  <a:lnTo>
                    <a:pt x="54" y="348"/>
                  </a:lnTo>
                  <a:lnTo>
                    <a:pt x="51" y="348"/>
                  </a:lnTo>
                  <a:lnTo>
                    <a:pt x="51" y="348"/>
                  </a:lnTo>
                  <a:lnTo>
                    <a:pt x="51" y="348"/>
                  </a:lnTo>
                  <a:lnTo>
                    <a:pt x="51" y="350"/>
                  </a:lnTo>
                  <a:lnTo>
                    <a:pt x="37" y="355"/>
                  </a:lnTo>
                  <a:lnTo>
                    <a:pt x="22" y="360"/>
                  </a:lnTo>
                  <a:lnTo>
                    <a:pt x="22" y="360"/>
                  </a:lnTo>
                  <a:lnTo>
                    <a:pt x="8" y="369"/>
                  </a:lnTo>
                  <a:lnTo>
                    <a:pt x="0" y="374"/>
                  </a:lnTo>
                  <a:lnTo>
                    <a:pt x="0" y="933"/>
                  </a:lnTo>
                  <a:lnTo>
                    <a:pt x="1276" y="933"/>
                  </a:lnTo>
                  <a:lnTo>
                    <a:pt x="1276" y="739"/>
                  </a:lnTo>
                  <a:lnTo>
                    <a:pt x="1233" y="739"/>
                  </a:lnTo>
                  <a:lnTo>
                    <a:pt x="1233" y="74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8BEEDEA9-98C3-44F1-88D2-FAC0A557A101}"/>
                </a:ext>
              </a:extLst>
            </p:cNvPr>
            <p:cNvSpPr/>
            <p:nvPr/>
          </p:nvSpPr>
          <p:spPr bwMode="auto">
            <a:xfrm>
              <a:off x="8129058" y="4353817"/>
              <a:ext cx="2035444" cy="2504183"/>
            </a:xfrm>
            <a:custGeom>
              <a:avLst/>
              <a:gdLst>
                <a:gd name="T0" fmla="*/ 1247 w 1281"/>
                <a:gd name="T1" fmla="*/ 1059 h 1576"/>
                <a:gd name="T2" fmla="*/ 1063 w 1281"/>
                <a:gd name="T3" fmla="*/ 1107 h 1576"/>
                <a:gd name="T4" fmla="*/ 1010 w 1281"/>
                <a:gd name="T5" fmla="*/ 634 h 1576"/>
                <a:gd name="T6" fmla="*/ 879 w 1281"/>
                <a:gd name="T7" fmla="*/ 801 h 1576"/>
                <a:gd name="T8" fmla="*/ 831 w 1281"/>
                <a:gd name="T9" fmla="*/ 306 h 1576"/>
                <a:gd name="T10" fmla="*/ 882 w 1281"/>
                <a:gd name="T11" fmla="*/ 296 h 1576"/>
                <a:gd name="T12" fmla="*/ 882 w 1281"/>
                <a:gd name="T13" fmla="*/ 264 h 1576"/>
                <a:gd name="T14" fmla="*/ 884 w 1281"/>
                <a:gd name="T15" fmla="*/ 245 h 1576"/>
                <a:gd name="T16" fmla="*/ 879 w 1281"/>
                <a:gd name="T17" fmla="*/ 89 h 1576"/>
                <a:gd name="T18" fmla="*/ 877 w 1281"/>
                <a:gd name="T19" fmla="*/ 143 h 1576"/>
                <a:gd name="T20" fmla="*/ 795 w 1281"/>
                <a:gd name="T21" fmla="*/ 111 h 1576"/>
                <a:gd name="T22" fmla="*/ 790 w 1281"/>
                <a:gd name="T23" fmla="*/ 145 h 1576"/>
                <a:gd name="T24" fmla="*/ 710 w 1281"/>
                <a:gd name="T25" fmla="*/ 114 h 1576"/>
                <a:gd name="T26" fmla="*/ 703 w 1281"/>
                <a:gd name="T27" fmla="*/ 89 h 1576"/>
                <a:gd name="T28" fmla="*/ 623 w 1281"/>
                <a:gd name="T29" fmla="*/ 153 h 1576"/>
                <a:gd name="T30" fmla="*/ 615 w 1281"/>
                <a:gd name="T31" fmla="*/ 153 h 1576"/>
                <a:gd name="T32" fmla="*/ 615 w 1281"/>
                <a:gd name="T33" fmla="*/ 89 h 1576"/>
                <a:gd name="T34" fmla="*/ 536 w 1281"/>
                <a:gd name="T35" fmla="*/ 153 h 1576"/>
                <a:gd name="T36" fmla="*/ 528 w 1281"/>
                <a:gd name="T37" fmla="*/ 153 h 1576"/>
                <a:gd name="T38" fmla="*/ 526 w 1281"/>
                <a:gd name="T39" fmla="*/ 0 h 1576"/>
                <a:gd name="T40" fmla="*/ 521 w 1281"/>
                <a:gd name="T41" fmla="*/ 145 h 1576"/>
                <a:gd name="T42" fmla="*/ 499 w 1281"/>
                <a:gd name="T43" fmla="*/ 189 h 1576"/>
                <a:gd name="T44" fmla="*/ 468 w 1281"/>
                <a:gd name="T45" fmla="*/ 191 h 1576"/>
                <a:gd name="T46" fmla="*/ 448 w 1281"/>
                <a:gd name="T47" fmla="*/ 191 h 1576"/>
                <a:gd name="T48" fmla="*/ 429 w 1281"/>
                <a:gd name="T49" fmla="*/ 194 h 1576"/>
                <a:gd name="T50" fmla="*/ 412 w 1281"/>
                <a:gd name="T51" fmla="*/ 196 h 1576"/>
                <a:gd name="T52" fmla="*/ 395 w 1281"/>
                <a:gd name="T53" fmla="*/ 199 h 1576"/>
                <a:gd name="T54" fmla="*/ 366 w 1281"/>
                <a:gd name="T55" fmla="*/ 206 h 1576"/>
                <a:gd name="T56" fmla="*/ 354 w 1281"/>
                <a:gd name="T57" fmla="*/ 208 h 1576"/>
                <a:gd name="T58" fmla="*/ 347 w 1281"/>
                <a:gd name="T59" fmla="*/ 213 h 1576"/>
                <a:gd name="T60" fmla="*/ 342 w 1281"/>
                <a:gd name="T61" fmla="*/ 216 h 1576"/>
                <a:gd name="T62" fmla="*/ 342 w 1281"/>
                <a:gd name="T63" fmla="*/ 216 h 1576"/>
                <a:gd name="T64" fmla="*/ 337 w 1281"/>
                <a:gd name="T65" fmla="*/ 221 h 1576"/>
                <a:gd name="T66" fmla="*/ 339 w 1281"/>
                <a:gd name="T67" fmla="*/ 228 h 1576"/>
                <a:gd name="T68" fmla="*/ 337 w 1281"/>
                <a:gd name="T69" fmla="*/ 223 h 1576"/>
                <a:gd name="T70" fmla="*/ 337 w 1281"/>
                <a:gd name="T71" fmla="*/ 228 h 1576"/>
                <a:gd name="T72" fmla="*/ 339 w 1281"/>
                <a:gd name="T73" fmla="*/ 230 h 1576"/>
                <a:gd name="T74" fmla="*/ 342 w 1281"/>
                <a:gd name="T75" fmla="*/ 233 h 1576"/>
                <a:gd name="T76" fmla="*/ 344 w 1281"/>
                <a:gd name="T77" fmla="*/ 238 h 1576"/>
                <a:gd name="T78" fmla="*/ 352 w 1281"/>
                <a:gd name="T79" fmla="*/ 240 h 1576"/>
                <a:gd name="T80" fmla="*/ 359 w 1281"/>
                <a:gd name="T81" fmla="*/ 242 h 1576"/>
                <a:gd name="T82" fmla="*/ 368 w 1281"/>
                <a:gd name="T83" fmla="*/ 245 h 1576"/>
                <a:gd name="T84" fmla="*/ 378 w 1281"/>
                <a:gd name="T85" fmla="*/ 247 h 1576"/>
                <a:gd name="T86" fmla="*/ 390 w 1281"/>
                <a:gd name="T87" fmla="*/ 250 h 1576"/>
                <a:gd name="T88" fmla="*/ 400 w 1281"/>
                <a:gd name="T89" fmla="*/ 252 h 1576"/>
                <a:gd name="T90" fmla="*/ 402 w 1281"/>
                <a:gd name="T91" fmla="*/ 310 h 1576"/>
                <a:gd name="T92" fmla="*/ 402 w 1281"/>
                <a:gd name="T93" fmla="*/ 371 h 1576"/>
                <a:gd name="T94" fmla="*/ 402 w 1281"/>
                <a:gd name="T95" fmla="*/ 400 h 1576"/>
                <a:gd name="T96" fmla="*/ 400 w 1281"/>
                <a:gd name="T97" fmla="*/ 1260 h 1576"/>
                <a:gd name="T98" fmla="*/ 90 w 1281"/>
                <a:gd name="T99" fmla="*/ 383 h 1576"/>
                <a:gd name="T100" fmla="*/ 10 w 1281"/>
                <a:gd name="T101" fmla="*/ 1224 h 1576"/>
                <a:gd name="T102" fmla="*/ 1281 w 1281"/>
                <a:gd name="T103" fmla="*/ 1576 h 1576"/>
                <a:gd name="T104" fmla="*/ 352 w 1281"/>
                <a:gd name="T105" fmla="*/ 228 h 1576"/>
                <a:gd name="T106" fmla="*/ 342 w 1281"/>
                <a:gd name="T107" fmla="*/ 225 h 1576"/>
                <a:gd name="T108" fmla="*/ 342 w 1281"/>
                <a:gd name="T109" fmla="*/ 228 h 1576"/>
                <a:gd name="T110" fmla="*/ 410 w 1281"/>
                <a:gd name="T111" fmla="*/ 199 h 1576"/>
                <a:gd name="T112" fmla="*/ 412 w 1281"/>
                <a:gd name="T113" fmla="*/ 206 h 1576"/>
                <a:gd name="T114" fmla="*/ 419 w 1281"/>
                <a:gd name="T115" fmla="*/ 211 h 1576"/>
                <a:gd name="T116" fmla="*/ 427 w 1281"/>
                <a:gd name="T117" fmla="*/ 196 h 1576"/>
                <a:gd name="T118" fmla="*/ 429 w 1281"/>
                <a:gd name="T119" fmla="*/ 204 h 1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81" h="1576">
                  <a:moveTo>
                    <a:pt x="1281" y="1017"/>
                  </a:moveTo>
                  <a:lnTo>
                    <a:pt x="1277" y="1022"/>
                  </a:lnTo>
                  <a:lnTo>
                    <a:pt x="1264" y="1032"/>
                  </a:lnTo>
                  <a:lnTo>
                    <a:pt x="1255" y="1044"/>
                  </a:lnTo>
                  <a:lnTo>
                    <a:pt x="1247" y="1059"/>
                  </a:lnTo>
                  <a:lnTo>
                    <a:pt x="1240" y="1073"/>
                  </a:lnTo>
                  <a:lnTo>
                    <a:pt x="1235" y="1090"/>
                  </a:lnTo>
                  <a:lnTo>
                    <a:pt x="1235" y="1102"/>
                  </a:lnTo>
                  <a:lnTo>
                    <a:pt x="1063" y="1102"/>
                  </a:lnTo>
                  <a:lnTo>
                    <a:pt x="1063" y="1107"/>
                  </a:lnTo>
                  <a:lnTo>
                    <a:pt x="1071" y="1107"/>
                  </a:lnTo>
                  <a:lnTo>
                    <a:pt x="1071" y="1134"/>
                  </a:lnTo>
                  <a:lnTo>
                    <a:pt x="1051" y="1134"/>
                  </a:lnTo>
                  <a:lnTo>
                    <a:pt x="1051" y="634"/>
                  </a:lnTo>
                  <a:lnTo>
                    <a:pt x="1010" y="634"/>
                  </a:lnTo>
                  <a:lnTo>
                    <a:pt x="1010" y="602"/>
                  </a:lnTo>
                  <a:lnTo>
                    <a:pt x="925" y="602"/>
                  </a:lnTo>
                  <a:lnTo>
                    <a:pt x="925" y="634"/>
                  </a:lnTo>
                  <a:lnTo>
                    <a:pt x="879" y="634"/>
                  </a:lnTo>
                  <a:lnTo>
                    <a:pt x="879" y="801"/>
                  </a:lnTo>
                  <a:lnTo>
                    <a:pt x="848" y="801"/>
                  </a:lnTo>
                  <a:lnTo>
                    <a:pt x="848" y="825"/>
                  </a:lnTo>
                  <a:lnTo>
                    <a:pt x="831" y="825"/>
                  </a:lnTo>
                  <a:lnTo>
                    <a:pt x="831" y="495"/>
                  </a:lnTo>
                  <a:lnTo>
                    <a:pt x="831" y="306"/>
                  </a:lnTo>
                  <a:lnTo>
                    <a:pt x="872" y="306"/>
                  </a:lnTo>
                  <a:lnTo>
                    <a:pt x="872" y="306"/>
                  </a:lnTo>
                  <a:lnTo>
                    <a:pt x="872" y="306"/>
                  </a:lnTo>
                  <a:lnTo>
                    <a:pt x="882" y="306"/>
                  </a:lnTo>
                  <a:lnTo>
                    <a:pt x="882" y="296"/>
                  </a:lnTo>
                  <a:lnTo>
                    <a:pt x="884" y="296"/>
                  </a:lnTo>
                  <a:lnTo>
                    <a:pt x="887" y="289"/>
                  </a:lnTo>
                  <a:lnTo>
                    <a:pt x="887" y="281"/>
                  </a:lnTo>
                  <a:lnTo>
                    <a:pt x="882" y="281"/>
                  </a:lnTo>
                  <a:lnTo>
                    <a:pt x="882" y="264"/>
                  </a:lnTo>
                  <a:lnTo>
                    <a:pt x="884" y="264"/>
                  </a:lnTo>
                  <a:lnTo>
                    <a:pt x="884" y="262"/>
                  </a:lnTo>
                  <a:lnTo>
                    <a:pt x="884" y="247"/>
                  </a:lnTo>
                  <a:lnTo>
                    <a:pt x="884" y="247"/>
                  </a:lnTo>
                  <a:lnTo>
                    <a:pt x="884" y="245"/>
                  </a:lnTo>
                  <a:lnTo>
                    <a:pt x="884" y="143"/>
                  </a:lnTo>
                  <a:lnTo>
                    <a:pt x="882" y="143"/>
                  </a:lnTo>
                  <a:lnTo>
                    <a:pt x="882" y="89"/>
                  </a:lnTo>
                  <a:lnTo>
                    <a:pt x="879" y="89"/>
                  </a:lnTo>
                  <a:lnTo>
                    <a:pt x="879" y="89"/>
                  </a:lnTo>
                  <a:lnTo>
                    <a:pt x="879" y="111"/>
                  </a:lnTo>
                  <a:lnTo>
                    <a:pt x="877" y="111"/>
                  </a:lnTo>
                  <a:lnTo>
                    <a:pt x="877" y="111"/>
                  </a:lnTo>
                  <a:lnTo>
                    <a:pt x="877" y="143"/>
                  </a:lnTo>
                  <a:lnTo>
                    <a:pt x="877" y="143"/>
                  </a:lnTo>
                  <a:lnTo>
                    <a:pt x="877" y="145"/>
                  </a:lnTo>
                  <a:lnTo>
                    <a:pt x="877" y="150"/>
                  </a:lnTo>
                  <a:lnTo>
                    <a:pt x="795" y="150"/>
                  </a:lnTo>
                  <a:lnTo>
                    <a:pt x="795" y="114"/>
                  </a:lnTo>
                  <a:lnTo>
                    <a:pt x="795" y="111"/>
                  </a:lnTo>
                  <a:lnTo>
                    <a:pt x="792" y="111"/>
                  </a:lnTo>
                  <a:lnTo>
                    <a:pt x="792" y="89"/>
                  </a:lnTo>
                  <a:lnTo>
                    <a:pt x="792" y="89"/>
                  </a:lnTo>
                  <a:lnTo>
                    <a:pt x="790" y="89"/>
                  </a:lnTo>
                  <a:lnTo>
                    <a:pt x="790" y="145"/>
                  </a:lnTo>
                  <a:lnTo>
                    <a:pt x="787" y="145"/>
                  </a:lnTo>
                  <a:lnTo>
                    <a:pt x="787" y="150"/>
                  </a:lnTo>
                  <a:lnTo>
                    <a:pt x="710" y="150"/>
                  </a:lnTo>
                  <a:lnTo>
                    <a:pt x="710" y="114"/>
                  </a:lnTo>
                  <a:lnTo>
                    <a:pt x="710" y="114"/>
                  </a:lnTo>
                  <a:lnTo>
                    <a:pt x="705" y="114"/>
                  </a:lnTo>
                  <a:lnTo>
                    <a:pt x="705" y="145"/>
                  </a:lnTo>
                  <a:lnTo>
                    <a:pt x="705" y="145"/>
                  </a:lnTo>
                  <a:lnTo>
                    <a:pt x="705" y="89"/>
                  </a:lnTo>
                  <a:lnTo>
                    <a:pt x="703" y="89"/>
                  </a:lnTo>
                  <a:lnTo>
                    <a:pt x="700" y="89"/>
                  </a:lnTo>
                  <a:lnTo>
                    <a:pt x="700" y="145"/>
                  </a:lnTo>
                  <a:lnTo>
                    <a:pt x="698" y="145"/>
                  </a:lnTo>
                  <a:lnTo>
                    <a:pt x="698" y="150"/>
                  </a:lnTo>
                  <a:lnTo>
                    <a:pt x="623" y="153"/>
                  </a:lnTo>
                  <a:lnTo>
                    <a:pt x="623" y="114"/>
                  </a:lnTo>
                  <a:lnTo>
                    <a:pt x="623" y="114"/>
                  </a:lnTo>
                  <a:lnTo>
                    <a:pt x="618" y="114"/>
                  </a:lnTo>
                  <a:lnTo>
                    <a:pt x="618" y="153"/>
                  </a:lnTo>
                  <a:lnTo>
                    <a:pt x="615" y="153"/>
                  </a:lnTo>
                  <a:lnTo>
                    <a:pt x="615" y="148"/>
                  </a:lnTo>
                  <a:lnTo>
                    <a:pt x="615" y="145"/>
                  </a:lnTo>
                  <a:lnTo>
                    <a:pt x="615" y="145"/>
                  </a:lnTo>
                  <a:lnTo>
                    <a:pt x="615" y="92"/>
                  </a:lnTo>
                  <a:lnTo>
                    <a:pt x="615" y="89"/>
                  </a:lnTo>
                  <a:lnTo>
                    <a:pt x="611" y="89"/>
                  </a:lnTo>
                  <a:lnTo>
                    <a:pt x="611" y="145"/>
                  </a:lnTo>
                  <a:lnTo>
                    <a:pt x="608" y="145"/>
                  </a:lnTo>
                  <a:lnTo>
                    <a:pt x="608" y="153"/>
                  </a:lnTo>
                  <a:lnTo>
                    <a:pt x="536" y="153"/>
                  </a:lnTo>
                  <a:lnTo>
                    <a:pt x="536" y="114"/>
                  </a:lnTo>
                  <a:lnTo>
                    <a:pt x="536" y="114"/>
                  </a:lnTo>
                  <a:lnTo>
                    <a:pt x="533" y="114"/>
                  </a:lnTo>
                  <a:lnTo>
                    <a:pt x="533" y="153"/>
                  </a:lnTo>
                  <a:lnTo>
                    <a:pt x="528" y="153"/>
                  </a:lnTo>
                  <a:lnTo>
                    <a:pt x="528" y="148"/>
                  </a:lnTo>
                  <a:lnTo>
                    <a:pt x="526" y="145"/>
                  </a:lnTo>
                  <a:lnTo>
                    <a:pt x="526" y="145"/>
                  </a:lnTo>
                  <a:lnTo>
                    <a:pt x="526" y="2"/>
                  </a:lnTo>
                  <a:lnTo>
                    <a:pt x="526" y="0"/>
                  </a:lnTo>
                  <a:lnTo>
                    <a:pt x="521" y="0"/>
                  </a:lnTo>
                  <a:lnTo>
                    <a:pt x="521" y="92"/>
                  </a:lnTo>
                  <a:lnTo>
                    <a:pt x="521" y="92"/>
                  </a:lnTo>
                  <a:lnTo>
                    <a:pt x="521" y="145"/>
                  </a:lnTo>
                  <a:lnTo>
                    <a:pt x="521" y="145"/>
                  </a:lnTo>
                  <a:lnTo>
                    <a:pt x="521" y="187"/>
                  </a:lnTo>
                  <a:lnTo>
                    <a:pt x="511" y="189"/>
                  </a:lnTo>
                  <a:lnTo>
                    <a:pt x="511" y="189"/>
                  </a:lnTo>
                  <a:lnTo>
                    <a:pt x="509" y="189"/>
                  </a:lnTo>
                  <a:lnTo>
                    <a:pt x="499" y="189"/>
                  </a:lnTo>
                  <a:lnTo>
                    <a:pt x="490" y="189"/>
                  </a:lnTo>
                  <a:lnTo>
                    <a:pt x="490" y="189"/>
                  </a:lnTo>
                  <a:lnTo>
                    <a:pt x="487" y="189"/>
                  </a:lnTo>
                  <a:lnTo>
                    <a:pt x="477" y="189"/>
                  </a:lnTo>
                  <a:lnTo>
                    <a:pt x="468" y="191"/>
                  </a:lnTo>
                  <a:lnTo>
                    <a:pt x="468" y="191"/>
                  </a:lnTo>
                  <a:lnTo>
                    <a:pt x="465" y="191"/>
                  </a:lnTo>
                  <a:lnTo>
                    <a:pt x="465" y="191"/>
                  </a:lnTo>
                  <a:lnTo>
                    <a:pt x="456" y="191"/>
                  </a:lnTo>
                  <a:lnTo>
                    <a:pt x="448" y="191"/>
                  </a:lnTo>
                  <a:lnTo>
                    <a:pt x="448" y="191"/>
                  </a:lnTo>
                  <a:lnTo>
                    <a:pt x="446" y="191"/>
                  </a:lnTo>
                  <a:lnTo>
                    <a:pt x="439" y="194"/>
                  </a:lnTo>
                  <a:lnTo>
                    <a:pt x="429" y="194"/>
                  </a:lnTo>
                  <a:lnTo>
                    <a:pt x="429" y="194"/>
                  </a:lnTo>
                  <a:lnTo>
                    <a:pt x="429" y="194"/>
                  </a:lnTo>
                  <a:lnTo>
                    <a:pt x="419" y="196"/>
                  </a:lnTo>
                  <a:lnTo>
                    <a:pt x="412" y="196"/>
                  </a:lnTo>
                  <a:lnTo>
                    <a:pt x="412" y="196"/>
                  </a:lnTo>
                  <a:lnTo>
                    <a:pt x="412" y="196"/>
                  </a:lnTo>
                  <a:lnTo>
                    <a:pt x="412" y="196"/>
                  </a:lnTo>
                  <a:lnTo>
                    <a:pt x="412" y="196"/>
                  </a:lnTo>
                  <a:lnTo>
                    <a:pt x="405" y="199"/>
                  </a:lnTo>
                  <a:lnTo>
                    <a:pt x="398" y="199"/>
                  </a:lnTo>
                  <a:lnTo>
                    <a:pt x="395" y="199"/>
                  </a:lnTo>
                  <a:lnTo>
                    <a:pt x="390" y="201"/>
                  </a:lnTo>
                  <a:lnTo>
                    <a:pt x="383" y="201"/>
                  </a:lnTo>
                  <a:lnTo>
                    <a:pt x="383" y="201"/>
                  </a:lnTo>
                  <a:lnTo>
                    <a:pt x="376" y="204"/>
                  </a:lnTo>
                  <a:lnTo>
                    <a:pt x="366" y="206"/>
                  </a:lnTo>
                  <a:lnTo>
                    <a:pt x="356" y="208"/>
                  </a:lnTo>
                  <a:lnTo>
                    <a:pt x="354" y="208"/>
                  </a:lnTo>
                  <a:lnTo>
                    <a:pt x="354" y="208"/>
                  </a:lnTo>
                  <a:lnTo>
                    <a:pt x="354" y="208"/>
                  </a:lnTo>
                  <a:lnTo>
                    <a:pt x="354" y="208"/>
                  </a:lnTo>
                  <a:lnTo>
                    <a:pt x="354" y="208"/>
                  </a:lnTo>
                  <a:lnTo>
                    <a:pt x="349" y="211"/>
                  </a:lnTo>
                  <a:lnTo>
                    <a:pt x="349" y="211"/>
                  </a:lnTo>
                  <a:lnTo>
                    <a:pt x="347" y="213"/>
                  </a:lnTo>
                  <a:lnTo>
                    <a:pt x="347" y="213"/>
                  </a:lnTo>
                  <a:lnTo>
                    <a:pt x="347" y="213"/>
                  </a:lnTo>
                  <a:lnTo>
                    <a:pt x="344" y="213"/>
                  </a:lnTo>
                  <a:lnTo>
                    <a:pt x="342" y="216"/>
                  </a:lnTo>
                  <a:lnTo>
                    <a:pt x="342" y="216"/>
                  </a:lnTo>
                  <a:lnTo>
                    <a:pt x="342" y="216"/>
                  </a:lnTo>
                  <a:lnTo>
                    <a:pt x="339" y="218"/>
                  </a:lnTo>
                  <a:lnTo>
                    <a:pt x="339" y="218"/>
                  </a:lnTo>
                  <a:lnTo>
                    <a:pt x="339" y="218"/>
                  </a:lnTo>
                  <a:lnTo>
                    <a:pt x="342" y="216"/>
                  </a:lnTo>
                  <a:lnTo>
                    <a:pt x="342" y="216"/>
                  </a:lnTo>
                  <a:lnTo>
                    <a:pt x="342" y="216"/>
                  </a:lnTo>
                  <a:lnTo>
                    <a:pt x="339" y="218"/>
                  </a:lnTo>
                  <a:lnTo>
                    <a:pt x="339" y="218"/>
                  </a:lnTo>
                  <a:lnTo>
                    <a:pt x="337" y="221"/>
                  </a:lnTo>
                  <a:lnTo>
                    <a:pt x="337" y="221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7" y="225"/>
                  </a:lnTo>
                  <a:lnTo>
                    <a:pt x="337" y="225"/>
                  </a:lnTo>
                  <a:lnTo>
                    <a:pt x="339" y="228"/>
                  </a:lnTo>
                  <a:lnTo>
                    <a:pt x="337" y="225"/>
                  </a:lnTo>
                  <a:lnTo>
                    <a:pt x="337" y="225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7" y="223"/>
                  </a:lnTo>
                  <a:lnTo>
                    <a:pt x="337" y="225"/>
                  </a:lnTo>
                  <a:lnTo>
                    <a:pt x="337" y="225"/>
                  </a:lnTo>
                  <a:lnTo>
                    <a:pt x="337" y="228"/>
                  </a:lnTo>
                  <a:lnTo>
                    <a:pt x="337" y="228"/>
                  </a:lnTo>
                  <a:lnTo>
                    <a:pt x="337" y="228"/>
                  </a:lnTo>
                  <a:lnTo>
                    <a:pt x="337" y="228"/>
                  </a:lnTo>
                  <a:lnTo>
                    <a:pt x="337" y="230"/>
                  </a:lnTo>
                  <a:lnTo>
                    <a:pt x="339" y="230"/>
                  </a:lnTo>
                  <a:lnTo>
                    <a:pt x="339" y="233"/>
                  </a:lnTo>
                  <a:lnTo>
                    <a:pt x="339" y="233"/>
                  </a:lnTo>
                  <a:lnTo>
                    <a:pt x="339" y="233"/>
                  </a:lnTo>
                  <a:lnTo>
                    <a:pt x="339" y="233"/>
                  </a:lnTo>
                  <a:lnTo>
                    <a:pt x="342" y="233"/>
                  </a:lnTo>
                  <a:lnTo>
                    <a:pt x="342" y="235"/>
                  </a:lnTo>
                  <a:lnTo>
                    <a:pt x="342" y="235"/>
                  </a:lnTo>
                  <a:lnTo>
                    <a:pt x="344" y="238"/>
                  </a:lnTo>
                  <a:lnTo>
                    <a:pt x="344" y="238"/>
                  </a:lnTo>
                  <a:lnTo>
                    <a:pt x="344" y="238"/>
                  </a:lnTo>
                  <a:lnTo>
                    <a:pt x="347" y="238"/>
                  </a:lnTo>
                  <a:lnTo>
                    <a:pt x="347" y="238"/>
                  </a:lnTo>
                  <a:lnTo>
                    <a:pt x="349" y="238"/>
                  </a:lnTo>
                  <a:lnTo>
                    <a:pt x="352" y="240"/>
                  </a:lnTo>
                  <a:lnTo>
                    <a:pt x="352" y="240"/>
                  </a:lnTo>
                  <a:lnTo>
                    <a:pt x="352" y="240"/>
                  </a:lnTo>
                  <a:lnTo>
                    <a:pt x="352" y="240"/>
                  </a:lnTo>
                  <a:lnTo>
                    <a:pt x="352" y="240"/>
                  </a:lnTo>
                  <a:lnTo>
                    <a:pt x="356" y="242"/>
                  </a:lnTo>
                  <a:lnTo>
                    <a:pt x="359" y="242"/>
                  </a:lnTo>
                  <a:lnTo>
                    <a:pt x="359" y="242"/>
                  </a:lnTo>
                  <a:lnTo>
                    <a:pt x="359" y="242"/>
                  </a:lnTo>
                  <a:lnTo>
                    <a:pt x="359" y="242"/>
                  </a:lnTo>
                  <a:lnTo>
                    <a:pt x="364" y="245"/>
                  </a:lnTo>
                  <a:lnTo>
                    <a:pt x="368" y="245"/>
                  </a:lnTo>
                  <a:lnTo>
                    <a:pt x="368" y="245"/>
                  </a:lnTo>
                  <a:lnTo>
                    <a:pt x="368" y="245"/>
                  </a:lnTo>
                  <a:lnTo>
                    <a:pt x="368" y="245"/>
                  </a:lnTo>
                  <a:lnTo>
                    <a:pt x="373" y="247"/>
                  </a:lnTo>
                  <a:lnTo>
                    <a:pt x="378" y="247"/>
                  </a:lnTo>
                  <a:lnTo>
                    <a:pt x="378" y="247"/>
                  </a:lnTo>
                  <a:lnTo>
                    <a:pt x="381" y="247"/>
                  </a:lnTo>
                  <a:lnTo>
                    <a:pt x="381" y="247"/>
                  </a:lnTo>
                  <a:lnTo>
                    <a:pt x="385" y="250"/>
                  </a:lnTo>
                  <a:lnTo>
                    <a:pt x="390" y="250"/>
                  </a:lnTo>
                  <a:lnTo>
                    <a:pt x="390" y="250"/>
                  </a:lnTo>
                  <a:lnTo>
                    <a:pt x="393" y="250"/>
                  </a:lnTo>
                  <a:lnTo>
                    <a:pt x="393" y="250"/>
                  </a:lnTo>
                  <a:lnTo>
                    <a:pt x="398" y="252"/>
                  </a:lnTo>
                  <a:lnTo>
                    <a:pt x="400" y="252"/>
                  </a:lnTo>
                  <a:lnTo>
                    <a:pt x="460" y="262"/>
                  </a:lnTo>
                  <a:lnTo>
                    <a:pt x="460" y="301"/>
                  </a:lnTo>
                  <a:lnTo>
                    <a:pt x="436" y="303"/>
                  </a:lnTo>
                  <a:lnTo>
                    <a:pt x="417" y="308"/>
                  </a:lnTo>
                  <a:lnTo>
                    <a:pt x="402" y="310"/>
                  </a:lnTo>
                  <a:lnTo>
                    <a:pt x="398" y="315"/>
                  </a:lnTo>
                  <a:lnTo>
                    <a:pt x="398" y="337"/>
                  </a:lnTo>
                  <a:lnTo>
                    <a:pt x="402" y="342"/>
                  </a:lnTo>
                  <a:lnTo>
                    <a:pt x="402" y="342"/>
                  </a:lnTo>
                  <a:lnTo>
                    <a:pt x="402" y="371"/>
                  </a:lnTo>
                  <a:lnTo>
                    <a:pt x="398" y="374"/>
                  </a:lnTo>
                  <a:lnTo>
                    <a:pt x="398" y="376"/>
                  </a:lnTo>
                  <a:lnTo>
                    <a:pt x="402" y="381"/>
                  </a:lnTo>
                  <a:lnTo>
                    <a:pt x="402" y="381"/>
                  </a:lnTo>
                  <a:lnTo>
                    <a:pt x="402" y="400"/>
                  </a:lnTo>
                  <a:lnTo>
                    <a:pt x="398" y="403"/>
                  </a:lnTo>
                  <a:lnTo>
                    <a:pt x="398" y="412"/>
                  </a:lnTo>
                  <a:lnTo>
                    <a:pt x="402" y="417"/>
                  </a:lnTo>
                  <a:lnTo>
                    <a:pt x="402" y="417"/>
                  </a:lnTo>
                  <a:lnTo>
                    <a:pt x="400" y="1260"/>
                  </a:lnTo>
                  <a:lnTo>
                    <a:pt x="378" y="1260"/>
                  </a:lnTo>
                  <a:lnTo>
                    <a:pt x="376" y="415"/>
                  </a:lnTo>
                  <a:lnTo>
                    <a:pt x="315" y="415"/>
                  </a:lnTo>
                  <a:lnTo>
                    <a:pt x="315" y="383"/>
                  </a:lnTo>
                  <a:lnTo>
                    <a:pt x="90" y="383"/>
                  </a:lnTo>
                  <a:lnTo>
                    <a:pt x="75" y="415"/>
                  </a:lnTo>
                  <a:lnTo>
                    <a:pt x="42" y="415"/>
                  </a:lnTo>
                  <a:lnTo>
                    <a:pt x="17" y="473"/>
                  </a:lnTo>
                  <a:lnTo>
                    <a:pt x="17" y="1224"/>
                  </a:lnTo>
                  <a:lnTo>
                    <a:pt x="10" y="1224"/>
                  </a:lnTo>
                  <a:lnTo>
                    <a:pt x="10" y="1221"/>
                  </a:lnTo>
                  <a:lnTo>
                    <a:pt x="5" y="1219"/>
                  </a:lnTo>
                  <a:lnTo>
                    <a:pt x="0" y="1219"/>
                  </a:lnTo>
                  <a:lnTo>
                    <a:pt x="0" y="1576"/>
                  </a:lnTo>
                  <a:lnTo>
                    <a:pt x="1281" y="1576"/>
                  </a:lnTo>
                  <a:lnTo>
                    <a:pt x="1281" y="1017"/>
                  </a:lnTo>
                  <a:close/>
                  <a:moveTo>
                    <a:pt x="342" y="225"/>
                  </a:moveTo>
                  <a:lnTo>
                    <a:pt x="344" y="225"/>
                  </a:lnTo>
                  <a:lnTo>
                    <a:pt x="344" y="225"/>
                  </a:lnTo>
                  <a:lnTo>
                    <a:pt x="352" y="228"/>
                  </a:lnTo>
                  <a:lnTo>
                    <a:pt x="344" y="225"/>
                  </a:lnTo>
                  <a:lnTo>
                    <a:pt x="344" y="225"/>
                  </a:lnTo>
                  <a:lnTo>
                    <a:pt x="342" y="225"/>
                  </a:lnTo>
                  <a:lnTo>
                    <a:pt x="342" y="223"/>
                  </a:lnTo>
                  <a:lnTo>
                    <a:pt x="342" y="225"/>
                  </a:lnTo>
                  <a:close/>
                  <a:moveTo>
                    <a:pt x="342" y="228"/>
                  </a:moveTo>
                  <a:lnTo>
                    <a:pt x="342" y="228"/>
                  </a:lnTo>
                  <a:lnTo>
                    <a:pt x="339" y="228"/>
                  </a:lnTo>
                  <a:lnTo>
                    <a:pt x="342" y="228"/>
                  </a:lnTo>
                  <a:lnTo>
                    <a:pt x="342" y="228"/>
                  </a:lnTo>
                  <a:lnTo>
                    <a:pt x="361" y="233"/>
                  </a:lnTo>
                  <a:lnTo>
                    <a:pt x="342" y="228"/>
                  </a:lnTo>
                  <a:close/>
                  <a:moveTo>
                    <a:pt x="410" y="199"/>
                  </a:moveTo>
                  <a:lnTo>
                    <a:pt x="410" y="201"/>
                  </a:lnTo>
                  <a:lnTo>
                    <a:pt x="410" y="199"/>
                  </a:lnTo>
                  <a:lnTo>
                    <a:pt x="410" y="199"/>
                  </a:lnTo>
                  <a:lnTo>
                    <a:pt x="410" y="199"/>
                  </a:lnTo>
                  <a:close/>
                  <a:moveTo>
                    <a:pt x="414" y="208"/>
                  </a:moveTo>
                  <a:lnTo>
                    <a:pt x="412" y="206"/>
                  </a:lnTo>
                  <a:lnTo>
                    <a:pt x="412" y="206"/>
                  </a:lnTo>
                  <a:lnTo>
                    <a:pt x="412" y="206"/>
                  </a:lnTo>
                  <a:lnTo>
                    <a:pt x="412" y="206"/>
                  </a:lnTo>
                  <a:lnTo>
                    <a:pt x="412" y="206"/>
                  </a:lnTo>
                  <a:lnTo>
                    <a:pt x="414" y="208"/>
                  </a:lnTo>
                  <a:lnTo>
                    <a:pt x="419" y="211"/>
                  </a:lnTo>
                  <a:lnTo>
                    <a:pt x="414" y="208"/>
                  </a:lnTo>
                  <a:close/>
                  <a:moveTo>
                    <a:pt x="427" y="199"/>
                  </a:moveTo>
                  <a:lnTo>
                    <a:pt x="427" y="196"/>
                  </a:lnTo>
                  <a:lnTo>
                    <a:pt x="429" y="196"/>
                  </a:lnTo>
                  <a:lnTo>
                    <a:pt x="427" y="196"/>
                  </a:lnTo>
                  <a:lnTo>
                    <a:pt x="427" y="199"/>
                  </a:lnTo>
                  <a:close/>
                  <a:moveTo>
                    <a:pt x="429" y="206"/>
                  </a:moveTo>
                  <a:lnTo>
                    <a:pt x="429" y="204"/>
                  </a:lnTo>
                  <a:lnTo>
                    <a:pt x="429" y="204"/>
                  </a:lnTo>
                  <a:lnTo>
                    <a:pt x="429" y="204"/>
                  </a:lnTo>
                  <a:lnTo>
                    <a:pt x="429" y="206"/>
                  </a:lnTo>
                  <a:lnTo>
                    <a:pt x="431" y="206"/>
                  </a:lnTo>
                  <a:lnTo>
                    <a:pt x="429" y="20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06446AA1-E24C-4447-B5D0-EF528AD9340E}"/>
                </a:ext>
              </a:extLst>
            </p:cNvPr>
            <p:cNvSpPr/>
            <p:nvPr/>
          </p:nvSpPr>
          <p:spPr bwMode="auto">
            <a:xfrm>
              <a:off x="6098382" y="4962385"/>
              <a:ext cx="2030676" cy="1895615"/>
            </a:xfrm>
            <a:custGeom>
              <a:avLst/>
              <a:gdLst>
                <a:gd name="T0" fmla="*/ 1278 w 1278"/>
                <a:gd name="T1" fmla="*/ 836 h 1193"/>
                <a:gd name="T2" fmla="*/ 1271 w 1278"/>
                <a:gd name="T3" fmla="*/ 819 h 1193"/>
                <a:gd name="T4" fmla="*/ 1252 w 1278"/>
                <a:gd name="T5" fmla="*/ 821 h 1193"/>
                <a:gd name="T6" fmla="*/ 1242 w 1278"/>
                <a:gd name="T7" fmla="*/ 807 h 1193"/>
                <a:gd name="T8" fmla="*/ 1206 w 1278"/>
                <a:gd name="T9" fmla="*/ 700 h 1193"/>
                <a:gd name="T10" fmla="*/ 1167 w 1278"/>
                <a:gd name="T11" fmla="*/ 693 h 1193"/>
                <a:gd name="T12" fmla="*/ 1126 w 1278"/>
                <a:gd name="T13" fmla="*/ 651 h 1193"/>
                <a:gd name="T14" fmla="*/ 1075 w 1278"/>
                <a:gd name="T15" fmla="*/ 598 h 1193"/>
                <a:gd name="T16" fmla="*/ 1068 w 1278"/>
                <a:gd name="T17" fmla="*/ 586 h 1193"/>
                <a:gd name="T18" fmla="*/ 1053 w 1278"/>
                <a:gd name="T19" fmla="*/ 566 h 1193"/>
                <a:gd name="T20" fmla="*/ 1048 w 1278"/>
                <a:gd name="T21" fmla="*/ 581 h 1193"/>
                <a:gd name="T22" fmla="*/ 1034 w 1278"/>
                <a:gd name="T23" fmla="*/ 593 h 1193"/>
                <a:gd name="T24" fmla="*/ 1034 w 1278"/>
                <a:gd name="T25" fmla="*/ 625 h 1193"/>
                <a:gd name="T26" fmla="*/ 956 w 1278"/>
                <a:gd name="T27" fmla="*/ 685 h 1193"/>
                <a:gd name="T28" fmla="*/ 925 w 1278"/>
                <a:gd name="T29" fmla="*/ 695 h 1193"/>
                <a:gd name="T30" fmla="*/ 884 w 1278"/>
                <a:gd name="T31" fmla="*/ 824 h 1193"/>
                <a:gd name="T32" fmla="*/ 864 w 1278"/>
                <a:gd name="T33" fmla="*/ 807 h 1193"/>
                <a:gd name="T34" fmla="*/ 850 w 1278"/>
                <a:gd name="T35" fmla="*/ 838 h 1193"/>
                <a:gd name="T36" fmla="*/ 833 w 1278"/>
                <a:gd name="T37" fmla="*/ 819 h 1193"/>
                <a:gd name="T38" fmla="*/ 814 w 1278"/>
                <a:gd name="T39" fmla="*/ 841 h 1193"/>
                <a:gd name="T40" fmla="*/ 751 w 1278"/>
                <a:gd name="T41" fmla="*/ 32 h 1193"/>
                <a:gd name="T42" fmla="*/ 445 w 1278"/>
                <a:gd name="T43" fmla="*/ 855 h 1193"/>
                <a:gd name="T44" fmla="*/ 431 w 1278"/>
                <a:gd name="T45" fmla="*/ 739 h 1193"/>
                <a:gd name="T46" fmla="*/ 404 w 1278"/>
                <a:gd name="T47" fmla="*/ 756 h 1193"/>
                <a:gd name="T48" fmla="*/ 378 w 1278"/>
                <a:gd name="T49" fmla="*/ 561 h 1193"/>
                <a:gd name="T50" fmla="*/ 375 w 1278"/>
                <a:gd name="T51" fmla="*/ 547 h 1193"/>
                <a:gd name="T52" fmla="*/ 368 w 1278"/>
                <a:gd name="T53" fmla="*/ 569 h 1193"/>
                <a:gd name="T54" fmla="*/ 351 w 1278"/>
                <a:gd name="T55" fmla="*/ 479 h 1193"/>
                <a:gd name="T56" fmla="*/ 341 w 1278"/>
                <a:gd name="T57" fmla="*/ 348 h 1193"/>
                <a:gd name="T58" fmla="*/ 324 w 1278"/>
                <a:gd name="T59" fmla="*/ 372 h 1193"/>
                <a:gd name="T60" fmla="*/ 312 w 1278"/>
                <a:gd name="T61" fmla="*/ 479 h 1193"/>
                <a:gd name="T62" fmla="*/ 295 w 1278"/>
                <a:gd name="T63" fmla="*/ 561 h 1193"/>
                <a:gd name="T64" fmla="*/ 290 w 1278"/>
                <a:gd name="T65" fmla="*/ 547 h 1193"/>
                <a:gd name="T66" fmla="*/ 288 w 1278"/>
                <a:gd name="T67" fmla="*/ 569 h 1193"/>
                <a:gd name="T68" fmla="*/ 269 w 1278"/>
                <a:gd name="T69" fmla="*/ 693 h 1193"/>
                <a:gd name="T70" fmla="*/ 269 w 1278"/>
                <a:gd name="T71" fmla="*/ 695 h 1193"/>
                <a:gd name="T72" fmla="*/ 261 w 1278"/>
                <a:gd name="T73" fmla="*/ 758 h 1193"/>
                <a:gd name="T74" fmla="*/ 244 w 1278"/>
                <a:gd name="T75" fmla="*/ 712 h 1193"/>
                <a:gd name="T76" fmla="*/ 232 w 1278"/>
                <a:gd name="T77" fmla="*/ 574 h 1193"/>
                <a:gd name="T78" fmla="*/ 208 w 1278"/>
                <a:gd name="T79" fmla="*/ 710 h 1193"/>
                <a:gd name="T80" fmla="*/ 194 w 1278"/>
                <a:gd name="T81" fmla="*/ 748 h 1193"/>
                <a:gd name="T82" fmla="*/ 174 w 1278"/>
                <a:gd name="T83" fmla="*/ 688 h 1193"/>
                <a:gd name="T84" fmla="*/ 172 w 1278"/>
                <a:gd name="T85" fmla="*/ 685 h 1193"/>
                <a:gd name="T86" fmla="*/ 169 w 1278"/>
                <a:gd name="T87" fmla="*/ 615 h 1193"/>
                <a:gd name="T88" fmla="*/ 167 w 1278"/>
                <a:gd name="T89" fmla="*/ 610 h 1193"/>
                <a:gd name="T90" fmla="*/ 157 w 1278"/>
                <a:gd name="T91" fmla="*/ 557 h 1193"/>
                <a:gd name="T92" fmla="*/ 148 w 1278"/>
                <a:gd name="T93" fmla="*/ 547 h 1193"/>
                <a:gd name="T94" fmla="*/ 123 w 1278"/>
                <a:gd name="T95" fmla="*/ 479 h 1193"/>
                <a:gd name="T96" fmla="*/ 123 w 1278"/>
                <a:gd name="T97" fmla="*/ 464 h 1193"/>
                <a:gd name="T98" fmla="*/ 121 w 1278"/>
                <a:gd name="T99" fmla="*/ 304 h 1193"/>
                <a:gd name="T100" fmla="*/ 97 w 1278"/>
                <a:gd name="T101" fmla="*/ 464 h 1193"/>
                <a:gd name="T102" fmla="*/ 94 w 1278"/>
                <a:gd name="T103" fmla="*/ 476 h 1193"/>
                <a:gd name="T104" fmla="*/ 70 w 1278"/>
                <a:gd name="T105" fmla="*/ 554 h 1193"/>
                <a:gd name="T106" fmla="*/ 60 w 1278"/>
                <a:gd name="T107" fmla="*/ 549 h 1193"/>
                <a:gd name="T108" fmla="*/ 48 w 1278"/>
                <a:gd name="T109" fmla="*/ 610 h 1193"/>
                <a:gd name="T110" fmla="*/ 41 w 1278"/>
                <a:gd name="T111" fmla="*/ 746 h 1193"/>
                <a:gd name="T112" fmla="*/ 17 w 1278"/>
                <a:gd name="T113" fmla="*/ 739 h 1193"/>
                <a:gd name="T114" fmla="*/ 7 w 1278"/>
                <a:gd name="T115" fmla="*/ 848 h 1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78" h="1193">
                  <a:moveTo>
                    <a:pt x="12" y="306"/>
                  </a:moveTo>
                  <a:lnTo>
                    <a:pt x="0" y="304"/>
                  </a:lnTo>
                  <a:lnTo>
                    <a:pt x="0" y="1193"/>
                  </a:lnTo>
                  <a:lnTo>
                    <a:pt x="1278" y="1193"/>
                  </a:lnTo>
                  <a:lnTo>
                    <a:pt x="1278" y="836"/>
                  </a:lnTo>
                  <a:lnTo>
                    <a:pt x="1274" y="836"/>
                  </a:lnTo>
                  <a:lnTo>
                    <a:pt x="1274" y="819"/>
                  </a:lnTo>
                  <a:lnTo>
                    <a:pt x="1271" y="819"/>
                  </a:lnTo>
                  <a:lnTo>
                    <a:pt x="1271" y="819"/>
                  </a:lnTo>
                  <a:lnTo>
                    <a:pt x="1271" y="819"/>
                  </a:lnTo>
                  <a:lnTo>
                    <a:pt x="1269" y="819"/>
                  </a:lnTo>
                  <a:lnTo>
                    <a:pt x="1269" y="836"/>
                  </a:lnTo>
                  <a:lnTo>
                    <a:pt x="1257" y="836"/>
                  </a:lnTo>
                  <a:lnTo>
                    <a:pt x="1257" y="824"/>
                  </a:lnTo>
                  <a:lnTo>
                    <a:pt x="1252" y="821"/>
                  </a:lnTo>
                  <a:lnTo>
                    <a:pt x="1245" y="821"/>
                  </a:lnTo>
                  <a:lnTo>
                    <a:pt x="1245" y="807"/>
                  </a:lnTo>
                  <a:lnTo>
                    <a:pt x="1242" y="807"/>
                  </a:lnTo>
                  <a:lnTo>
                    <a:pt x="1242" y="807"/>
                  </a:lnTo>
                  <a:lnTo>
                    <a:pt x="1242" y="807"/>
                  </a:lnTo>
                  <a:lnTo>
                    <a:pt x="1240" y="807"/>
                  </a:lnTo>
                  <a:lnTo>
                    <a:pt x="1240" y="821"/>
                  </a:lnTo>
                  <a:lnTo>
                    <a:pt x="1220" y="821"/>
                  </a:lnTo>
                  <a:lnTo>
                    <a:pt x="1223" y="702"/>
                  </a:lnTo>
                  <a:lnTo>
                    <a:pt x="1206" y="700"/>
                  </a:lnTo>
                  <a:lnTo>
                    <a:pt x="1182" y="700"/>
                  </a:lnTo>
                  <a:lnTo>
                    <a:pt x="1174" y="695"/>
                  </a:lnTo>
                  <a:lnTo>
                    <a:pt x="1174" y="695"/>
                  </a:lnTo>
                  <a:lnTo>
                    <a:pt x="1172" y="695"/>
                  </a:lnTo>
                  <a:lnTo>
                    <a:pt x="1167" y="693"/>
                  </a:lnTo>
                  <a:lnTo>
                    <a:pt x="1167" y="688"/>
                  </a:lnTo>
                  <a:lnTo>
                    <a:pt x="1155" y="685"/>
                  </a:lnTo>
                  <a:lnTo>
                    <a:pt x="1150" y="685"/>
                  </a:lnTo>
                  <a:lnTo>
                    <a:pt x="1140" y="668"/>
                  </a:lnTo>
                  <a:lnTo>
                    <a:pt x="1126" y="651"/>
                  </a:lnTo>
                  <a:lnTo>
                    <a:pt x="1111" y="639"/>
                  </a:lnTo>
                  <a:lnTo>
                    <a:pt x="1092" y="629"/>
                  </a:lnTo>
                  <a:lnTo>
                    <a:pt x="1073" y="625"/>
                  </a:lnTo>
                  <a:lnTo>
                    <a:pt x="1073" y="598"/>
                  </a:lnTo>
                  <a:lnTo>
                    <a:pt x="1075" y="598"/>
                  </a:lnTo>
                  <a:lnTo>
                    <a:pt x="1075" y="595"/>
                  </a:lnTo>
                  <a:lnTo>
                    <a:pt x="1075" y="593"/>
                  </a:lnTo>
                  <a:lnTo>
                    <a:pt x="1073" y="593"/>
                  </a:lnTo>
                  <a:lnTo>
                    <a:pt x="1070" y="588"/>
                  </a:lnTo>
                  <a:lnTo>
                    <a:pt x="1068" y="586"/>
                  </a:lnTo>
                  <a:lnTo>
                    <a:pt x="1063" y="583"/>
                  </a:lnTo>
                  <a:lnTo>
                    <a:pt x="1061" y="581"/>
                  </a:lnTo>
                  <a:lnTo>
                    <a:pt x="1056" y="581"/>
                  </a:lnTo>
                  <a:lnTo>
                    <a:pt x="1056" y="566"/>
                  </a:lnTo>
                  <a:lnTo>
                    <a:pt x="1053" y="566"/>
                  </a:lnTo>
                  <a:lnTo>
                    <a:pt x="1053" y="564"/>
                  </a:lnTo>
                  <a:lnTo>
                    <a:pt x="1053" y="566"/>
                  </a:lnTo>
                  <a:lnTo>
                    <a:pt x="1048" y="566"/>
                  </a:lnTo>
                  <a:lnTo>
                    <a:pt x="1048" y="581"/>
                  </a:lnTo>
                  <a:lnTo>
                    <a:pt x="1048" y="581"/>
                  </a:lnTo>
                  <a:lnTo>
                    <a:pt x="1046" y="581"/>
                  </a:lnTo>
                  <a:lnTo>
                    <a:pt x="1041" y="583"/>
                  </a:lnTo>
                  <a:lnTo>
                    <a:pt x="1039" y="586"/>
                  </a:lnTo>
                  <a:lnTo>
                    <a:pt x="1036" y="588"/>
                  </a:lnTo>
                  <a:lnTo>
                    <a:pt x="1034" y="593"/>
                  </a:lnTo>
                  <a:lnTo>
                    <a:pt x="1031" y="593"/>
                  </a:lnTo>
                  <a:lnTo>
                    <a:pt x="1031" y="595"/>
                  </a:lnTo>
                  <a:lnTo>
                    <a:pt x="1031" y="598"/>
                  </a:lnTo>
                  <a:lnTo>
                    <a:pt x="1034" y="598"/>
                  </a:lnTo>
                  <a:lnTo>
                    <a:pt x="1034" y="625"/>
                  </a:lnTo>
                  <a:lnTo>
                    <a:pt x="1014" y="629"/>
                  </a:lnTo>
                  <a:lnTo>
                    <a:pt x="995" y="639"/>
                  </a:lnTo>
                  <a:lnTo>
                    <a:pt x="978" y="651"/>
                  </a:lnTo>
                  <a:lnTo>
                    <a:pt x="964" y="668"/>
                  </a:lnTo>
                  <a:lnTo>
                    <a:pt x="956" y="685"/>
                  </a:lnTo>
                  <a:lnTo>
                    <a:pt x="949" y="685"/>
                  </a:lnTo>
                  <a:lnTo>
                    <a:pt x="937" y="688"/>
                  </a:lnTo>
                  <a:lnTo>
                    <a:pt x="937" y="693"/>
                  </a:lnTo>
                  <a:lnTo>
                    <a:pt x="935" y="695"/>
                  </a:lnTo>
                  <a:lnTo>
                    <a:pt x="925" y="695"/>
                  </a:lnTo>
                  <a:lnTo>
                    <a:pt x="925" y="697"/>
                  </a:lnTo>
                  <a:lnTo>
                    <a:pt x="922" y="700"/>
                  </a:lnTo>
                  <a:lnTo>
                    <a:pt x="896" y="700"/>
                  </a:lnTo>
                  <a:lnTo>
                    <a:pt x="881" y="702"/>
                  </a:lnTo>
                  <a:lnTo>
                    <a:pt x="884" y="824"/>
                  </a:lnTo>
                  <a:lnTo>
                    <a:pt x="867" y="824"/>
                  </a:lnTo>
                  <a:lnTo>
                    <a:pt x="867" y="807"/>
                  </a:lnTo>
                  <a:lnTo>
                    <a:pt x="864" y="807"/>
                  </a:lnTo>
                  <a:lnTo>
                    <a:pt x="864" y="807"/>
                  </a:lnTo>
                  <a:lnTo>
                    <a:pt x="864" y="807"/>
                  </a:lnTo>
                  <a:lnTo>
                    <a:pt x="862" y="807"/>
                  </a:lnTo>
                  <a:lnTo>
                    <a:pt x="862" y="824"/>
                  </a:lnTo>
                  <a:lnTo>
                    <a:pt x="855" y="824"/>
                  </a:lnTo>
                  <a:lnTo>
                    <a:pt x="850" y="826"/>
                  </a:lnTo>
                  <a:lnTo>
                    <a:pt x="850" y="838"/>
                  </a:lnTo>
                  <a:lnTo>
                    <a:pt x="850" y="838"/>
                  </a:lnTo>
                  <a:lnTo>
                    <a:pt x="835" y="838"/>
                  </a:lnTo>
                  <a:lnTo>
                    <a:pt x="833" y="819"/>
                  </a:lnTo>
                  <a:lnTo>
                    <a:pt x="833" y="819"/>
                  </a:lnTo>
                  <a:lnTo>
                    <a:pt x="833" y="819"/>
                  </a:lnTo>
                  <a:lnTo>
                    <a:pt x="830" y="819"/>
                  </a:lnTo>
                  <a:lnTo>
                    <a:pt x="828" y="819"/>
                  </a:lnTo>
                  <a:lnTo>
                    <a:pt x="828" y="838"/>
                  </a:lnTo>
                  <a:lnTo>
                    <a:pt x="818" y="838"/>
                  </a:lnTo>
                  <a:lnTo>
                    <a:pt x="814" y="841"/>
                  </a:lnTo>
                  <a:lnTo>
                    <a:pt x="814" y="841"/>
                  </a:lnTo>
                  <a:lnTo>
                    <a:pt x="809" y="841"/>
                  </a:lnTo>
                  <a:lnTo>
                    <a:pt x="811" y="90"/>
                  </a:lnTo>
                  <a:lnTo>
                    <a:pt x="782" y="32"/>
                  </a:lnTo>
                  <a:lnTo>
                    <a:pt x="751" y="32"/>
                  </a:lnTo>
                  <a:lnTo>
                    <a:pt x="734" y="0"/>
                  </a:lnTo>
                  <a:lnTo>
                    <a:pt x="508" y="0"/>
                  </a:lnTo>
                  <a:lnTo>
                    <a:pt x="508" y="32"/>
                  </a:lnTo>
                  <a:lnTo>
                    <a:pt x="448" y="32"/>
                  </a:lnTo>
                  <a:lnTo>
                    <a:pt x="445" y="855"/>
                  </a:lnTo>
                  <a:lnTo>
                    <a:pt x="438" y="848"/>
                  </a:lnTo>
                  <a:lnTo>
                    <a:pt x="438" y="836"/>
                  </a:lnTo>
                  <a:lnTo>
                    <a:pt x="436" y="746"/>
                  </a:lnTo>
                  <a:lnTo>
                    <a:pt x="436" y="739"/>
                  </a:lnTo>
                  <a:lnTo>
                    <a:pt x="431" y="739"/>
                  </a:lnTo>
                  <a:lnTo>
                    <a:pt x="429" y="739"/>
                  </a:lnTo>
                  <a:lnTo>
                    <a:pt x="429" y="746"/>
                  </a:lnTo>
                  <a:lnTo>
                    <a:pt x="429" y="758"/>
                  </a:lnTo>
                  <a:lnTo>
                    <a:pt x="404" y="758"/>
                  </a:lnTo>
                  <a:lnTo>
                    <a:pt x="404" y="756"/>
                  </a:lnTo>
                  <a:lnTo>
                    <a:pt x="399" y="746"/>
                  </a:lnTo>
                  <a:lnTo>
                    <a:pt x="399" y="693"/>
                  </a:lnTo>
                  <a:lnTo>
                    <a:pt x="392" y="676"/>
                  </a:lnTo>
                  <a:lnTo>
                    <a:pt x="392" y="622"/>
                  </a:lnTo>
                  <a:lnTo>
                    <a:pt x="378" y="561"/>
                  </a:lnTo>
                  <a:lnTo>
                    <a:pt x="380" y="561"/>
                  </a:lnTo>
                  <a:lnTo>
                    <a:pt x="380" y="547"/>
                  </a:lnTo>
                  <a:lnTo>
                    <a:pt x="375" y="547"/>
                  </a:lnTo>
                  <a:lnTo>
                    <a:pt x="375" y="547"/>
                  </a:lnTo>
                  <a:lnTo>
                    <a:pt x="375" y="547"/>
                  </a:lnTo>
                  <a:lnTo>
                    <a:pt x="368" y="547"/>
                  </a:lnTo>
                  <a:lnTo>
                    <a:pt x="368" y="554"/>
                  </a:lnTo>
                  <a:lnTo>
                    <a:pt x="366" y="554"/>
                  </a:lnTo>
                  <a:lnTo>
                    <a:pt x="366" y="569"/>
                  </a:lnTo>
                  <a:lnTo>
                    <a:pt x="368" y="569"/>
                  </a:lnTo>
                  <a:lnTo>
                    <a:pt x="358" y="610"/>
                  </a:lnTo>
                  <a:lnTo>
                    <a:pt x="346" y="481"/>
                  </a:lnTo>
                  <a:lnTo>
                    <a:pt x="351" y="481"/>
                  </a:lnTo>
                  <a:lnTo>
                    <a:pt x="351" y="479"/>
                  </a:lnTo>
                  <a:lnTo>
                    <a:pt x="351" y="479"/>
                  </a:lnTo>
                  <a:lnTo>
                    <a:pt x="351" y="469"/>
                  </a:lnTo>
                  <a:lnTo>
                    <a:pt x="344" y="469"/>
                  </a:lnTo>
                  <a:lnTo>
                    <a:pt x="337" y="372"/>
                  </a:lnTo>
                  <a:lnTo>
                    <a:pt x="341" y="372"/>
                  </a:lnTo>
                  <a:lnTo>
                    <a:pt x="341" y="348"/>
                  </a:lnTo>
                  <a:lnTo>
                    <a:pt x="341" y="309"/>
                  </a:lnTo>
                  <a:lnTo>
                    <a:pt x="320" y="309"/>
                  </a:lnTo>
                  <a:lnTo>
                    <a:pt x="320" y="348"/>
                  </a:lnTo>
                  <a:lnTo>
                    <a:pt x="320" y="372"/>
                  </a:lnTo>
                  <a:lnTo>
                    <a:pt x="324" y="372"/>
                  </a:lnTo>
                  <a:lnTo>
                    <a:pt x="324" y="374"/>
                  </a:lnTo>
                  <a:lnTo>
                    <a:pt x="317" y="469"/>
                  </a:lnTo>
                  <a:lnTo>
                    <a:pt x="312" y="469"/>
                  </a:lnTo>
                  <a:lnTo>
                    <a:pt x="312" y="472"/>
                  </a:lnTo>
                  <a:lnTo>
                    <a:pt x="312" y="479"/>
                  </a:lnTo>
                  <a:lnTo>
                    <a:pt x="312" y="481"/>
                  </a:lnTo>
                  <a:lnTo>
                    <a:pt x="317" y="481"/>
                  </a:lnTo>
                  <a:lnTo>
                    <a:pt x="305" y="610"/>
                  </a:lnTo>
                  <a:lnTo>
                    <a:pt x="295" y="566"/>
                  </a:lnTo>
                  <a:lnTo>
                    <a:pt x="295" y="561"/>
                  </a:lnTo>
                  <a:lnTo>
                    <a:pt x="298" y="561"/>
                  </a:lnTo>
                  <a:lnTo>
                    <a:pt x="298" y="547"/>
                  </a:lnTo>
                  <a:lnTo>
                    <a:pt x="290" y="547"/>
                  </a:lnTo>
                  <a:lnTo>
                    <a:pt x="290" y="547"/>
                  </a:lnTo>
                  <a:lnTo>
                    <a:pt x="290" y="547"/>
                  </a:lnTo>
                  <a:lnTo>
                    <a:pt x="286" y="547"/>
                  </a:lnTo>
                  <a:lnTo>
                    <a:pt x="286" y="554"/>
                  </a:lnTo>
                  <a:lnTo>
                    <a:pt x="286" y="554"/>
                  </a:lnTo>
                  <a:lnTo>
                    <a:pt x="286" y="569"/>
                  </a:lnTo>
                  <a:lnTo>
                    <a:pt x="288" y="569"/>
                  </a:lnTo>
                  <a:lnTo>
                    <a:pt x="276" y="622"/>
                  </a:lnTo>
                  <a:lnTo>
                    <a:pt x="276" y="622"/>
                  </a:lnTo>
                  <a:lnTo>
                    <a:pt x="274" y="627"/>
                  </a:lnTo>
                  <a:lnTo>
                    <a:pt x="274" y="676"/>
                  </a:lnTo>
                  <a:lnTo>
                    <a:pt x="269" y="693"/>
                  </a:lnTo>
                  <a:lnTo>
                    <a:pt x="269" y="693"/>
                  </a:lnTo>
                  <a:lnTo>
                    <a:pt x="269" y="693"/>
                  </a:lnTo>
                  <a:lnTo>
                    <a:pt x="269" y="695"/>
                  </a:lnTo>
                  <a:lnTo>
                    <a:pt x="269" y="695"/>
                  </a:lnTo>
                  <a:lnTo>
                    <a:pt x="269" y="695"/>
                  </a:lnTo>
                  <a:lnTo>
                    <a:pt x="269" y="695"/>
                  </a:lnTo>
                  <a:lnTo>
                    <a:pt x="269" y="746"/>
                  </a:lnTo>
                  <a:lnTo>
                    <a:pt x="261" y="756"/>
                  </a:lnTo>
                  <a:lnTo>
                    <a:pt x="261" y="756"/>
                  </a:lnTo>
                  <a:lnTo>
                    <a:pt x="261" y="758"/>
                  </a:lnTo>
                  <a:lnTo>
                    <a:pt x="261" y="758"/>
                  </a:lnTo>
                  <a:lnTo>
                    <a:pt x="252" y="758"/>
                  </a:lnTo>
                  <a:lnTo>
                    <a:pt x="252" y="748"/>
                  </a:lnTo>
                  <a:lnTo>
                    <a:pt x="244" y="748"/>
                  </a:lnTo>
                  <a:lnTo>
                    <a:pt x="244" y="712"/>
                  </a:lnTo>
                  <a:lnTo>
                    <a:pt x="244" y="710"/>
                  </a:lnTo>
                  <a:lnTo>
                    <a:pt x="240" y="710"/>
                  </a:lnTo>
                  <a:lnTo>
                    <a:pt x="225" y="574"/>
                  </a:lnTo>
                  <a:lnTo>
                    <a:pt x="225" y="574"/>
                  </a:lnTo>
                  <a:lnTo>
                    <a:pt x="232" y="574"/>
                  </a:lnTo>
                  <a:lnTo>
                    <a:pt x="232" y="537"/>
                  </a:lnTo>
                  <a:lnTo>
                    <a:pt x="215" y="537"/>
                  </a:lnTo>
                  <a:lnTo>
                    <a:pt x="215" y="574"/>
                  </a:lnTo>
                  <a:lnTo>
                    <a:pt x="220" y="574"/>
                  </a:lnTo>
                  <a:lnTo>
                    <a:pt x="208" y="710"/>
                  </a:lnTo>
                  <a:lnTo>
                    <a:pt x="208" y="710"/>
                  </a:lnTo>
                  <a:lnTo>
                    <a:pt x="208" y="710"/>
                  </a:lnTo>
                  <a:lnTo>
                    <a:pt x="201" y="710"/>
                  </a:lnTo>
                  <a:lnTo>
                    <a:pt x="201" y="748"/>
                  </a:lnTo>
                  <a:lnTo>
                    <a:pt x="194" y="748"/>
                  </a:lnTo>
                  <a:lnTo>
                    <a:pt x="194" y="758"/>
                  </a:lnTo>
                  <a:lnTo>
                    <a:pt x="179" y="758"/>
                  </a:lnTo>
                  <a:lnTo>
                    <a:pt x="179" y="758"/>
                  </a:lnTo>
                  <a:lnTo>
                    <a:pt x="174" y="746"/>
                  </a:lnTo>
                  <a:lnTo>
                    <a:pt x="174" y="688"/>
                  </a:lnTo>
                  <a:lnTo>
                    <a:pt x="174" y="688"/>
                  </a:lnTo>
                  <a:lnTo>
                    <a:pt x="174" y="688"/>
                  </a:lnTo>
                  <a:lnTo>
                    <a:pt x="172" y="688"/>
                  </a:lnTo>
                  <a:lnTo>
                    <a:pt x="172" y="685"/>
                  </a:lnTo>
                  <a:lnTo>
                    <a:pt x="172" y="685"/>
                  </a:lnTo>
                  <a:lnTo>
                    <a:pt x="172" y="685"/>
                  </a:lnTo>
                  <a:lnTo>
                    <a:pt x="169" y="683"/>
                  </a:lnTo>
                  <a:lnTo>
                    <a:pt x="169" y="617"/>
                  </a:lnTo>
                  <a:lnTo>
                    <a:pt x="169" y="617"/>
                  </a:lnTo>
                  <a:lnTo>
                    <a:pt x="169" y="615"/>
                  </a:lnTo>
                  <a:lnTo>
                    <a:pt x="167" y="615"/>
                  </a:lnTo>
                  <a:lnTo>
                    <a:pt x="167" y="615"/>
                  </a:lnTo>
                  <a:lnTo>
                    <a:pt x="167" y="610"/>
                  </a:lnTo>
                  <a:lnTo>
                    <a:pt x="167" y="610"/>
                  </a:lnTo>
                  <a:lnTo>
                    <a:pt x="167" y="610"/>
                  </a:lnTo>
                  <a:lnTo>
                    <a:pt x="165" y="610"/>
                  </a:lnTo>
                  <a:lnTo>
                    <a:pt x="165" y="610"/>
                  </a:lnTo>
                  <a:lnTo>
                    <a:pt x="155" y="569"/>
                  </a:lnTo>
                  <a:lnTo>
                    <a:pt x="157" y="569"/>
                  </a:lnTo>
                  <a:lnTo>
                    <a:pt x="157" y="557"/>
                  </a:lnTo>
                  <a:lnTo>
                    <a:pt x="155" y="557"/>
                  </a:lnTo>
                  <a:lnTo>
                    <a:pt x="155" y="547"/>
                  </a:lnTo>
                  <a:lnTo>
                    <a:pt x="148" y="547"/>
                  </a:lnTo>
                  <a:lnTo>
                    <a:pt x="148" y="547"/>
                  </a:lnTo>
                  <a:lnTo>
                    <a:pt x="148" y="547"/>
                  </a:lnTo>
                  <a:lnTo>
                    <a:pt x="143" y="547"/>
                  </a:lnTo>
                  <a:lnTo>
                    <a:pt x="143" y="561"/>
                  </a:lnTo>
                  <a:lnTo>
                    <a:pt x="145" y="561"/>
                  </a:lnTo>
                  <a:lnTo>
                    <a:pt x="136" y="603"/>
                  </a:lnTo>
                  <a:lnTo>
                    <a:pt x="123" y="479"/>
                  </a:lnTo>
                  <a:lnTo>
                    <a:pt x="131" y="476"/>
                  </a:lnTo>
                  <a:lnTo>
                    <a:pt x="131" y="476"/>
                  </a:lnTo>
                  <a:lnTo>
                    <a:pt x="131" y="467"/>
                  </a:lnTo>
                  <a:lnTo>
                    <a:pt x="128" y="464"/>
                  </a:lnTo>
                  <a:lnTo>
                    <a:pt x="123" y="464"/>
                  </a:lnTo>
                  <a:lnTo>
                    <a:pt x="116" y="370"/>
                  </a:lnTo>
                  <a:lnTo>
                    <a:pt x="116" y="370"/>
                  </a:lnTo>
                  <a:lnTo>
                    <a:pt x="121" y="370"/>
                  </a:lnTo>
                  <a:lnTo>
                    <a:pt x="121" y="343"/>
                  </a:lnTo>
                  <a:lnTo>
                    <a:pt x="121" y="304"/>
                  </a:lnTo>
                  <a:lnTo>
                    <a:pt x="99" y="304"/>
                  </a:lnTo>
                  <a:lnTo>
                    <a:pt x="99" y="343"/>
                  </a:lnTo>
                  <a:lnTo>
                    <a:pt x="99" y="370"/>
                  </a:lnTo>
                  <a:lnTo>
                    <a:pt x="104" y="370"/>
                  </a:lnTo>
                  <a:lnTo>
                    <a:pt x="97" y="464"/>
                  </a:lnTo>
                  <a:lnTo>
                    <a:pt x="90" y="464"/>
                  </a:lnTo>
                  <a:lnTo>
                    <a:pt x="90" y="474"/>
                  </a:lnTo>
                  <a:lnTo>
                    <a:pt x="90" y="474"/>
                  </a:lnTo>
                  <a:lnTo>
                    <a:pt x="90" y="476"/>
                  </a:lnTo>
                  <a:lnTo>
                    <a:pt x="94" y="476"/>
                  </a:lnTo>
                  <a:lnTo>
                    <a:pt x="82" y="603"/>
                  </a:lnTo>
                  <a:lnTo>
                    <a:pt x="75" y="569"/>
                  </a:lnTo>
                  <a:lnTo>
                    <a:pt x="75" y="569"/>
                  </a:lnTo>
                  <a:lnTo>
                    <a:pt x="75" y="554"/>
                  </a:lnTo>
                  <a:lnTo>
                    <a:pt x="70" y="554"/>
                  </a:lnTo>
                  <a:lnTo>
                    <a:pt x="70" y="549"/>
                  </a:lnTo>
                  <a:lnTo>
                    <a:pt x="65" y="549"/>
                  </a:lnTo>
                  <a:lnTo>
                    <a:pt x="65" y="547"/>
                  </a:lnTo>
                  <a:lnTo>
                    <a:pt x="65" y="549"/>
                  </a:lnTo>
                  <a:lnTo>
                    <a:pt x="60" y="549"/>
                  </a:lnTo>
                  <a:lnTo>
                    <a:pt x="60" y="561"/>
                  </a:lnTo>
                  <a:lnTo>
                    <a:pt x="63" y="561"/>
                  </a:lnTo>
                  <a:lnTo>
                    <a:pt x="51" y="610"/>
                  </a:lnTo>
                  <a:lnTo>
                    <a:pt x="51" y="610"/>
                  </a:lnTo>
                  <a:lnTo>
                    <a:pt x="48" y="610"/>
                  </a:lnTo>
                  <a:lnTo>
                    <a:pt x="46" y="610"/>
                  </a:lnTo>
                  <a:lnTo>
                    <a:pt x="46" y="683"/>
                  </a:lnTo>
                  <a:lnTo>
                    <a:pt x="41" y="685"/>
                  </a:lnTo>
                  <a:lnTo>
                    <a:pt x="41" y="700"/>
                  </a:lnTo>
                  <a:lnTo>
                    <a:pt x="41" y="746"/>
                  </a:lnTo>
                  <a:lnTo>
                    <a:pt x="34" y="756"/>
                  </a:lnTo>
                  <a:lnTo>
                    <a:pt x="34" y="758"/>
                  </a:lnTo>
                  <a:lnTo>
                    <a:pt x="19" y="758"/>
                  </a:lnTo>
                  <a:lnTo>
                    <a:pt x="17" y="746"/>
                  </a:lnTo>
                  <a:lnTo>
                    <a:pt x="17" y="739"/>
                  </a:lnTo>
                  <a:lnTo>
                    <a:pt x="17" y="739"/>
                  </a:lnTo>
                  <a:lnTo>
                    <a:pt x="12" y="739"/>
                  </a:lnTo>
                  <a:lnTo>
                    <a:pt x="12" y="746"/>
                  </a:lnTo>
                  <a:lnTo>
                    <a:pt x="7" y="836"/>
                  </a:lnTo>
                  <a:lnTo>
                    <a:pt x="7" y="848"/>
                  </a:lnTo>
                  <a:lnTo>
                    <a:pt x="5" y="851"/>
                  </a:lnTo>
                  <a:lnTo>
                    <a:pt x="10" y="365"/>
                  </a:lnTo>
                  <a:lnTo>
                    <a:pt x="12" y="30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E28DE6E5-B7E7-481D-84D5-9F6BADD1228F}"/>
                </a:ext>
              </a:extLst>
            </p:cNvPr>
            <p:cNvSpPr/>
            <p:nvPr/>
          </p:nvSpPr>
          <p:spPr bwMode="auto">
            <a:xfrm>
              <a:off x="4070883" y="4596926"/>
              <a:ext cx="2027498" cy="2261074"/>
            </a:xfrm>
            <a:custGeom>
              <a:avLst/>
              <a:gdLst>
                <a:gd name="T0" fmla="*/ 1242 w 1276"/>
                <a:gd name="T1" fmla="*/ 529 h 1423"/>
                <a:gd name="T2" fmla="*/ 1225 w 1276"/>
                <a:gd name="T3" fmla="*/ 527 h 1423"/>
                <a:gd name="T4" fmla="*/ 1196 w 1276"/>
                <a:gd name="T5" fmla="*/ 505 h 1423"/>
                <a:gd name="T6" fmla="*/ 1172 w 1276"/>
                <a:gd name="T7" fmla="*/ 483 h 1423"/>
                <a:gd name="T8" fmla="*/ 1148 w 1276"/>
                <a:gd name="T9" fmla="*/ 461 h 1423"/>
                <a:gd name="T10" fmla="*/ 1126 w 1276"/>
                <a:gd name="T11" fmla="*/ 439 h 1423"/>
                <a:gd name="T12" fmla="*/ 1043 w 1276"/>
                <a:gd name="T13" fmla="*/ 434 h 1423"/>
                <a:gd name="T14" fmla="*/ 1005 w 1276"/>
                <a:gd name="T15" fmla="*/ 447 h 1423"/>
                <a:gd name="T16" fmla="*/ 985 w 1276"/>
                <a:gd name="T17" fmla="*/ 461 h 1423"/>
                <a:gd name="T18" fmla="*/ 981 w 1276"/>
                <a:gd name="T19" fmla="*/ 481 h 1423"/>
                <a:gd name="T20" fmla="*/ 959 w 1276"/>
                <a:gd name="T21" fmla="*/ 495 h 1423"/>
                <a:gd name="T22" fmla="*/ 939 w 1276"/>
                <a:gd name="T23" fmla="*/ 505 h 1423"/>
                <a:gd name="T24" fmla="*/ 937 w 1276"/>
                <a:gd name="T25" fmla="*/ 524 h 1423"/>
                <a:gd name="T26" fmla="*/ 913 w 1276"/>
                <a:gd name="T27" fmla="*/ 529 h 1423"/>
                <a:gd name="T28" fmla="*/ 840 w 1276"/>
                <a:gd name="T29" fmla="*/ 534 h 1423"/>
                <a:gd name="T30" fmla="*/ 840 w 1276"/>
                <a:gd name="T31" fmla="*/ 595 h 1423"/>
                <a:gd name="T32" fmla="*/ 765 w 1276"/>
                <a:gd name="T33" fmla="*/ 876 h 1423"/>
                <a:gd name="T34" fmla="*/ 763 w 1276"/>
                <a:gd name="T35" fmla="*/ 544 h 1423"/>
                <a:gd name="T36" fmla="*/ 690 w 1276"/>
                <a:gd name="T37" fmla="*/ 539 h 1423"/>
                <a:gd name="T38" fmla="*/ 668 w 1276"/>
                <a:gd name="T39" fmla="*/ 534 h 1423"/>
                <a:gd name="T40" fmla="*/ 661 w 1276"/>
                <a:gd name="T41" fmla="*/ 515 h 1423"/>
                <a:gd name="T42" fmla="*/ 646 w 1276"/>
                <a:gd name="T43" fmla="*/ 502 h 1423"/>
                <a:gd name="T44" fmla="*/ 625 w 1276"/>
                <a:gd name="T45" fmla="*/ 490 h 1423"/>
                <a:gd name="T46" fmla="*/ 617 w 1276"/>
                <a:gd name="T47" fmla="*/ 471 h 1423"/>
                <a:gd name="T48" fmla="*/ 600 w 1276"/>
                <a:gd name="T49" fmla="*/ 456 h 1423"/>
                <a:gd name="T50" fmla="*/ 559 w 1276"/>
                <a:gd name="T51" fmla="*/ 444 h 1423"/>
                <a:gd name="T52" fmla="*/ 482 w 1276"/>
                <a:gd name="T53" fmla="*/ 449 h 1423"/>
                <a:gd name="T54" fmla="*/ 460 w 1276"/>
                <a:gd name="T55" fmla="*/ 471 h 1423"/>
                <a:gd name="T56" fmla="*/ 436 w 1276"/>
                <a:gd name="T57" fmla="*/ 493 h 1423"/>
                <a:gd name="T58" fmla="*/ 411 w 1276"/>
                <a:gd name="T59" fmla="*/ 512 h 1423"/>
                <a:gd name="T60" fmla="*/ 385 w 1276"/>
                <a:gd name="T61" fmla="*/ 534 h 1423"/>
                <a:gd name="T62" fmla="*/ 382 w 1276"/>
                <a:gd name="T63" fmla="*/ 536 h 1423"/>
                <a:gd name="T64" fmla="*/ 322 w 1276"/>
                <a:gd name="T65" fmla="*/ 328 h 1423"/>
                <a:gd name="T66" fmla="*/ 264 w 1276"/>
                <a:gd name="T67" fmla="*/ 274 h 1423"/>
                <a:gd name="T68" fmla="*/ 201 w 1276"/>
                <a:gd name="T69" fmla="*/ 233 h 1423"/>
                <a:gd name="T70" fmla="*/ 179 w 1276"/>
                <a:gd name="T71" fmla="*/ 328 h 1423"/>
                <a:gd name="T72" fmla="*/ 181 w 1276"/>
                <a:gd name="T73" fmla="*/ 255 h 1423"/>
                <a:gd name="T74" fmla="*/ 179 w 1276"/>
                <a:gd name="T75" fmla="*/ 252 h 1423"/>
                <a:gd name="T76" fmla="*/ 181 w 1276"/>
                <a:gd name="T77" fmla="*/ 213 h 1423"/>
                <a:gd name="T78" fmla="*/ 179 w 1276"/>
                <a:gd name="T79" fmla="*/ 213 h 1423"/>
                <a:gd name="T80" fmla="*/ 181 w 1276"/>
                <a:gd name="T81" fmla="*/ 174 h 1423"/>
                <a:gd name="T82" fmla="*/ 179 w 1276"/>
                <a:gd name="T83" fmla="*/ 172 h 1423"/>
                <a:gd name="T84" fmla="*/ 116 w 1276"/>
                <a:gd name="T85" fmla="*/ 109 h 1423"/>
                <a:gd name="T86" fmla="*/ 29 w 1276"/>
                <a:gd name="T87" fmla="*/ 104 h 1423"/>
                <a:gd name="T88" fmla="*/ 29 w 1276"/>
                <a:gd name="T89" fmla="*/ 31 h 1423"/>
                <a:gd name="T90" fmla="*/ 29 w 1276"/>
                <a:gd name="T91" fmla="*/ 9 h 1423"/>
                <a:gd name="T92" fmla="*/ 29 w 1276"/>
                <a:gd name="T93" fmla="*/ 0 h 1423"/>
                <a:gd name="T94" fmla="*/ 0 w 1276"/>
                <a:gd name="T95" fmla="*/ 1423 h 1423"/>
                <a:gd name="T96" fmla="*/ 1276 w 1276"/>
                <a:gd name="T97" fmla="*/ 534 h 1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76" h="1423">
                  <a:moveTo>
                    <a:pt x="1276" y="534"/>
                  </a:moveTo>
                  <a:lnTo>
                    <a:pt x="1242" y="529"/>
                  </a:lnTo>
                  <a:lnTo>
                    <a:pt x="1223" y="532"/>
                  </a:lnTo>
                  <a:lnTo>
                    <a:pt x="1225" y="527"/>
                  </a:lnTo>
                  <a:lnTo>
                    <a:pt x="1196" y="524"/>
                  </a:lnTo>
                  <a:lnTo>
                    <a:pt x="1196" y="505"/>
                  </a:lnTo>
                  <a:lnTo>
                    <a:pt x="1172" y="502"/>
                  </a:lnTo>
                  <a:lnTo>
                    <a:pt x="1172" y="483"/>
                  </a:lnTo>
                  <a:lnTo>
                    <a:pt x="1148" y="481"/>
                  </a:lnTo>
                  <a:lnTo>
                    <a:pt x="1148" y="461"/>
                  </a:lnTo>
                  <a:lnTo>
                    <a:pt x="1123" y="459"/>
                  </a:lnTo>
                  <a:lnTo>
                    <a:pt x="1126" y="439"/>
                  </a:lnTo>
                  <a:lnTo>
                    <a:pt x="1094" y="434"/>
                  </a:lnTo>
                  <a:lnTo>
                    <a:pt x="1043" y="434"/>
                  </a:lnTo>
                  <a:lnTo>
                    <a:pt x="1007" y="439"/>
                  </a:lnTo>
                  <a:lnTo>
                    <a:pt x="1005" y="447"/>
                  </a:lnTo>
                  <a:lnTo>
                    <a:pt x="1005" y="459"/>
                  </a:lnTo>
                  <a:lnTo>
                    <a:pt x="985" y="461"/>
                  </a:lnTo>
                  <a:lnTo>
                    <a:pt x="983" y="471"/>
                  </a:lnTo>
                  <a:lnTo>
                    <a:pt x="981" y="481"/>
                  </a:lnTo>
                  <a:lnTo>
                    <a:pt x="964" y="483"/>
                  </a:lnTo>
                  <a:lnTo>
                    <a:pt x="959" y="495"/>
                  </a:lnTo>
                  <a:lnTo>
                    <a:pt x="959" y="502"/>
                  </a:lnTo>
                  <a:lnTo>
                    <a:pt x="939" y="505"/>
                  </a:lnTo>
                  <a:lnTo>
                    <a:pt x="937" y="517"/>
                  </a:lnTo>
                  <a:lnTo>
                    <a:pt x="937" y="524"/>
                  </a:lnTo>
                  <a:lnTo>
                    <a:pt x="915" y="527"/>
                  </a:lnTo>
                  <a:lnTo>
                    <a:pt x="913" y="529"/>
                  </a:lnTo>
                  <a:lnTo>
                    <a:pt x="893" y="527"/>
                  </a:lnTo>
                  <a:lnTo>
                    <a:pt x="840" y="534"/>
                  </a:lnTo>
                  <a:lnTo>
                    <a:pt x="840" y="595"/>
                  </a:lnTo>
                  <a:lnTo>
                    <a:pt x="840" y="595"/>
                  </a:lnTo>
                  <a:lnTo>
                    <a:pt x="840" y="876"/>
                  </a:lnTo>
                  <a:lnTo>
                    <a:pt x="765" y="876"/>
                  </a:lnTo>
                  <a:lnTo>
                    <a:pt x="763" y="600"/>
                  </a:lnTo>
                  <a:lnTo>
                    <a:pt x="763" y="544"/>
                  </a:lnTo>
                  <a:lnTo>
                    <a:pt x="707" y="536"/>
                  </a:lnTo>
                  <a:lnTo>
                    <a:pt x="690" y="539"/>
                  </a:lnTo>
                  <a:lnTo>
                    <a:pt x="688" y="536"/>
                  </a:lnTo>
                  <a:lnTo>
                    <a:pt x="668" y="534"/>
                  </a:lnTo>
                  <a:lnTo>
                    <a:pt x="668" y="527"/>
                  </a:lnTo>
                  <a:lnTo>
                    <a:pt x="661" y="515"/>
                  </a:lnTo>
                  <a:lnTo>
                    <a:pt x="646" y="512"/>
                  </a:lnTo>
                  <a:lnTo>
                    <a:pt x="646" y="502"/>
                  </a:lnTo>
                  <a:lnTo>
                    <a:pt x="639" y="493"/>
                  </a:lnTo>
                  <a:lnTo>
                    <a:pt x="625" y="490"/>
                  </a:lnTo>
                  <a:lnTo>
                    <a:pt x="625" y="481"/>
                  </a:lnTo>
                  <a:lnTo>
                    <a:pt x="617" y="471"/>
                  </a:lnTo>
                  <a:lnTo>
                    <a:pt x="603" y="468"/>
                  </a:lnTo>
                  <a:lnTo>
                    <a:pt x="600" y="456"/>
                  </a:lnTo>
                  <a:lnTo>
                    <a:pt x="598" y="449"/>
                  </a:lnTo>
                  <a:lnTo>
                    <a:pt x="559" y="444"/>
                  </a:lnTo>
                  <a:lnTo>
                    <a:pt x="511" y="444"/>
                  </a:lnTo>
                  <a:lnTo>
                    <a:pt x="482" y="449"/>
                  </a:lnTo>
                  <a:lnTo>
                    <a:pt x="482" y="466"/>
                  </a:lnTo>
                  <a:lnTo>
                    <a:pt x="460" y="471"/>
                  </a:lnTo>
                  <a:lnTo>
                    <a:pt x="460" y="488"/>
                  </a:lnTo>
                  <a:lnTo>
                    <a:pt x="436" y="493"/>
                  </a:lnTo>
                  <a:lnTo>
                    <a:pt x="436" y="510"/>
                  </a:lnTo>
                  <a:lnTo>
                    <a:pt x="411" y="512"/>
                  </a:lnTo>
                  <a:lnTo>
                    <a:pt x="411" y="532"/>
                  </a:lnTo>
                  <a:lnTo>
                    <a:pt x="385" y="534"/>
                  </a:lnTo>
                  <a:lnTo>
                    <a:pt x="385" y="536"/>
                  </a:lnTo>
                  <a:lnTo>
                    <a:pt x="382" y="536"/>
                  </a:lnTo>
                  <a:lnTo>
                    <a:pt x="382" y="328"/>
                  </a:lnTo>
                  <a:lnTo>
                    <a:pt x="322" y="328"/>
                  </a:lnTo>
                  <a:lnTo>
                    <a:pt x="322" y="274"/>
                  </a:lnTo>
                  <a:lnTo>
                    <a:pt x="264" y="274"/>
                  </a:lnTo>
                  <a:lnTo>
                    <a:pt x="264" y="233"/>
                  </a:lnTo>
                  <a:lnTo>
                    <a:pt x="201" y="233"/>
                  </a:lnTo>
                  <a:lnTo>
                    <a:pt x="201" y="328"/>
                  </a:lnTo>
                  <a:lnTo>
                    <a:pt x="179" y="328"/>
                  </a:lnTo>
                  <a:lnTo>
                    <a:pt x="179" y="257"/>
                  </a:lnTo>
                  <a:lnTo>
                    <a:pt x="181" y="255"/>
                  </a:lnTo>
                  <a:lnTo>
                    <a:pt x="181" y="252"/>
                  </a:lnTo>
                  <a:lnTo>
                    <a:pt x="179" y="252"/>
                  </a:lnTo>
                  <a:lnTo>
                    <a:pt x="179" y="218"/>
                  </a:lnTo>
                  <a:lnTo>
                    <a:pt x="181" y="213"/>
                  </a:lnTo>
                  <a:lnTo>
                    <a:pt x="181" y="213"/>
                  </a:lnTo>
                  <a:lnTo>
                    <a:pt x="179" y="213"/>
                  </a:lnTo>
                  <a:lnTo>
                    <a:pt x="179" y="177"/>
                  </a:lnTo>
                  <a:lnTo>
                    <a:pt x="181" y="174"/>
                  </a:lnTo>
                  <a:lnTo>
                    <a:pt x="181" y="172"/>
                  </a:lnTo>
                  <a:lnTo>
                    <a:pt x="179" y="172"/>
                  </a:lnTo>
                  <a:lnTo>
                    <a:pt x="179" y="114"/>
                  </a:lnTo>
                  <a:lnTo>
                    <a:pt x="116" y="109"/>
                  </a:lnTo>
                  <a:lnTo>
                    <a:pt x="43" y="104"/>
                  </a:lnTo>
                  <a:lnTo>
                    <a:pt x="29" y="104"/>
                  </a:lnTo>
                  <a:lnTo>
                    <a:pt x="29" y="51"/>
                  </a:lnTo>
                  <a:lnTo>
                    <a:pt x="29" y="31"/>
                  </a:lnTo>
                  <a:lnTo>
                    <a:pt x="29" y="26"/>
                  </a:lnTo>
                  <a:lnTo>
                    <a:pt x="29" y="9"/>
                  </a:lnTo>
                  <a:lnTo>
                    <a:pt x="29" y="4"/>
                  </a:lnTo>
                  <a:lnTo>
                    <a:pt x="29" y="0"/>
                  </a:lnTo>
                  <a:lnTo>
                    <a:pt x="0" y="0"/>
                  </a:lnTo>
                  <a:lnTo>
                    <a:pt x="0" y="1423"/>
                  </a:lnTo>
                  <a:lnTo>
                    <a:pt x="1276" y="1423"/>
                  </a:lnTo>
                  <a:lnTo>
                    <a:pt x="1276" y="53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19862480-C524-4A64-AC60-312F175B0120}"/>
                </a:ext>
              </a:extLst>
            </p:cNvPr>
            <p:cNvSpPr/>
            <p:nvPr/>
          </p:nvSpPr>
          <p:spPr bwMode="auto">
            <a:xfrm>
              <a:off x="2035441" y="4113886"/>
              <a:ext cx="2035444" cy="2744114"/>
            </a:xfrm>
            <a:custGeom>
              <a:avLst/>
              <a:gdLst>
                <a:gd name="T0" fmla="*/ 1281 w 1281"/>
                <a:gd name="T1" fmla="*/ 1727 h 1727"/>
                <a:gd name="T2" fmla="*/ 1194 w 1281"/>
                <a:gd name="T3" fmla="*/ 304 h 1727"/>
                <a:gd name="T4" fmla="*/ 1194 w 1281"/>
                <a:gd name="T5" fmla="*/ 284 h 1727"/>
                <a:gd name="T6" fmla="*/ 1194 w 1281"/>
                <a:gd name="T7" fmla="*/ 265 h 1727"/>
                <a:gd name="T8" fmla="*/ 1080 w 1281"/>
                <a:gd name="T9" fmla="*/ 126 h 1727"/>
                <a:gd name="T10" fmla="*/ 1073 w 1281"/>
                <a:gd name="T11" fmla="*/ 80 h 1727"/>
                <a:gd name="T12" fmla="*/ 1063 w 1281"/>
                <a:gd name="T13" fmla="*/ 92 h 1727"/>
                <a:gd name="T14" fmla="*/ 1063 w 1281"/>
                <a:gd name="T15" fmla="*/ 12 h 1727"/>
                <a:gd name="T16" fmla="*/ 1061 w 1281"/>
                <a:gd name="T17" fmla="*/ 0 h 1727"/>
                <a:gd name="T18" fmla="*/ 1053 w 1281"/>
                <a:gd name="T19" fmla="*/ 92 h 1727"/>
                <a:gd name="T20" fmla="*/ 1053 w 1281"/>
                <a:gd name="T21" fmla="*/ 12 h 1727"/>
                <a:gd name="T22" fmla="*/ 1048 w 1281"/>
                <a:gd name="T23" fmla="*/ 0 h 1727"/>
                <a:gd name="T24" fmla="*/ 1041 w 1281"/>
                <a:gd name="T25" fmla="*/ 92 h 1727"/>
                <a:gd name="T26" fmla="*/ 1041 w 1281"/>
                <a:gd name="T27" fmla="*/ 12 h 1727"/>
                <a:gd name="T28" fmla="*/ 1039 w 1281"/>
                <a:gd name="T29" fmla="*/ 0 h 1727"/>
                <a:gd name="T30" fmla="*/ 1031 w 1281"/>
                <a:gd name="T31" fmla="*/ 92 h 1727"/>
                <a:gd name="T32" fmla="*/ 1031 w 1281"/>
                <a:gd name="T33" fmla="*/ 12 h 1727"/>
                <a:gd name="T34" fmla="*/ 1027 w 1281"/>
                <a:gd name="T35" fmla="*/ 0 h 1727"/>
                <a:gd name="T36" fmla="*/ 1019 w 1281"/>
                <a:gd name="T37" fmla="*/ 92 h 1727"/>
                <a:gd name="T38" fmla="*/ 1019 w 1281"/>
                <a:gd name="T39" fmla="*/ 12 h 1727"/>
                <a:gd name="T40" fmla="*/ 1017 w 1281"/>
                <a:gd name="T41" fmla="*/ 0 h 1727"/>
                <a:gd name="T42" fmla="*/ 1010 w 1281"/>
                <a:gd name="T43" fmla="*/ 92 h 1727"/>
                <a:gd name="T44" fmla="*/ 1000 w 1281"/>
                <a:gd name="T45" fmla="*/ 80 h 1727"/>
                <a:gd name="T46" fmla="*/ 1000 w 1281"/>
                <a:gd name="T47" fmla="*/ 257 h 1727"/>
                <a:gd name="T48" fmla="*/ 1000 w 1281"/>
                <a:gd name="T49" fmla="*/ 282 h 1727"/>
                <a:gd name="T50" fmla="*/ 971 w 1281"/>
                <a:gd name="T51" fmla="*/ 304 h 1727"/>
                <a:gd name="T52" fmla="*/ 971 w 1281"/>
                <a:gd name="T53" fmla="*/ 313 h 1727"/>
                <a:gd name="T54" fmla="*/ 971 w 1281"/>
                <a:gd name="T55" fmla="*/ 335 h 1727"/>
                <a:gd name="T56" fmla="*/ 971 w 1281"/>
                <a:gd name="T57" fmla="*/ 403 h 1727"/>
                <a:gd name="T58" fmla="*/ 968 w 1281"/>
                <a:gd name="T59" fmla="*/ 413 h 1727"/>
                <a:gd name="T60" fmla="*/ 932 w 1281"/>
                <a:gd name="T61" fmla="*/ 738 h 1727"/>
                <a:gd name="T62" fmla="*/ 814 w 1281"/>
                <a:gd name="T63" fmla="*/ 515 h 1727"/>
                <a:gd name="T64" fmla="*/ 746 w 1281"/>
                <a:gd name="T65" fmla="*/ 386 h 1727"/>
                <a:gd name="T66" fmla="*/ 719 w 1281"/>
                <a:gd name="T67" fmla="*/ 515 h 1727"/>
                <a:gd name="T68" fmla="*/ 608 w 1281"/>
                <a:gd name="T69" fmla="*/ 386 h 1727"/>
                <a:gd name="T70" fmla="*/ 557 w 1281"/>
                <a:gd name="T71" fmla="*/ 515 h 1727"/>
                <a:gd name="T72" fmla="*/ 513 w 1281"/>
                <a:gd name="T73" fmla="*/ 1195 h 1727"/>
                <a:gd name="T74" fmla="*/ 458 w 1281"/>
                <a:gd name="T75" fmla="*/ 1200 h 1727"/>
                <a:gd name="T76" fmla="*/ 431 w 1281"/>
                <a:gd name="T77" fmla="*/ 1202 h 1727"/>
                <a:gd name="T78" fmla="*/ 412 w 1281"/>
                <a:gd name="T79" fmla="*/ 1180 h 1727"/>
                <a:gd name="T80" fmla="*/ 370 w 1281"/>
                <a:gd name="T81" fmla="*/ 1207 h 1727"/>
                <a:gd name="T82" fmla="*/ 370 w 1281"/>
                <a:gd name="T83" fmla="*/ 1210 h 1727"/>
                <a:gd name="T84" fmla="*/ 370 w 1281"/>
                <a:gd name="T85" fmla="*/ 1200 h 1727"/>
                <a:gd name="T86" fmla="*/ 322 w 1281"/>
                <a:gd name="T87" fmla="*/ 1188 h 1727"/>
                <a:gd name="T88" fmla="*/ 312 w 1281"/>
                <a:gd name="T89" fmla="*/ 1202 h 1727"/>
                <a:gd name="T90" fmla="*/ 269 w 1281"/>
                <a:gd name="T91" fmla="*/ 1197 h 1727"/>
                <a:gd name="T92" fmla="*/ 140 w 1281"/>
                <a:gd name="T93" fmla="*/ 1193 h 1727"/>
                <a:gd name="T94" fmla="*/ 0 w 1281"/>
                <a:gd name="T95" fmla="*/ 1210 h 17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81" h="1727">
                  <a:moveTo>
                    <a:pt x="0" y="1727"/>
                  </a:moveTo>
                  <a:lnTo>
                    <a:pt x="1281" y="1727"/>
                  </a:lnTo>
                  <a:lnTo>
                    <a:pt x="1281" y="304"/>
                  </a:lnTo>
                  <a:lnTo>
                    <a:pt x="1194" y="304"/>
                  </a:lnTo>
                  <a:lnTo>
                    <a:pt x="1194" y="291"/>
                  </a:lnTo>
                  <a:lnTo>
                    <a:pt x="1194" y="284"/>
                  </a:lnTo>
                  <a:lnTo>
                    <a:pt x="1194" y="267"/>
                  </a:lnTo>
                  <a:lnTo>
                    <a:pt x="1194" y="265"/>
                  </a:lnTo>
                  <a:lnTo>
                    <a:pt x="1080" y="265"/>
                  </a:lnTo>
                  <a:lnTo>
                    <a:pt x="1080" y="126"/>
                  </a:lnTo>
                  <a:lnTo>
                    <a:pt x="1080" y="80"/>
                  </a:lnTo>
                  <a:lnTo>
                    <a:pt x="1073" y="80"/>
                  </a:lnTo>
                  <a:lnTo>
                    <a:pt x="1073" y="92"/>
                  </a:lnTo>
                  <a:lnTo>
                    <a:pt x="1063" y="92"/>
                  </a:lnTo>
                  <a:lnTo>
                    <a:pt x="1063" y="12"/>
                  </a:lnTo>
                  <a:lnTo>
                    <a:pt x="1063" y="12"/>
                  </a:lnTo>
                  <a:lnTo>
                    <a:pt x="1063" y="0"/>
                  </a:lnTo>
                  <a:lnTo>
                    <a:pt x="1061" y="0"/>
                  </a:lnTo>
                  <a:lnTo>
                    <a:pt x="1061" y="92"/>
                  </a:lnTo>
                  <a:lnTo>
                    <a:pt x="1053" y="92"/>
                  </a:lnTo>
                  <a:lnTo>
                    <a:pt x="1053" y="12"/>
                  </a:lnTo>
                  <a:lnTo>
                    <a:pt x="1053" y="12"/>
                  </a:lnTo>
                  <a:lnTo>
                    <a:pt x="1053" y="0"/>
                  </a:lnTo>
                  <a:lnTo>
                    <a:pt x="1048" y="0"/>
                  </a:lnTo>
                  <a:lnTo>
                    <a:pt x="1048" y="92"/>
                  </a:lnTo>
                  <a:lnTo>
                    <a:pt x="1041" y="92"/>
                  </a:lnTo>
                  <a:lnTo>
                    <a:pt x="1041" y="12"/>
                  </a:lnTo>
                  <a:lnTo>
                    <a:pt x="1041" y="12"/>
                  </a:lnTo>
                  <a:lnTo>
                    <a:pt x="1041" y="0"/>
                  </a:lnTo>
                  <a:lnTo>
                    <a:pt x="1039" y="0"/>
                  </a:lnTo>
                  <a:lnTo>
                    <a:pt x="1039" y="92"/>
                  </a:lnTo>
                  <a:lnTo>
                    <a:pt x="1031" y="92"/>
                  </a:lnTo>
                  <a:lnTo>
                    <a:pt x="1031" y="12"/>
                  </a:lnTo>
                  <a:lnTo>
                    <a:pt x="1031" y="12"/>
                  </a:lnTo>
                  <a:lnTo>
                    <a:pt x="1029" y="0"/>
                  </a:lnTo>
                  <a:lnTo>
                    <a:pt x="1027" y="0"/>
                  </a:lnTo>
                  <a:lnTo>
                    <a:pt x="1027" y="92"/>
                  </a:lnTo>
                  <a:lnTo>
                    <a:pt x="1019" y="92"/>
                  </a:lnTo>
                  <a:lnTo>
                    <a:pt x="1019" y="12"/>
                  </a:lnTo>
                  <a:lnTo>
                    <a:pt x="1019" y="12"/>
                  </a:lnTo>
                  <a:lnTo>
                    <a:pt x="1019" y="0"/>
                  </a:lnTo>
                  <a:lnTo>
                    <a:pt x="1017" y="0"/>
                  </a:lnTo>
                  <a:lnTo>
                    <a:pt x="1017" y="92"/>
                  </a:lnTo>
                  <a:lnTo>
                    <a:pt x="1010" y="92"/>
                  </a:lnTo>
                  <a:lnTo>
                    <a:pt x="1007" y="80"/>
                  </a:lnTo>
                  <a:lnTo>
                    <a:pt x="1000" y="80"/>
                  </a:lnTo>
                  <a:lnTo>
                    <a:pt x="1000" y="253"/>
                  </a:lnTo>
                  <a:lnTo>
                    <a:pt x="1000" y="257"/>
                  </a:lnTo>
                  <a:lnTo>
                    <a:pt x="1000" y="274"/>
                  </a:lnTo>
                  <a:lnTo>
                    <a:pt x="1000" y="282"/>
                  </a:lnTo>
                  <a:lnTo>
                    <a:pt x="1000" y="304"/>
                  </a:lnTo>
                  <a:lnTo>
                    <a:pt x="971" y="304"/>
                  </a:lnTo>
                  <a:lnTo>
                    <a:pt x="971" y="308"/>
                  </a:lnTo>
                  <a:lnTo>
                    <a:pt x="971" y="313"/>
                  </a:lnTo>
                  <a:lnTo>
                    <a:pt x="971" y="333"/>
                  </a:lnTo>
                  <a:lnTo>
                    <a:pt x="971" y="335"/>
                  </a:lnTo>
                  <a:lnTo>
                    <a:pt x="971" y="355"/>
                  </a:lnTo>
                  <a:lnTo>
                    <a:pt x="971" y="403"/>
                  </a:lnTo>
                  <a:lnTo>
                    <a:pt x="968" y="403"/>
                  </a:lnTo>
                  <a:lnTo>
                    <a:pt x="968" y="413"/>
                  </a:lnTo>
                  <a:lnTo>
                    <a:pt x="932" y="413"/>
                  </a:lnTo>
                  <a:lnTo>
                    <a:pt x="932" y="738"/>
                  </a:lnTo>
                  <a:lnTo>
                    <a:pt x="814" y="738"/>
                  </a:lnTo>
                  <a:lnTo>
                    <a:pt x="814" y="515"/>
                  </a:lnTo>
                  <a:lnTo>
                    <a:pt x="746" y="515"/>
                  </a:lnTo>
                  <a:lnTo>
                    <a:pt x="746" y="386"/>
                  </a:lnTo>
                  <a:lnTo>
                    <a:pt x="719" y="386"/>
                  </a:lnTo>
                  <a:lnTo>
                    <a:pt x="719" y="515"/>
                  </a:lnTo>
                  <a:lnTo>
                    <a:pt x="608" y="515"/>
                  </a:lnTo>
                  <a:lnTo>
                    <a:pt x="608" y="386"/>
                  </a:lnTo>
                  <a:lnTo>
                    <a:pt x="557" y="386"/>
                  </a:lnTo>
                  <a:lnTo>
                    <a:pt x="557" y="515"/>
                  </a:lnTo>
                  <a:lnTo>
                    <a:pt x="513" y="515"/>
                  </a:lnTo>
                  <a:lnTo>
                    <a:pt x="513" y="1195"/>
                  </a:lnTo>
                  <a:lnTo>
                    <a:pt x="475" y="1197"/>
                  </a:lnTo>
                  <a:lnTo>
                    <a:pt x="458" y="1200"/>
                  </a:lnTo>
                  <a:lnTo>
                    <a:pt x="433" y="1202"/>
                  </a:lnTo>
                  <a:lnTo>
                    <a:pt x="431" y="1202"/>
                  </a:lnTo>
                  <a:lnTo>
                    <a:pt x="421" y="1188"/>
                  </a:lnTo>
                  <a:lnTo>
                    <a:pt x="412" y="1180"/>
                  </a:lnTo>
                  <a:lnTo>
                    <a:pt x="373" y="1200"/>
                  </a:lnTo>
                  <a:lnTo>
                    <a:pt x="370" y="1207"/>
                  </a:lnTo>
                  <a:lnTo>
                    <a:pt x="370" y="1210"/>
                  </a:lnTo>
                  <a:lnTo>
                    <a:pt x="370" y="1210"/>
                  </a:lnTo>
                  <a:lnTo>
                    <a:pt x="370" y="1207"/>
                  </a:lnTo>
                  <a:lnTo>
                    <a:pt x="370" y="1200"/>
                  </a:lnTo>
                  <a:lnTo>
                    <a:pt x="332" y="1180"/>
                  </a:lnTo>
                  <a:lnTo>
                    <a:pt x="322" y="1188"/>
                  </a:lnTo>
                  <a:lnTo>
                    <a:pt x="312" y="1202"/>
                  </a:lnTo>
                  <a:lnTo>
                    <a:pt x="312" y="1202"/>
                  </a:lnTo>
                  <a:lnTo>
                    <a:pt x="288" y="1200"/>
                  </a:lnTo>
                  <a:lnTo>
                    <a:pt x="269" y="1197"/>
                  </a:lnTo>
                  <a:lnTo>
                    <a:pt x="160" y="1193"/>
                  </a:lnTo>
                  <a:lnTo>
                    <a:pt x="140" y="1193"/>
                  </a:lnTo>
                  <a:lnTo>
                    <a:pt x="22" y="1205"/>
                  </a:lnTo>
                  <a:lnTo>
                    <a:pt x="0" y="1210"/>
                  </a:lnTo>
                  <a:lnTo>
                    <a:pt x="0" y="172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32449206-95EA-4369-B9EC-ED5577A1D04C}"/>
                </a:ext>
              </a:extLst>
            </p:cNvPr>
            <p:cNvSpPr/>
            <p:nvPr/>
          </p:nvSpPr>
          <p:spPr bwMode="auto">
            <a:xfrm>
              <a:off x="3175" y="4202867"/>
              <a:ext cx="2032266" cy="2655133"/>
            </a:xfrm>
            <a:custGeom>
              <a:avLst/>
              <a:gdLst>
                <a:gd name="T0" fmla="*/ 933 w 1279"/>
                <a:gd name="T1" fmla="*/ 988 h 1671"/>
                <a:gd name="T2" fmla="*/ 712 w 1279"/>
                <a:gd name="T3" fmla="*/ 933 h 1671"/>
                <a:gd name="T4" fmla="*/ 577 w 1279"/>
                <a:gd name="T5" fmla="*/ 1207 h 1671"/>
                <a:gd name="T6" fmla="*/ 303 w 1279"/>
                <a:gd name="T7" fmla="*/ 1336 h 1671"/>
                <a:gd name="T8" fmla="*/ 230 w 1279"/>
                <a:gd name="T9" fmla="*/ 517 h 1671"/>
                <a:gd name="T10" fmla="*/ 194 w 1279"/>
                <a:gd name="T11" fmla="*/ 505 h 1671"/>
                <a:gd name="T12" fmla="*/ 240 w 1279"/>
                <a:gd name="T13" fmla="*/ 498 h 1671"/>
                <a:gd name="T14" fmla="*/ 211 w 1279"/>
                <a:gd name="T15" fmla="*/ 486 h 1671"/>
                <a:gd name="T16" fmla="*/ 194 w 1279"/>
                <a:gd name="T17" fmla="*/ 481 h 1671"/>
                <a:gd name="T18" fmla="*/ 192 w 1279"/>
                <a:gd name="T19" fmla="*/ 432 h 1671"/>
                <a:gd name="T20" fmla="*/ 182 w 1279"/>
                <a:gd name="T21" fmla="*/ 427 h 1671"/>
                <a:gd name="T22" fmla="*/ 204 w 1279"/>
                <a:gd name="T23" fmla="*/ 425 h 1671"/>
                <a:gd name="T24" fmla="*/ 218 w 1279"/>
                <a:gd name="T25" fmla="*/ 425 h 1671"/>
                <a:gd name="T26" fmla="*/ 233 w 1279"/>
                <a:gd name="T27" fmla="*/ 418 h 1671"/>
                <a:gd name="T28" fmla="*/ 235 w 1279"/>
                <a:gd name="T29" fmla="*/ 410 h 1671"/>
                <a:gd name="T30" fmla="*/ 189 w 1279"/>
                <a:gd name="T31" fmla="*/ 398 h 1671"/>
                <a:gd name="T32" fmla="*/ 172 w 1279"/>
                <a:gd name="T33" fmla="*/ 379 h 1671"/>
                <a:gd name="T34" fmla="*/ 168 w 1279"/>
                <a:gd name="T35" fmla="*/ 245 h 1671"/>
                <a:gd name="T36" fmla="*/ 163 w 1279"/>
                <a:gd name="T37" fmla="*/ 146 h 1671"/>
                <a:gd name="T38" fmla="*/ 158 w 1279"/>
                <a:gd name="T39" fmla="*/ 63 h 1671"/>
                <a:gd name="T40" fmla="*/ 155 w 1279"/>
                <a:gd name="T41" fmla="*/ 0 h 1671"/>
                <a:gd name="T42" fmla="*/ 153 w 1279"/>
                <a:gd name="T43" fmla="*/ 0 h 1671"/>
                <a:gd name="T44" fmla="*/ 151 w 1279"/>
                <a:gd name="T45" fmla="*/ 65 h 1671"/>
                <a:gd name="T46" fmla="*/ 148 w 1279"/>
                <a:gd name="T47" fmla="*/ 146 h 1671"/>
                <a:gd name="T48" fmla="*/ 146 w 1279"/>
                <a:gd name="T49" fmla="*/ 374 h 1671"/>
                <a:gd name="T50" fmla="*/ 138 w 1279"/>
                <a:gd name="T51" fmla="*/ 386 h 1671"/>
                <a:gd name="T52" fmla="*/ 117 w 1279"/>
                <a:gd name="T53" fmla="*/ 401 h 1671"/>
                <a:gd name="T54" fmla="*/ 80 w 1279"/>
                <a:gd name="T55" fmla="*/ 418 h 1671"/>
                <a:gd name="T56" fmla="*/ 95 w 1279"/>
                <a:gd name="T57" fmla="*/ 425 h 1671"/>
                <a:gd name="T58" fmla="*/ 112 w 1279"/>
                <a:gd name="T59" fmla="*/ 427 h 1671"/>
                <a:gd name="T60" fmla="*/ 129 w 1279"/>
                <a:gd name="T61" fmla="*/ 427 h 1671"/>
                <a:gd name="T62" fmla="*/ 119 w 1279"/>
                <a:gd name="T63" fmla="*/ 439 h 1671"/>
                <a:gd name="T64" fmla="*/ 121 w 1279"/>
                <a:gd name="T65" fmla="*/ 481 h 1671"/>
                <a:gd name="T66" fmla="*/ 100 w 1279"/>
                <a:gd name="T67" fmla="*/ 486 h 1671"/>
                <a:gd name="T68" fmla="*/ 75 w 1279"/>
                <a:gd name="T69" fmla="*/ 498 h 1671"/>
                <a:gd name="T70" fmla="*/ 121 w 1279"/>
                <a:gd name="T71" fmla="*/ 507 h 1671"/>
                <a:gd name="T72" fmla="*/ 85 w 1279"/>
                <a:gd name="T73" fmla="*/ 520 h 1671"/>
                <a:gd name="T74" fmla="*/ 27 w 1279"/>
                <a:gd name="T75" fmla="*/ 1333 h 1671"/>
                <a:gd name="T76" fmla="*/ 126 w 1279"/>
                <a:gd name="T77" fmla="*/ 498 h 1671"/>
                <a:gd name="T78" fmla="*/ 121 w 1279"/>
                <a:gd name="T79" fmla="*/ 498 h 1671"/>
                <a:gd name="T80" fmla="*/ 121 w 1279"/>
                <a:gd name="T81" fmla="*/ 568 h 1671"/>
                <a:gd name="T82" fmla="*/ 119 w 1279"/>
                <a:gd name="T83" fmla="*/ 656 h 1671"/>
                <a:gd name="T84" fmla="*/ 138 w 1279"/>
                <a:gd name="T85" fmla="*/ 799 h 1671"/>
                <a:gd name="T86" fmla="*/ 124 w 1279"/>
                <a:gd name="T87" fmla="*/ 814 h 1671"/>
                <a:gd name="T88" fmla="*/ 119 w 1279"/>
                <a:gd name="T89" fmla="*/ 937 h 1671"/>
                <a:gd name="T90" fmla="*/ 141 w 1279"/>
                <a:gd name="T91" fmla="*/ 1071 h 1671"/>
                <a:gd name="T92" fmla="*/ 121 w 1279"/>
                <a:gd name="T93" fmla="*/ 1188 h 1671"/>
                <a:gd name="T94" fmla="*/ 129 w 1279"/>
                <a:gd name="T95" fmla="*/ 1185 h 1671"/>
                <a:gd name="T96" fmla="*/ 182 w 1279"/>
                <a:gd name="T97" fmla="*/ 656 h 1671"/>
                <a:gd name="T98" fmla="*/ 189 w 1279"/>
                <a:gd name="T99" fmla="*/ 799 h 1671"/>
                <a:gd name="T100" fmla="*/ 199 w 1279"/>
                <a:gd name="T101" fmla="*/ 937 h 1671"/>
                <a:gd name="T102" fmla="*/ 199 w 1279"/>
                <a:gd name="T103" fmla="*/ 957 h 1671"/>
                <a:gd name="T104" fmla="*/ 184 w 1279"/>
                <a:gd name="T105" fmla="*/ 1185 h 1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79" h="1671">
                  <a:moveTo>
                    <a:pt x="1279" y="1154"/>
                  </a:moveTo>
                  <a:lnTo>
                    <a:pt x="1182" y="1178"/>
                  </a:lnTo>
                  <a:lnTo>
                    <a:pt x="1100" y="1212"/>
                  </a:lnTo>
                  <a:lnTo>
                    <a:pt x="1063" y="1212"/>
                  </a:lnTo>
                  <a:lnTo>
                    <a:pt x="1063" y="988"/>
                  </a:lnTo>
                  <a:lnTo>
                    <a:pt x="933" y="988"/>
                  </a:lnTo>
                  <a:lnTo>
                    <a:pt x="933" y="933"/>
                  </a:lnTo>
                  <a:lnTo>
                    <a:pt x="894" y="933"/>
                  </a:lnTo>
                  <a:lnTo>
                    <a:pt x="894" y="877"/>
                  </a:lnTo>
                  <a:lnTo>
                    <a:pt x="783" y="877"/>
                  </a:lnTo>
                  <a:lnTo>
                    <a:pt x="783" y="933"/>
                  </a:lnTo>
                  <a:lnTo>
                    <a:pt x="712" y="933"/>
                  </a:lnTo>
                  <a:lnTo>
                    <a:pt x="712" y="988"/>
                  </a:lnTo>
                  <a:lnTo>
                    <a:pt x="671" y="988"/>
                  </a:lnTo>
                  <a:lnTo>
                    <a:pt x="671" y="1183"/>
                  </a:lnTo>
                  <a:lnTo>
                    <a:pt x="659" y="1180"/>
                  </a:lnTo>
                  <a:lnTo>
                    <a:pt x="618" y="1188"/>
                  </a:lnTo>
                  <a:lnTo>
                    <a:pt x="577" y="1207"/>
                  </a:lnTo>
                  <a:lnTo>
                    <a:pt x="543" y="1236"/>
                  </a:lnTo>
                  <a:lnTo>
                    <a:pt x="519" y="1275"/>
                  </a:lnTo>
                  <a:lnTo>
                    <a:pt x="506" y="1309"/>
                  </a:lnTo>
                  <a:lnTo>
                    <a:pt x="315" y="1309"/>
                  </a:lnTo>
                  <a:lnTo>
                    <a:pt x="303" y="1314"/>
                  </a:lnTo>
                  <a:lnTo>
                    <a:pt x="303" y="1336"/>
                  </a:lnTo>
                  <a:lnTo>
                    <a:pt x="247" y="1333"/>
                  </a:lnTo>
                  <a:lnTo>
                    <a:pt x="243" y="520"/>
                  </a:lnTo>
                  <a:lnTo>
                    <a:pt x="243" y="520"/>
                  </a:lnTo>
                  <a:lnTo>
                    <a:pt x="240" y="520"/>
                  </a:lnTo>
                  <a:lnTo>
                    <a:pt x="235" y="517"/>
                  </a:lnTo>
                  <a:lnTo>
                    <a:pt x="230" y="517"/>
                  </a:lnTo>
                  <a:lnTo>
                    <a:pt x="230" y="517"/>
                  </a:lnTo>
                  <a:lnTo>
                    <a:pt x="230" y="510"/>
                  </a:lnTo>
                  <a:lnTo>
                    <a:pt x="228" y="507"/>
                  </a:lnTo>
                  <a:lnTo>
                    <a:pt x="221" y="507"/>
                  </a:lnTo>
                  <a:lnTo>
                    <a:pt x="209" y="507"/>
                  </a:lnTo>
                  <a:lnTo>
                    <a:pt x="194" y="505"/>
                  </a:lnTo>
                  <a:lnTo>
                    <a:pt x="184" y="505"/>
                  </a:lnTo>
                  <a:lnTo>
                    <a:pt x="184" y="500"/>
                  </a:lnTo>
                  <a:lnTo>
                    <a:pt x="192" y="500"/>
                  </a:lnTo>
                  <a:lnTo>
                    <a:pt x="211" y="500"/>
                  </a:lnTo>
                  <a:lnTo>
                    <a:pt x="228" y="498"/>
                  </a:lnTo>
                  <a:lnTo>
                    <a:pt x="240" y="498"/>
                  </a:lnTo>
                  <a:lnTo>
                    <a:pt x="247" y="495"/>
                  </a:lnTo>
                  <a:lnTo>
                    <a:pt x="247" y="493"/>
                  </a:lnTo>
                  <a:lnTo>
                    <a:pt x="247" y="490"/>
                  </a:lnTo>
                  <a:lnTo>
                    <a:pt x="240" y="488"/>
                  </a:lnTo>
                  <a:lnTo>
                    <a:pt x="228" y="486"/>
                  </a:lnTo>
                  <a:lnTo>
                    <a:pt x="211" y="486"/>
                  </a:lnTo>
                  <a:lnTo>
                    <a:pt x="189" y="486"/>
                  </a:lnTo>
                  <a:lnTo>
                    <a:pt x="184" y="486"/>
                  </a:lnTo>
                  <a:lnTo>
                    <a:pt x="184" y="483"/>
                  </a:lnTo>
                  <a:lnTo>
                    <a:pt x="187" y="483"/>
                  </a:lnTo>
                  <a:lnTo>
                    <a:pt x="192" y="481"/>
                  </a:lnTo>
                  <a:lnTo>
                    <a:pt x="194" y="481"/>
                  </a:lnTo>
                  <a:lnTo>
                    <a:pt x="194" y="478"/>
                  </a:lnTo>
                  <a:lnTo>
                    <a:pt x="194" y="469"/>
                  </a:lnTo>
                  <a:lnTo>
                    <a:pt x="192" y="459"/>
                  </a:lnTo>
                  <a:lnTo>
                    <a:pt x="192" y="449"/>
                  </a:lnTo>
                  <a:lnTo>
                    <a:pt x="192" y="439"/>
                  </a:lnTo>
                  <a:lnTo>
                    <a:pt x="192" y="432"/>
                  </a:lnTo>
                  <a:lnTo>
                    <a:pt x="192" y="430"/>
                  </a:lnTo>
                  <a:lnTo>
                    <a:pt x="192" y="430"/>
                  </a:lnTo>
                  <a:lnTo>
                    <a:pt x="189" y="427"/>
                  </a:lnTo>
                  <a:lnTo>
                    <a:pt x="184" y="427"/>
                  </a:lnTo>
                  <a:lnTo>
                    <a:pt x="182" y="427"/>
                  </a:lnTo>
                  <a:lnTo>
                    <a:pt x="182" y="427"/>
                  </a:lnTo>
                  <a:lnTo>
                    <a:pt x="184" y="427"/>
                  </a:lnTo>
                  <a:lnTo>
                    <a:pt x="189" y="427"/>
                  </a:lnTo>
                  <a:lnTo>
                    <a:pt x="189" y="427"/>
                  </a:lnTo>
                  <a:lnTo>
                    <a:pt x="199" y="427"/>
                  </a:lnTo>
                  <a:lnTo>
                    <a:pt x="204" y="425"/>
                  </a:lnTo>
                  <a:lnTo>
                    <a:pt x="204" y="425"/>
                  </a:lnTo>
                  <a:lnTo>
                    <a:pt x="204" y="425"/>
                  </a:lnTo>
                  <a:lnTo>
                    <a:pt x="209" y="425"/>
                  </a:lnTo>
                  <a:lnTo>
                    <a:pt x="214" y="425"/>
                  </a:lnTo>
                  <a:lnTo>
                    <a:pt x="214" y="425"/>
                  </a:lnTo>
                  <a:lnTo>
                    <a:pt x="214" y="425"/>
                  </a:lnTo>
                  <a:lnTo>
                    <a:pt x="218" y="425"/>
                  </a:lnTo>
                  <a:lnTo>
                    <a:pt x="221" y="422"/>
                  </a:lnTo>
                  <a:lnTo>
                    <a:pt x="221" y="422"/>
                  </a:lnTo>
                  <a:lnTo>
                    <a:pt x="221" y="422"/>
                  </a:lnTo>
                  <a:lnTo>
                    <a:pt x="221" y="422"/>
                  </a:lnTo>
                  <a:lnTo>
                    <a:pt x="230" y="418"/>
                  </a:lnTo>
                  <a:lnTo>
                    <a:pt x="233" y="418"/>
                  </a:lnTo>
                  <a:lnTo>
                    <a:pt x="233" y="418"/>
                  </a:lnTo>
                  <a:lnTo>
                    <a:pt x="235" y="415"/>
                  </a:lnTo>
                  <a:lnTo>
                    <a:pt x="235" y="413"/>
                  </a:lnTo>
                  <a:lnTo>
                    <a:pt x="235" y="413"/>
                  </a:lnTo>
                  <a:lnTo>
                    <a:pt x="235" y="410"/>
                  </a:lnTo>
                  <a:lnTo>
                    <a:pt x="235" y="410"/>
                  </a:lnTo>
                  <a:lnTo>
                    <a:pt x="221" y="403"/>
                  </a:lnTo>
                  <a:lnTo>
                    <a:pt x="218" y="403"/>
                  </a:lnTo>
                  <a:lnTo>
                    <a:pt x="209" y="401"/>
                  </a:lnTo>
                  <a:lnTo>
                    <a:pt x="197" y="401"/>
                  </a:lnTo>
                  <a:lnTo>
                    <a:pt x="194" y="401"/>
                  </a:lnTo>
                  <a:lnTo>
                    <a:pt x="189" y="398"/>
                  </a:lnTo>
                  <a:lnTo>
                    <a:pt x="187" y="396"/>
                  </a:lnTo>
                  <a:lnTo>
                    <a:pt x="182" y="393"/>
                  </a:lnTo>
                  <a:lnTo>
                    <a:pt x="180" y="391"/>
                  </a:lnTo>
                  <a:lnTo>
                    <a:pt x="177" y="386"/>
                  </a:lnTo>
                  <a:lnTo>
                    <a:pt x="175" y="381"/>
                  </a:lnTo>
                  <a:lnTo>
                    <a:pt x="172" y="379"/>
                  </a:lnTo>
                  <a:lnTo>
                    <a:pt x="170" y="374"/>
                  </a:lnTo>
                  <a:lnTo>
                    <a:pt x="170" y="374"/>
                  </a:lnTo>
                  <a:lnTo>
                    <a:pt x="168" y="374"/>
                  </a:lnTo>
                  <a:lnTo>
                    <a:pt x="168" y="374"/>
                  </a:lnTo>
                  <a:lnTo>
                    <a:pt x="168" y="245"/>
                  </a:lnTo>
                  <a:lnTo>
                    <a:pt x="168" y="245"/>
                  </a:lnTo>
                  <a:lnTo>
                    <a:pt x="165" y="243"/>
                  </a:lnTo>
                  <a:lnTo>
                    <a:pt x="165" y="243"/>
                  </a:lnTo>
                  <a:lnTo>
                    <a:pt x="163" y="243"/>
                  </a:lnTo>
                  <a:lnTo>
                    <a:pt x="163" y="146"/>
                  </a:lnTo>
                  <a:lnTo>
                    <a:pt x="163" y="146"/>
                  </a:lnTo>
                  <a:lnTo>
                    <a:pt x="163" y="146"/>
                  </a:lnTo>
                  <a:lnTo>
                    <a:pt x="160" y="146"/>
                  </a:lnTo>
                  <a:lnTo>
                    <a:pt x="160" y="146"/>
                  </a:lnTo>
                  <a:lnTo>
                    <a:pt x="160" y="65"/>
                  </a:lnTo>
                  <a:lnTo>
                    <a:pt x="160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0"/>
                  </a:lnTo>
                  <a:lnTo>
                    <a:pt x="158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3" y="0"/>
                  </a:lnTo>
                  <a:lnTo>
                    <a:pt x="153" y="0"/>
                  </a:lnTo>
                  <a:lnTo>
                    <a:pt x="153" y="0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53" y="63"/>
                  </a:lnTo>
                  <a:lnTo>
                    <a:pt x="153" y="63"/>
                  </a:lnTo>
                  <a:lnTo>
                    <a:pt x="153" y="63"/>
                  </a:lnTo>
                  <a:lnTo>
                    <a:pt x="151" y="65"/>
                  </a:lnTo>
                  <a:lnTo>
                    <a:pt x="151" y="65"/>
                  </a:lnTo>
                  <a:lnTo>
                    <a:pt x="151" y="65"/>
                  </a:lnTo>
                  <a:lnTo>
                    <a:pt x="151" y="146"/>
                  </a:lnTo>
                  <a:lnTo>
                    <a:pt x="151" y="146"/>
                  </a:lnTo>
                  <a:lnTo>
                    <a:pt x="151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243"/>
                  </a:lnTo>
                  <a:lnTo>
                    <a:pt x="148" y="243"/>
                  </a:lnTo>
                  <a:lnTo>
                    <a:pt x="146" y="245"/>
                  </a:lnTo>
                  <a:lnTo>
                    <a:pt x="146" y="245"/>
                  </a:lnTo>
                  <a:lnTo>
                    <a:pt x="146" y="374"/>
                  </a:lnTo>
                  <a:lnTo>
                    <a:pt x="146" y="374"/>
                  </a:lnTo>
                  <a:lnTo>
                    <a:pt x="143" y="374"/>
                  </a:lnTo>
                  <a:lnTo>
                    <a:pt x="143" y="374"/>
                  </a:lnTo>
                  <a:lnTo>
                    <a:pt x="141" y="379"/>
                  </a:lnTo>
                  <a:lnTo>
                    <a:pt x="141" y="384"/>
                  </a:lnTo>
                  <a:lnTo>
                    <a:pt x="138" y="386"/>
                  </a:lnTo>
                  <a:lnTo>
                    <a:pt x="136" y="391"/>
                  </a:lnTo>
                  <a:lnTo>
                    <a:pt x="131" y="393"/>
                  </a:lnTo>
                  <a:lnTo>
                    <a:pt x="129" y="396"/>
                  </a:lnTo>
                  <a:lnTo>
                    <a:pt x="124" y="398"/>
                  </a:lnTo>
                  <a:lnTo>
                    <a:pt x="121" y="401"/>
                  </a:lnTo>
                  <a:lnTo>
                    <a:pt x="117" y="401"/>
                  </a:lnTo>
                  <a:lnTo>
                    <a:pt x="105" y="403"/>
                  </a:lnTo>
                  <a:lnTo>
                    <a:pt x="97" y="403"/>
                  </a:lnTo>
                  <a:lnTo>
                    <a:pt x="92" y="405"/>
                  </a:lnTo>
                  <a:lnTo>
                    <a:pt x="80" y="413"/>
                  </a:lnTo>
                  <a:lnTo>
                    <a:pt x="80" y="413"/>
                  </a:lnTo>
                  <a:lnTo>
                    <a:pt x="80" y="418"/>
                  </a:lnTo>
                  <a:lnTo>
                    <a:pt x="80" y="418"/>
                  </a:lnTo>
                  <a:lnTo>
                    <a:pt x="80" y="420"/>
                  </a:lnTo>
                  <a:lnTo>
                    <a:pt x="85" y="420"/>
                  </a:lnTo>
                  <a:lnTo>
                    <a:pt x="95" y="425"/>
                  </a:lnTo>
                  <a:lnTo>
                    <a:pt x="95" y="425"/>
                  </a:lnTo>
                  <a:lnTo>
                    <a:pt x="95" y="425"/>
                  </a:lnTo>
                  <a:lnTo>
                    <a:pt x="100" y="425"/>
                  </a:lnTo>
                  <a:lnTo>
                    <a:pt x="100" y="425"/>
                  </a:lnTo>
                  <a:lnTo>
                    <a:pt x="102" y="425"/>
                  </a:lnTo>
                  <a:lnTo>
                    <a:pt x="102" y="425"/>
                  </a:lnTo>
                  <a:lnTo>
                    <a:pt x="107" y="427"/>
                  </a:lnTo>
                  <a:lnTo>
                    <a:pt x="112" y="427"/>
                  </a:lnTo>
                  <a:lnTo>
                    <a:pt x="112" y="427"/>
                  </a:lnTo>
                  <a:lnTo>
                    <a:pt x="119" y="427"/>
                  </a:lnTo>
                  <a:lnTo>
                    <a:pt x="124" y="427"/>
                  </a:lnTo>
                  <a:lnTo>
                    <a:pt x="124" y="427"/>
                  </a:lnTo>
                  <a:lnTo>
                    <a:pt x="124" y="427"/>
                  </a:lnTo>
                  <a:lnTo>
                    <a:pt x="129" y="427"/>
                  </a:lnTo>
                  <a:lnTo>
                    <a:pt x="129" y="427"/>
                  </a:lnTo>
                  <a:lnTo>
                    <a:pt x="126" y="430"/>
                  </a:lnTo>
                  <a:lnTo>
                    <a:pt x="121" y="430"/>
                  </a:lnTo>
                  <a:lnTo>
                    <a:pt x="119" y="430"/>
                  </a:lnTo>
                  <a:lnTo>
                    <a:pt x="119" y="432"/>
                  </a:lnTo>
                  <a:lnTo>
                    <a:pt x="119" y="439"/>
                  </a:lnTo>
                  <a:lnTo>
                    <a:pt x="119" y="449"/>
                  </a:lnTo>
                  <a:lnTo>
                    <a:pt x="119" y="459"/>
                  </a:lnTo>
                  <a:lnTo>
                    <a:pt x="119" y="469"/>
                  </a:lnTo>
                  <a:lnTo>
                    <a:pt x="119" y="478"/>
                  </a:lnTo>
                  <a:lnTo>
                    <a:pt x="119" y="481"/>
                  </a:lnTo>
                  <a:lnTo>
                    <a:pt x="121" y="481"/>
                  </a:lnTo>
                  <a:lnTo>
                    <a:pt x="124" y="483"/>
                  </a:lnTo>
                  <a:lnTo>
                    <a:pt x="129" y="483"/>
                  </a:lnTo>
                  <a:lnTo>
                    <a:pt x="131" y="483"/>
                  </a:lnTo>
                  <a:lnTo>
                    <a:pt x="131" y="486"/>
                  </a:lnTo>
                  <a:lnTo>
                    <a:pt x="119" y="486"/>
                  </a:lnTo>
                  <a:lnTo>
                    <a:pt x="100" y="486"/>
                  </a:lnTo>
                  <a:lnTo>
                    <a:pt x="83" y="488"/>
                  </a:lnTo>
                  <a:lnTo>
                    <a:pt x="73" y="490"/>
                  </a:lnTo>
                  <a:lnTo>
                    <a:pt x="66" y="490"/>
                  </a:lnTo>
                  <a:lnTo>
                    <a:pt x="66" y="495"/>
                  </a:lnTo>
                  <a:lnTo>
                    <a:pt x="68" y="498"/>
                  </a:lnTo>
                  <a:lnTo>
                    <a:pt x="75" y="498"/>
                  </a:lnTo>
                  <a:lnTo>
                    <a:pt x="88" y="500"/>
                  </a:lnTo>
                  <a:lnTo>
                    <a:pt x="105" y="500"/>
                  </a:lnTo>
                  <a:lnTo>
                    <a:pt x="124" y="500"/>
                  </a:lnTo>
                  <a:lnTo>
                    <a:pt x="131" y="500"/>
                  </a:lnTo>
                  <a:lnTo>
                    <a:pt x="131" y="505"/>
                  </a:lnTo>
                  <a:lnTo>
                    <a:pt x="121" y="507"/>
                  </a:lnTo>
                  <a:lnTo>
                    <a:pt x="107" y="507"/>
                  </a:lnTo>
                  <a:lnTo>
                    <a:pt x="95" y="507"/>
                  </a:lnTo>
                  <a:lnTo>
                    <a:pt x="88" y="510"/>
                  </a:lnTo>
                  <a:lnTo>
                    <a:pt x="88" y="510"/>
                  </a:lnTo>
                  <a:lnTo>
                    <a:pt x="88" y="520"/>
                  </a:lnTo>
                  <a:lnTo>
                    <a:pt x="85" y="520"/>
                  </a:lnTo>
                  <a:lnTo>
                    <a:pt x="80" y="520"/>
                  </a:lnTo>
                  <a:lnTo>
                    <a:pt x="75" y="520"/>
                  </a:lnTo>
                  <a:lnTo>
                    <a:pt x="73" y="520"/>
                  </a:lnTo>
                  <a:lnTo>
                    <a:pt x="73" y="520"/>
                  </a:lnTo>
                  <a:lnTo>
                    <a:pt x="78" y="1331"/>
                  </a:lnTo>
                  <a:lnTo>
                    <a:pt x="27" y="1333"/>
                  </a:lnTo>
                  <a:lnTo>
                    <a:pt x="27" y="1350"/>
                  </a:lnTo>
                  <a:lnTo>
                    <a:pt x="0" y="1353"/>
                  </a:lnTo>
                  <a:lnTo>
                    <a:pt x="0" y="1671"/>
                  </a:lnTo>
                  <a:lnTo>
                    <a:pt x="1279" y="1671"/>
                  </a:lnTo>
                  <a:lnTo>
                    <a:pt x="1279" y="1154"/>
                  </a:lnTo>
                  <a:close/>
                  <a:moveTo>
                    <a:pt x="126" y="498"/>
                  </a:moveTo>
                  <a:lnTo>
                    <a:pt x="124" y="498"/>
                  </a:lnTo>
                  <a:lnTo>
                    <a:pt x="121" y="498"/>
                  </a:lnTo>
                  <a:lnTo>
                    <a:pt x="119" y="498"/>
                  </a:lnTo>
                  <a:lnTo>
                    <a:pt x="117" y="498"/>
                  </a:lnTo>
                  <a:lnTo>
                    <a:pt x="119" y="498"/>
                  </a:lnTo>
                  <a:lnTo>
                    <a:pt x="121" y="498"/>
                  </a:lnTo>
                  <a:lnTo>
                    <a:pt x="124" y="498"/>
                  </a:lnTo>
                  <a:lnTo>
                    <a:pt x="126" y="498"/>
                  </a:lnTo>
                  <a:lnTo>
                    <a:pt x="131" y="498"/>
                  </a:lnTo>
                  <a:lnTo>
                    <a:pt x="126" y="498"/>
                  </a:lnTo>
                  <a:close/>
                  <a:moveTo>
                    <a:pt x="117" y="568"/>
                  </a:moveTo>
                  <a:lnTo>
                    <a:pt x="121" y="568"/>
                  </a:lnTo>
                  <a:lnTo>
                    <a:pt x="131" y="568"/>
                  </a:lnTo>
                  <a:lnTo>
                    <a:pt x="138" y="568"/>
                  </a:lnTo>
                  <a:lnTo>
                    <a:pt x="138" y="656"/>
                  </a:lnTo>
                  <a:lnTo>
                    <a:pt x="134" y="656"/>
                  </a:lnTo>
                  <a:lnTo>
                    <a:pt x="124" y="656"/>
                  </a:lnTo>
                  <a:lnTo>
                    <a:pt x="119" y="656"/>
                  </a:lnTo>
                  <a:lnTo>
                    <a:pt x="117" y="568"/>
                  </a:lnTo>
                  <a:close/>
                  <a:moveTo>
                    <a:pt x="119" y="673"/>
                  </a:moveTo>
                  <a:lnTo>
                    <a:pt x="126" y="673"/>
                  </a:lnTo>
                  <a:lnTo>
                    <a:pt x="136" y="673"/>
                  </a:lnTo>
                  <a:lnTo>
                    <a:pt x="138" y="673"/>
                  </a:lnTo>
                  <a:lnTo>
                    <a:pt x="138" y="799"/>
                  </a:lnTo>
                  <a:lnTo>
                    <a:pt x="136" y="799"/>
                  </a:lnTo>
                  <a:lnTo>
                    <a:pt x="126" y="799"/>
                  </a:lnTo>
                  <a:lnTo>
                    <a:pt x="119" y="799"/>
                  </a:lnTo>
                  <a:lnTo>
                    <a:pt x="119" y="673"/>
                  </a:lnTo>
                  <a:close/>
                  <a:moveTo>
                    <a:pt x="119" y="814"/>
                  </a:moveTo>
                  <a:lnTo>
                    <a:pt x="124" y="814"/>
                  </a:lnTo>
                  <a:lnTo>
                    <a:pt x="136" y="814"/>
                  </a:lnTo>
                  <a:lnTo>
                    <a:pt x="141" y="814"/>
                  </a:lnTo>
                  <a:lnTo>
                    <a:pt x="141" y="937"/>
                  </a:lnTo>
                  <a:lnTo>
                    <a:pt x="136" y="937"/>
                  </a:lnTo>
                  <a:lnTo>
                    <a:pt x="129" y="937"/>
                  </a:lnTo>
                  <a:lnTo>
                    <a:pt x="119" y="937"/>
                  </a:lnTo>
                  <a:lnTo>
                    <a:pt x="119" y="814"/>
                  </a:lnTo>
                  <a:close/>
                  <a:moveTo>
                    <a:pt x="119" y="957"/>
                  </a:moveTo>
                  <a:lnTo>
                    <a:pt x="126" y="957"/>
                  </a:lnTo>
                  <a:lnTo>
                    <a:pt x="136" y="957"/>
                  </a:lnTo>
                  <a:lnTo>
                    <a:pt x="141" y="957"/>
                  </a:lnTo>
                  <a:lnTo>
                    <a:pt x="141" y="1071"/>
                  </a:lnTo>
                  <a:lnTo>
                    <a:pt x="138" y="1071"/>
                  </a:lnTo>
                  <a:lnTo>
                    <a:pt x="129" y="1071"/>
                  </a:lnTo>
                  <a:lnTo>
                    <a:pt x="121" y="1073"/>
                  </a:lnTo>
                  <a:lnTo>
                    <a:pt x="119" y="957"/>
                  </a:lnTo>
                  <a:close/>
                  <a:moveTo>
                    <a:pt x="129" y="1185"/>
                  </a:moveTo>
                  <a:lnTo>
                    <a:pt x="121" y="1188"/>
                  </a:lnTo>
                  <a:lnTo>
                    <a:pt x="121" y="1095"/>
                  </a:lnTo>
                  <a:lnTo>
                    <a:pt x="126" y="1095"/>
                  </a:lnTo>
                  <a:lnTo>
                    <a:pt x="136" y="1095"/>
                  </a:lnTo>
                  <a:lnTo>
                    <a:pt x="141" y="1095"/>
                  </a:lnTo>
                  <a:lnTo>
                    <a:pt x="141" y="1185"/>
                  </a:lnTo>
                  <a:lnTo>
                    <a:pt x="129" y="1185"/>
                  </a:lnTo>
                  <a:close/>
                  <a:moveTo>
                    <a:pt x="182" y="568"/>
                  </a:moveTo>
                  <a:lnTo>
                    <a:pt x="189" y="568"/>
                  </a:lnTo>
                  <a:lnTo>
                    <a:pt x="197" y="568"/>
                  </a:lnTo>
                  <a:lnTo>
                    <a:pt x="197" y="656"/>
                  </a:lnTo>
                  <a:lnTo>
                    <a:pt x="194" y="656"/>
                  </a:lnTo>
                  <a:lnTo>
                    <a:pt x="182" y="656"/>
                  </a:lnTo>
                  <a:lnTo>
                    <a:pt x="182" y="568"/>
                  </a:lnTo>
                  <a:close/>
                  <a:moveTo>
                    <a:pt x="182" y="673"/>
                  </a:moveTo>
                  <a:lnTo>
                    <a:pt x="189" y="673"/>
                  </a:lnTo>
                  <a:lnTo>
                    <a:pt x="197" y="673"/>
                  </a:lnTo>
                  <a:lnTo>
                    <a:pt x="199" y="799"/>
                  </a:lnTo>
                  <a:lnTo>
                    <a:pt x="189" y="799"/>
                  </a:lnTo>
                  <a:lnTo>
                    <a:pt x="182" y="799"/>
                  </a:lnTo>
                  <a:lnTo>
                    <a:pt x="182" y="673"/>
                  </a:lnTo>
                  <a:close/>
                  <a:moveTo>
                    <a:pt x="182" y="814"/>
                  </a:moveTo>
                  <a:lnTo>
                    <a:pt x="194" y="814"/>
                  </a:lnTo>
                  <a:lnTo>
                    <a:pt x="199" y="814"/>
                  </a:lnTo>
                  <a:lnTo>
                    <a:pt x="199" y="937"/>
                  </a:lnTo>
                  <a:lnTo>
                    <a:pt x="192" y="937"/>
                  </a:lnTo>
                  <a:lnTo>
                    <a:pt x="184" y="937"/>
                  </a:lnTo>
                  <a:lnTo>
                    <a:pt x="182" y="814"/>
                  </a:lnTo>
                  <a:close/>
                  <a:moveTo>
                    <a:pt x="184" y="957"/>
                  </a:moveTo>
                  <a:lnTo>
                    <a:pt x="194" y="957"/>
                  </a:lnTo>
                  <a:lnTo>
                    <a:pt x="199" y="957"/>
                  </a:lnTo>
                  <a:lnTo>
                    <a:pt x="199" y="1071"/>
                  </a:lnTo>
                  <a:lnTo>
                    <a:pt x="192" y="1071"/>
                  </a:lnTo>
                  <a:lnTo>
                    <a:pt x="184" y="1071"/>
                  </a:lnTo>
                  <a:lnTo>
                    <a:pt x="184" y="957"/>
                  </a:lnTo>
                  <a:close/>
                  <a:moveTo>
                    <a:pt x="199" y="1188"/>
                  </a:moveTo>
                  <a:lnTo>
                    <a:pt x="184" y="1185"/>
                  </a:lnTo>
                  <a:lnTo>
                    <a:pt x="184" y="1098"/>
                  </a:lnTo>
                  <a:lnTo>
                    <a:pt x="197" y="1098"/>
                  </a:lnTo>
                  <a:lnTo>
                    <a:pt x="199" y="1098"/>
                  </a:lnTo>
                  <a:lnTo>
                    <a:pt x="201" y="1188"/>
                  </a:lnTo>
                  <a:lnTo>
                    <a:pt x="199" y="118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D27300EB-AFD6-4DA5-B87B-71148C11F8E6}"/>
                </a:ext>
              </a:extLst>
            </p:cNvPr>
            <p:cNvSpPr/>
            <p:nvPr/>
          </p:nvSpPr>
          <p:spPr bwMode="auto">
            <a:xfrm flipH="1">
              <a:off x="3374787" y="2656396"/>
              <a:ext cx="3215950" cy="4201603"/>
            </a:xfrm>
            <a:custGeom>
              <a:avLst/>
              <a:gdLst>
                <a:gd name="T0" fmla="*/ 933 w 1279"/>
                <a:gd name="T1" fmla="*/ 988 h 1671"/>
                <a:gd name="T2" fmla="*/ 712 w 1279"/>
                <a:gd name="T3" fmla="*/ 933 h 1671"/>
                <a:gd name="T4" fmla="*/ 577 w 1279"/>
                <a:gd name="T5" fmla="*/ 1207 h 1671"/>
                <a:gd name="T6" fmla="*/ 303 w 1279"/>
                <a:gd name="T7" fmla="*/ 1336 h 1671"/>
                <a:gd name="T8" fmla="*/ 230 w 1279"/>
                <a:gd name="T9" fmla="*/ 517 h 1671"/>
                <a:gd name="T10" fmla="*/ 194 w 1279"/>
                <a:gd name="T11" fmla="*/ 505 h 1671"/>
                <a:gd name="T12" fmla="*/ 240 w 1279"/>
                <a:gd name="T13" fmla="*/ 498 h 1671"/>
                <a:gd name="T14" fmla="*/ 211 w 1279"/>
                <a:gd name="T15" fmla="*/ 486 h 1671"/>
                <a:gd name="T16" fmla="*/ 194 w 1279"/>
                <a:gd name="T17" fmla="*/ 481 h 1671"/>
                <a:gd name="T18" fmla="*/ 192 w 1279"/>
                <a:gd name="T19" fmla="*/ 432 h 1671"/>
                <a:gd name="T20" fmla="*/ 182 w 1279"/>
                <a:gd name="T21" fmla="*/ 427 h 1671"/>
                <a:gd name="T22" fmla="*/ 204 w 1279"/>
                <a:gd name="T23" fmla="*/ 425 h 1671"/>
                <a:gd name="T24" fmla="*/ 218 w 1279"/>
                <a:gd name="T25" fmla="*/ 425 h 1671"/>
                <a:gd name="T26" fmla="*/ 233 w 1279"/>
                <a:gd name="T27" fmla="*/ 418 h 1671"/>
                <a:gd name="T28" fmla="*/ 235 w 1279"/>
                <a:gd name="T29" fmla="*/ 410 h 1671"/>
                <a:gd name="T30" fmla="*/ 189 w 1279"/>
                <a:gd name="T31" fmla="*/ 398 h 1671"/>
                <a:gd name="T32" fmla="*/ 172 w 1279"/>
                <a:gd name="T33" fmla="*/ 379 h 1671"/>
                <a:gd name="T34" fmla="*/ 168 w 1279"/>
                <a:gd name="T35" fmla="*/ 245 h 1671"/>
                <a:gd name="T36" fmla="*/ 163 w 1279"/>
                <a:gd name="T37" fmla="*/ 146 h 1671"/>
                <a:gd name="T38" fmla="*/ 158 w 1279"/>
                <a:gd name="T39" fmla="*/ 63 h 1671"/>
                <a:gd name="T40" fmla="*/ 155 w 1279"/>
                <a:gd name="T41" fmla="*/ 0 h 1671"/>
                <a:gd name="T42" fmla="*/ 153 w 1279"/>
                <a:gd name="T43" fmla="*/ 0 h 1671"/>
                <a:gd name="T44" fmla="*/ 151 w 1279"/>
                <a:gd name="T45" fmla="*/ 65 h 1671"/>
                <a:gd name="T46" fmla="*/ 148 w 1279"/>
                <a:gd name="T47" fmla="*/ 146 h 1671"/>
                <a:gd name="T48" fmla="*/ 146 w 1279"/>
                <a:gd name="T49" fmla="*/ 374 h 1671"/>
                <a:gd name="T50" fmla="*/ 138 w 1279"/>
                <a:gd name="T51" fmla="*/ 386 h 1671"/>
                <a:gd name="T52" fmla="*/ 117 w 1279"/>
                <a:gd name="T53" fmla="*/ 401 h 1671"/>
                <a:gd name="T54" fmla="*/ 80 w 1279"/>
                <a:gd name="T55" fmla="*/ 418 h 1671"/>
                <a:gd name="T56" fmla="*/ 95 w 1279"/>
                <a:gd name="T57" fmla="*/ 425 h 1671"/>
                <a:gd name="T58" fmla="*/ 112 w 1279"/>
                <a:gd name="T59" fmla="*/ 427 h 1671"/>
                <a:gd name="T60" fmla="*/ 129 w 1279"/>
                <a:gd name="T61" fmla="*/ 427 h 1671"/>
                <a:gd name="T62" fmla="*/ 119 w 1279"/>
                <a:gd name="T63" fmla="*/ 439 h 1671"/>
                <a:gd name="T64" fmla="*/ 121 w 1279"/>
                <a:gd name="T65" fmla="*/ 481 h 1671"/>
                <a:gd name="T66" fmla="*/ 100 w 1279"/>
                <a:gd name="T67" fmla="*/ 486 h 1671"/>
                <a:gd name="T68" fmla="*/ 75 w 1279"/>
                <a:gd name="T69" fmla="*/ 498 h 1671"/>
                <a:gd name="T70" fmla="*/ 121 w 1279"/>
                <a:gd name="T71" fmla="*/ 507 h 1671"/>
                <a:gd name="T72" fmla="*/ 85 w 1279"/>
                <a:gd name="T73" fmla="*/ 520 h 1671"/>
                <a:gd name="T74" fmla="*/ 27 w 1279"/>
                <a:gd name="T75" fmla="*/ 1333 h 1671"/>
                <a:gd name="T76" fmla="*/ 126 w 1279"/>
                <a:gd name="T77" fmla="*/ 498 h 1671"/>
                <a:gd name="T78" fmla="*/ 121 w 1279"/>
                <a:gd name="T79" fmla="*/ 498 h 1671"/>
                <a:gd name="T80" fmla="*/ 121 w 1279"/>
                <a:gd name="T81" fmla="*/ 568 h 1671"/>
                <a:gd name="T82" fmla="*/ 119 w 1279"/>
                <a:gd name="T83" fmla="*/ 656 h 1671"/>
                <a:gd name="T84" fmla="*/ 138 w 1279"/>
                <a:gd name="T85" fmla="*/ 799 h 1671"/>
                <a:gd name="T86" fmla="*/ 124 w 1279"/>
                <a:gd name="T87" fmla="*/ 814 h 1671"/>
                <a:gd name="T88" fmla="*/ 119 w 1279"/>
                <a:gd name="T89" fmla="*/ 937 h 1671"/>
                <a:gd name="T90" fmla="*/ 141 w 1279"/>
                <a:gd name="T91" fmla="*/ 1071 h 1671"/>
                <a:gd name="T92" fmla="*/ 121 w 1279"/>
                <a:gd name="T93" fmla="*/ 1188 h 1671"/>
                <a:gd name="T94" fmla="*/ 129 w 1279"/>
                <a:gd name="T95" fmla="*/ 1185 h 1671"/>
                <a:gd name="T96" fmla="*/ 182 w 1279"/>
                <a:gd name="T97" fmla="*/ 656 h 1671"/>
                <a:gd name="T98" fmla="*/ 189 w 1279"/>
                <a:gd name="T99" fmla="*/ 799 h 1671"/>
                <a:gd name="T100" fmla="*/ 199 w 1279"/>
                <a:gd name="T101" fmla="*/ 937 h 1671"/>
                <a:gd name="T102" fmla="*/ 199 w 1279"/>
                <a:gd name="T103" fmla="*/ 957 h 1671"/>
                <a:gd name="T104" fmla="*/ 184 w 1279"/>
                <a:gd name="T105" fmla="*/ 1185 h 1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279" h="1671">
                  <a:moveTo>
                    <a:pt x="1279" y="1154"/>
                  </a:moveTo>
                  <a:lnTo>
                    <a:pt x="1182" y="1178"/>
                  </a:lnTo>
                  <a:lnTo>
                    <a:pt x="1100" y="1212"/>
                  </a:lnTo>
                  <a:lnTo>
                    <a:pt x="1063" y="1212"/>
                  </a:lnTo>
                  <a:lnTo>
                    <a:pt x="1063" y="988"/>
                  </a:lnTo>
                  <a:lnTo>
                    <a:pt x="933" y="988"/>
                  </a:lnTo>
                  <a:lnTo>
                    <a:pt x="933" y="933"/>
                  </a:lnTo>
                  <a:lnTo>
                    <a:pt x="894" y="933"/>
                  </a:lnTo>
                  <a:lnTo>
                    <a:pt x="894" y="877"/>
                  </a:lnTo>
                  <a:lnTo>
                    <a:pt x="783" y="877"/>
                  </a:lnTo>
                  <a:lnTo>
                    <a:pt x="783" y="933"/>
                  </a:lnTo>
                  <a:lnTo>
                    <a:pt x="712" y="933"/>
                  </a:lnTo>
                  <a:lnTo>
                    <a:pt x="712" y="988"/>
                  </a:lnTo>
                  <a:lnTo>
                    <a:pt x="671" y="988"/>
                  </a:lnTo>
                  <a:lnTo>
                    <a:pt x="671" y="1183"/>
                  </a:lnTo>
                  <a:lnTo>
                    <a:pt x="659" y="1180"/>
                  </a:lnTo>
                  <a:lnTo>
                    <a:pt x="618" y="1188"/>
                  </a:lnTo>
                  <a:lnTo>
                    <a:pt x="577" y="1207"/>
                  </a:lnTo>
                  <a:lnTo>
                    <a:pt x="543" y="1236"/>
                  </a:lnTo>
                  <a:lnTo>
                    <a:pt x="519" y="1275"/>
                  </a:lnTo>
                  <a:lnTo>
                    <a:pt x="506" y="1309"/>
                  </a:lnTo>
                  <a:lnTo>
                    <a:pt x="315" y="1309"/>
                  </a:lnTo>
                  <a:lnTo>
                    <a:pt x="303" y="1314"/>
                  </a:lnTo>
                  <a:lnTo>
                    <a:pt x="303" y="1336"/>
                  </a:lnTo>
                  <a:lnTo>
                    <a:pt x="247" y="1333"/>
                  </a:lnTo>
                  <a:lnTo>
                    <a:pt x="243" y="520"/>
                  </a:lnTo>
                  <a:lnTo>
                    <a:pt x="243" y="520"/>
                  </a:lnTo>
                  <a:lnTo>
                    <a:pt x="240" y="520"/>
                  </a:lnTo>
                  <a:lnTo>
                    <a:pt x="235" y="517"/>
                  </a:lnTo>
                  <a:lnTo>
                    <a:pt x="230" y="517"/>
                  </a:lnTo>
                  <a:lnTo>
                    <a:pt x="230" y="517"/>
                  </a:lnTo>
                  <a:lnTo>
                    <a:pt x="230" y="510"/>
                  </a:lnTo>
                  <a:lnTo>
                    <a:pt x="228" y="507"/>
                  </a:lnTo>
                  <a:lnTo>
                    <a:pt x="221" y="507"/>
                  </a:lnTo>
                  <a:lnTo>
                    <a:pt x="209" y="507"/>
                  </a:lnTo>
                  <a:lnTo>
                    <a:pt x="194" y="505"/>
                  </a:lnTo>
                  <a:lnTo>
                    <a:pt x="184" y="505"/>
                  </a:lnTo>
                  <a:lnTo>
                    <a:pt x="184" y="500"/>
                  </a:lnTo>
                  <a:lnTo>
                    <a:pt x="192" y="500"/>
                  </a:lnTo>
                  <a:lnTo>
                    <a:pt x="211" y="500"/>
                  </a:lnTo>
                  <a:lnTo>
                    <a:pt x="228" y="498"/>
                  </a:lnTo>
                  <a:lnTo>
                    <a:pt x="240" y="498"/>
                  </a:lnTo>
                  <a:lnTo>
                    <a:pt x="247" y="495"/>
                  </a:lnTo>
                  <a:lnTo>
                    <a:pt x="247" y="493"/>
                  </a:lnTo>
                  <a:lnTo>
                    <a:pt x="247" y="490"/>
                  </a:lnTo>
                  <a:lnTo>
                    <a:pt x="240" y="488"/>
                  </a:lnTo>
                  <a:lnTo>
                    <a:pt x="228" y="486"/>
                  </a:lnTo>
                  <a:lnTo>
                    <a:pt x="211" y="486"/>
                  </a:lnTo>
                  <a:lnTo>
                    <a:pt x="189" y="486"/>
                  </a:lnTo>
                  <a:lnTo>
                    <a:pt x="184" y="486"/>
                  </a:lnTo>
                  <a:lnTo>
                    <a:pt x="184" y="483"/>
                  </a:lnTo>
                  <a:lnTo>
                    <a:pt x="187" y="483"/>
                  </a:lnTo>
                  <a:lnTo>
                    <a:pt x="192" y="481"/>
                  </a:lnTo>
                  <a:lnTo>
                    <a:pt x="194" y="481"/>
                  </a:lnTo>
                  <a:lnTo>
                    <a:pt x="194" y="478"/>
                  </a:lnTo>
                  <a:lnTo>
                    <a:pt x="194" y="469"/>
                  </a:lnTo>
                  <a:lnTo>
                    <a:pt x="192" y="459"/>
                  </a:lnTo>
                  <a:lnTo>
                    <a:pt x="192" y="449"/>
                  </a:lnTo>
                  <a:lnTo>
                    <a:pt x="192" y="439"/>
                  </a:lnTo>
                  <a:lnTo>
                    <a:pt x="192" y="432"/>
                  </a:lnTo>
                  <a:lnTo>
                    <a:pt x="192" y="430"/>
                  </a:lnTo>
                  <a:lnTo>
                    <a:pt x="192" y="430"/>
                  </a:lnTo>
                  <a:lnTo>
                    <a:pt x="189" y="427"/>
                  </a:lnTo>
                  <a:lnTo>
                    <a:pt x="184" y="427"/>
                  </a:lnTo>
                  <a:lnTo>
                    <a:pt x="182" y="427"/>
                  </a:lnTo>
                  <a:lnTo>
                    <a:pt x="182" y="427"/>
                  </a:lnTo>
                  <a:lnTo>
                    <a:pt x="184" y="427"/>
                  </a:lnTo>
                  <a:lnTo>
                    <a:pt x="189" y="427"/>
                  </a:lnTo>
                  <a:lnTo>
                    <a:pt x="189" y="427"/>
                  </a:lnTo>
                  <a:lnTo>
                    <a:pt x="199" y="427"/>
                  </a:lnTo>
                  <a:lnTo>
                    <a:pt x="204" y="425"/>
                  </a:lnTo>
                  <a:lnTo>
                    <a:pt x="204" y="425"/>
                  </a:lnTo>
                  <a:lnTo>
                    <a:pt x="204" y="425"/>
                  </a:lnTo>
                  <a:lnTo>
                    <a:pt x="209" y="425"/>
                  </a:lnTo>
                  <a:lnTo>
                    <a:pt x="214" y="425"/>
                  </a:lnTo>
                  <a:lnTo>
                    <a:pt x="214" y="425"/>
                  </a:lnTo>
                  <a:lnTo>
                    <a:pt x="214" y="425"/>
                  </a:lnTo>
                  <a:lnTo>
                    <a:pt x="218" y="425"/>
                  </a:lnTo>
                  <a:lnTo>
                    <a:pt x="221" y="422"/>
                  </a:lnTo>
                  <a:lnTo>
                    <a:pt x="221" y="422"/>
                  </a:lnTo>
                  <a:lnTo>
                    <a:pt x="221" y="422"/>
                  </a:lnTo>
                  <a:lnTo>
                    <a:pt x="221" y="422"/>
                  </a:lnTo>
                  <a:lnTo>
                    <a:pt x="230" y="418"/>
                  </a:lnTo>
                  <a:lnTo>
                    <a:pt x="233" y="418"/>
                  </a:lnTo>
                  <a:lnTo>
                    <a:pt x="233" y="418"/>
                  </a:lnTo>
                  <a:lnTo>
                    <a:pt x="235" y="415"/>
                  </a:lnTo>
                  <a:lnTo>
                    <a:pt x="235" y="413"/>
                  </a:lnTo>
                  <a:lnTo>
                    <a:pt x="235" y="413"/>
                  </a:lnTo>
                  <a:lnTo>
                    <a:pt x="235" y="410"/>
                  </a:lnTo>
                  <a:lnTo>
                    <a:pt x="235" y="410"/>
                  </a:lnTo>
                  <a:lnTo>
                    <a:pt x="221" y="403"/>
                  </a:lnTo>
                  <a:lnTo>
                    <a:pt x="218" y="403"/>
                  </a:lnTo>
                  <a:lnTo>
                    <a:pt x="209" y="401"/>
                  </a:lnTo>
                  <a:lnTo>
                    <a:pt x="197" y="401"/>
                  </a:lnTo>
                  <a:lnTo>
                    <a:pt x="194" y="401"/>
                  </a:lnTo>
                  <a:lnTo>
                    <a:pt x="189" y="398"/>
                  </a:lnTo>
                  <a:lnTo>
                    <a:pt x="187" y="396"/>
                  </a:lnTo>
                  <a:lnTo>
                    <a:pt x="182" y="393"/>
                  </a:lnTo>
                  <a:lnTo>
                    <a:pt x="180" y="391"/>
                  </a:lnTo>
                  <a:lnTo>
                    <a:pt x="177" y="386"/>
                  </a:lnTo>
                  <a:lnTo>
                    <a:pt x="175" y="381"/>
                  </a:lnTo>
                  <a:lnTo>
                    <a:pt x="172" y="379"/>
                  </a:lnTo>
                  <a:lnTo>
                    <a:pt x="170" y="374"/>
                  </a:lnTo>
                  <a:lnTo>
                    <a:pt x="170" y="374"/>
                  </a:lnTo>
                  <a:lnTo>
                    <a:pt x="168" y="374"/>
                  </a:lnTo>
                  <a:lnTo>
                    <a:pt x="168" y="374"/>
                  </a:lnTo>
                  <a:lnTo>
                    <a:pt x="168" y="245"/>
                  </a:lnTo>
                  <a:lnTo>
                    <a:pt x="168" y="245"/>
                  </a:lnTo>
                  <a:lnTo>
                    <a:pt x="165" y="243"/>
                  </a:lnTo>
                  <a:lnTo>
                    <a:pt x="165" y="243"/>
                  </a:lnTo>
                  <a:lnTo>
                    <a:pt x="163" y="243"/>
                  </a:lnTo>
                  <a:lnTo>
                    <a:pt x="163" y="146"/>
                  </a:lnTo>
                  <a:lnTo>
                    <a:pt x="163" y="146"/>
                  </a:lnTo>
                  <a:lnTo>
                    <a:pt x="163" y="146"/>
                  </a:lnTo>
                  <a:lnTo>
                    <a:pt x="160" y="146"/>
                  </a:lnTo>
                  <a:lnTo>
                    <a:pt x="160" y="146"/>
                  </a:lnTo>
                  <a:lnTo>
                    <a:pt x="160" y="65"/>
                  </a:lnTo>
                  <a:lnTo>
                    <a:pt x="160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63"/>
                  </a:lnTo>
                  <a:lnTo>
                    <a:pt x="158" y="0"/>
                  </a:lnTo>
                  <a:lnTo>
                    <a:pt x="158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5" y="0"/>
                  </a:lnTo>
                  <a:lnTo>
                    <a:pt x="153" y="0"/>
                  </a:lnTo>
                  <a:lnTo>
                    <a:pt x="153" y="0"/>
                  </a:lnTo>
                  <a:lnTo>
                    <a:pt x="153" y="0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53" y="63"/>
                  </a:lnTo>
                  <a:lnTo>
                    <a:pt x="153" y="63"/>
                  </a:lnTo>
                  <a:lnTo>
                    <a:pt x="153" y="63"/>
                  </a:lnTo>
                  <a:lnTo>
                    <a:pt x="151" y="65"/>
                  </a:lnTo>
                  <a:lnTo>
                    <a:pt x="151" y="65"/>
                  </a:lnTo>
                  <a:lnTo>
                    <a:pt x="151" y="65"/>
                  </a:lnTo>
                  <a:lnTo>
                    <a:pt x="151" y="146"/>
                  </a:lnTo>
                  <a:lnTo>
                    <a:pt x="151" y="146"/>
                  </a:lnTo>
                  <a:lnTo>
                    <a:pt x="151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243"/>
                  </a:lnTo>
                  <a:lnTo>
                    <a:pt x="148" y="243"/>
                  </a:lnTo>
                  <a:lnTo>
                    <a:pt x="146" y="245"/>
                  </a:lnTo>
                  <a:lnTo>
                    <a:pt x="146" y="245"/>
                  </a:lnTo>
                  <a:lnTo>
                    <a:pt x="146" y="374"/>
                  </a:lnTo>
                  <a:lnTo>
                    <a:pt x="146" y="374"/>
                  </a:lnTo>
                  <a:lnTo>
                    <a:pt x="143" y="374"/>
                  </a:lnTo>
                  <a:lnTo>
                    <a:pt x="143" y="374"/>
                  </a:lnTo>
                  <a:lnTo>
                    <a:pt x="141" y="379"/>
                  </a:lnTo>
                  <a:lnTo>
                    <a:pt x="141" y="384"/>
                  </a:lnTo>
                  <a:lnTo>
                    <a:pt x="138" y="386"/>
                  </a:lnTo>
                  <a:lnTo>
                    <a:pt x="136" y="391"/>
                  </a:lnTo>
                  <a:lnTo>
                    <a:pt x="131" y="393"/>
                  </a:lnTo>
                  <a:lnTo>
                    <a:pt x="129" y="396"/>
                  </a:lnTo>
                  <a:lnTo>
                    <a:pt x="124" y="398"/>
                  </a:lnTo>
                  <a:lnTo>
                    <a:pt x="121" y="401"/>
                  </a:lnTo>
                  <a:lnTo>
                    <a:pt x="117" y="401"/>
                  </a:lnTo>
                  <a:lnTo>
                    <a:pt x="105" y="403"/>
                  </a:lnTo>
                  <a:lnTo>
                    <a:pt x="97" y="403"/>
                  </a:lnTo>
                  <a:lnTo>
                    <a:pt x="92" y="405"/>
                  </a:lnTo>
                  <a:lnTo>
                    <a:pt x="80" y="413"/>
                  </a:lnTo>
                  <a:lnTo>
                    <a:pt x="80" y="413"/>
                  </a:lnTo>
                  <a:lnTo>
                    <a:pt x="80" y="418"/>
                  </a:lnTo>
                  <a:lnTo>
                    <a:pt x="80" y="418"/>
                  </a:lnTo>
                  <a:lnTo>
                    <a:pt x="80" y="420"/>
                  </a:lnTo>
                  <a:lnTo>
                    <a:pt x="85" y="420"/>
                  </a:lnTo>
                  <a:lnTo>
                    <a:pt x="95" y="425"/>
                  </a:lnTo>
                  <a:lnTo>
                    <a:pt x="95" y="425"/>
                  </a:lnTo>
                  <a:lnTo>
                    <a:pt x="95" y="425"/>
                  </a:lnTo>
                  <a:lnTo>
                    <a:pt x="100" y="425"/>
                  </a:lnTo>
                  <a:lnTo>
                    <a:pt x="100" y="425"/>
                  </a:lnTo>
                  <a:lnTo>
                    <a:pt x="102" y="425"/>
                  </a:lnTo>
                  <a:lnTo>
                    <a:pt x="102" y="425"/>
                  </a:lnTo>
                  <a:lnTo>
                    <a:pt x="107" y="427"/>
                  </a:lnTo>
                  <a:lnTo>
                    <a:pt x="112" y="427"/>
                  </a:lnTo>
                  <a:lnTo>
                    <a:pt x="112" y="427"/>
                  </a:lnTo>
                  <a:lnTo>
                    <a:pt x="119" y="427"/>
                  </a:lnTo>
                  <a:lnTo>
                    <a:pt x="124" y="427"/>
                  </a:lnTo>
                  <a:lnTo>
                    <a:pt x="124" y="427"/>
                  </a:lnTo>
                  <a:lnTo>
                    <a:pt x="124" y="427"/>
                  </a:lnTo>
                  <a:lnTo>
                    <a:pt x="129" y="427"/>
                  </a:lnTo>
                  <a:lnTo>
                    <a:pt x="129" y="427"/>
                  </a:lnTo>
                  <a:lnTo>
                    <a:pt x="126" y="430"/>
                  </a:lnTo>
                  <a:lnTo>
                    <a:pt x="121" y="430"/>
                  </a:lnTo>
                  <a:lnTo>
                    <a:pt x="119" y="430"/>
                  </a:lnTo>
                  <a:lnTo>
                    <a:pt x="119" y="432"/>
                  </a:lnTo>
                  <a:lnTo>
                    <a:pt x="119" y="439"/>
                  </a:lnTo>
                  <a:lnTo>
                    <a:pt x="119" y="449"/>
                  </a:lnTo>
                  <a:lnTo>
                    <a:pt x="119" y="459"/>
                  </a:lnTo>
                  <a:lnTo>
                    <a:pt x="119" y="469"/>
                  </a:lnTo>
                  <a:lnTo>
                    <a:pt x="119" y="478"/>
                  </a:lnTo>
                  <a:lnTo>
                    <a:pt x="119" y="481"/>
                  </a:lnTo>
                  <a:lnTo>
                    <a:pt x="121" y="481"/>
                  </a:lnTo>
                  <a:lnTo>
                    <a:pt x="124" y="483"/>
                  </a:lnTo>
                  <a:lnTo>
                    <a:pt x="129" y="483"/>
                  </a:lnTo>
                  <a:lnTo>
                    <a:pt x="131" y="483"/>
                  </a:lnTo>
                  <a:lnTo>
                    <a:pt x="131" y="486"/>
                  </a:lnTo>
                  <a:lnTo>
                    <a:pt x="119" y="486"/>
                  </a:lnTo>
                  <a:lnTo>
                    <a:pt x="100" y="486"/>
                  </a:lnTo>
                  <a:lnTo>
                    <a:pt x="83" y="488"/>
                  </a:lnTo>
                  <a:lnTo>
                    <a:pt x="73" y="490"/>
                  </a:lnTo>
                  <a:lnTo>
                    <a:pt x="66" y="490"/>
                  </a:lnTo>
                  <a:lnTo>
                    <a:pt x="66" y="495"/>
                  </a:lnTo>
                  <a:lnTo>
                    <a:pt x="68" y="498"/>
                  </a:lnTo>
                  <a:lnTo>
                    <a:pt x="75" y="498"/>
                  </a:lnTo>
                  <a:lnTo>
                    <a:pt x="88" y="500"/>
                  </a:lnTo>
                  <a:lnTo>
                    <a:pt x="105" y="500"/>
                  </a:lnTo>
                  <a:lnTo>
                    <a:pt x="124" y="500"/>
                  </a:lnTo>
                  <a:lnTo>
                    <a:pt x="131" y="500"/>
                  </a:lnTo>
                  <a:lnTo>
                    <a:pt x="131" y="505"/>
                  </a:lnTo>
                  <a:lnTo>
                    <a:pt x="121" y="507"/>
                  </a:lnTo>
                  <a:lnTo>
                    <a:pt x="107" y="507"/>
                  </a:lnTo>
                  <a:lnTo>
                    <a:pt x="95" y="507"/>
                  </a:lnTo>
                  <a:lnTo>
                    <a:pt x="88" y="510"/>
                  </a:lnTo>
                  <a:lnTo>
                    <a:pt x="88" y="510"/>
                  </a:lnTo>
                  <a:lnTo>
                    <a:pt x="88" y="520"/>
                  </a:lnTo>
                  <a:lnTo>
                    <a:pt x="85" y="520"/>
                  </a:lnTo>
                  <a:lnTo>
                    <a:pt x="80" y="520"/>
                  </a:lnTo>
                  <a:lnTo>
                    <a:pt x="75" y="520"/>
                  </a:lnTo>
                  <a:lnTo>
                    <a:pt x="73" y="520"/>
                  </a:lnTo>
                  <a:lnTo>
                    <a:pt x="73" y="520"/>
                  </a:lnTo>
                  <a:lnTo>
                    <a:pt x="78" y="1331"/>
                  </a:lnTo>
                  <a:lnTo>
                    <a:pt x="27" y="1333"/>
                  </a:lnTo>
                  <a:lnTo>
                    <a:pt x="27" y="1350"/>
                  </a:lnTo>
                  <a:lnTo>
                    <a:pt x="0" y="1353"/>
                  </a:lnTo>
                  <a:lnTo>
                    <a:pt x="0" y="1671"/>
                  </a:lnTo>
                  <a:lnTo>
                    <a:pt x="1279" y="1671"/>
                  </a:lnTo>
                  <a:lnTo>
                    <a:pt x="1279" y="1154"/>
                  </a:lnTo>
                  <a:close/>
                  <a:moveTo>
                    <a:pt x="126" y="498"/>
                  </a:moveTo>
                  <a:lnTo>
                    <a:pt x="124" y="498"/>
                  </a:lnTo>
                  <a:lnTo>
                    <a:pt x="121" y="498"/>
                  </a:lnTo>
                  <a:lnTo>
                    <a:pt x="119" y="498"/>
                  </a:lnTo>
                  <a:lnTo>
                    <a:pt x="117" y="498"/>
                  </a:lnTo>
                  <a:lnTo>
                    <a:pt x="119" y="498"/>
                  </a:lnTo>
                  <a:lnTo>
                    <a:pt x="121" y="498"/>
                  </a:lnTo>
                  <a:lnTo>
                    <a:pt x="124" y="498"/>
                  </a:lnTo>
                  <a:lnTo>
                    <a:pt x="126" y="498"/>
                  </a:lnTo>
                  <a:lnTo>
                    <a:pt x="131" y="498"/>
                  </a:lnTo>
                  <a:lnTo>
                    <a:pt x="126" y="498"/>
                  </a:lnTo>
                  <a:close/>
                  <a:moveTo>
                    <a:pt x="117" y="568"/>
                  </a:moveTo>
                  <a:lnTo>
                    <a:pt x="121" y="568"/>
                  </a:lnTo>
                  <a:lnTo>
                    <a:pt x="131" y="568"/>
                  </a:lnTo>
                  <a:lnTo>
                    <a:pt x="138" y="568"/>
                  </a:lnTo>
                  <a:lnTo>
                    <a:pt x="138" y="656"/>
                  </a:lnTo>
                  <a:lnTo>
                    <a:pt x="134" y="656"/>
                  </a:lnTo>
                  <a:lnTo>
                    <a:pt x="124" y="656"/>
                  </a:lnTo>
                  <a:lnTo>
                    <a:pt x="119" y="656"/>
                  </a:lnTo>
                  <a:lnTo>
                    <a:pt x="117" y="568"/>
                  </a:lnTo>
                  <a:close/>
                  <a:moveTo>
                    <a:pt x="119" y="673"/>
                  </a:moveTo>
                  <a:lnTo>
                    <a:pt x="126" y="673"/>
                  </a:lnTo>
                  <a:lnTo>
                    <a:pt x="136" y="673"/>
                  </a:lnTo>
                  <a:lnTo>
                    <a:pt x="138" y="673"/>
                  </a:lnTo>
                  <a:lnTo>
                    <a:pt x="138" y="799"/>
                  </a:lnTo>
                  <a:lnTo>
                    <a:pt x="136" y="799"/>
                  </a:lnTo>
                  <a:lnTo>
                    <a:pt x="126" y="799"/>
                  </a:lnTo>
                  <a:lnTo>
                    <a:pt x="119" y="799"/>
                  </a:lnTo>
                  <a:lnTo>
                    <a:pt x="119" y="673"/>
                  </a:lnTo>
                  <a:close/>
                  <a:moveTo>
                    <a:pt x="119" y="814"/>
                  </a:moveTo>
                  <a:lnTo>
                    <a:pt x="124" y="814"/>
                  </a:lnTo>
                  <a:lnTo>
                    <a:pt x="136" y="814"/>
                  </a:lnTo>
                  <a:lnTo>
                    <a:pt x="141" y="814"/>
                  </a:lnTo>
                  <a:lnTo>
                    <a:pt x="141" y="937"/>
                  </a:lnTo>
                  <a:lnTo>
                    <a:pt x="136" y="937"/>
                  </a:lnTo>
                  <a:lnTo>
                    <a:pt x="129" y="937"/>
                  </a:lnTo>
                  <a:lnTo>
                    <a:pt x="119" y="937"/>
                  </a:lnTo>
                  <a:lnTo>
                    <a:pt x="119" y="814"/>
                  </a:lnTo>
                  <a:close/>
                  <a:moveTo>
                    <a:pt x="119" y="957"/>
                  </a:moveTo>
                  <a:lnTo>
                    <a:pt x="126" y="957"/>
                  </a:lnTo>
                  <a:lnTo>
                    <a:pt x="136" y="957"/>
                  </a:lnTo>
                  <a:lnTo>
                    <a:pt x="141" y="957"/>
                  </a:lnTo>
                  <a:lnTo>
                    <a:pt x="141" y="1071"/>
                  </a:lnTo>
                  <a:lnTo>
                    <a:pt x="138" y="1071"/>
                  </a:lnTo>
                  <a:lnTo>
                    <a:pt x="129" y="1071"/>
                  </a:lnTo>
                  <a:lnTo>
                    <a:pt x="121" y="1073"/>
                  </a:lnTo>
                  <a:lnTo>
                    <a:pt x="119" y="957"/>
                  </a:lnTo>
                  <a:close/>
                  <a:moveTo>
                    <a:pt x="129" y="1185"/>
                  </a:moveTo>
                  <a:lnTo>
                    <a:pt x="121" y="1188"/>
                  </a:lnTo>
                  <a:lnTo>
                    <a:pt x="121" y="1095"/>
                  </a:lnTo>
                  <a:lnTo>
                    <a:pt x="126" y="1095"/>
                  </a:lnTo>
                  <a:lnTo>
                    <a:pt x="136" y="1095"/>
                  </a:lnTo>
                  <a:lnTo>
                    <a:pt x="141" y="1095"/>
                  </a:lnTo>
                  <a:lnTo>
                    <a:pt x="141" y="1185"/>
                  </a:lnTo>
                  <a:lnTo>
                    <a:pt x="129" y="1185"/>
                  </a:lnTo>
                  <a:close/>
                  <a:moveTo>
                    <a:pt x="182" y="568"/>
                  </a:moveTo>
                  <a:lnTo>
                    <a:pt x="189" y="568"/>
                  </a:lnTo>
                  <a:lnTo>
                    <a:pt x="197" y="568"/>
                  </a:lnTo>
                  <a:lnTo>
                    <a:pt x="197" y="656"/>
                  </a:lnTo>
                  <a:lnTo>
                    <a:pt x="194" y="656"/>
                  </a:lnTo>
                  <a:lnTo>
                    <a:pt x="182" y="656"/>
                  </a:lnTo>
                  <a:lnTo>
                    <a:pt x="182" y="568"/>
                  </a:lnTo>
                  <a:close/>
                  <a:moveTo>
                    <a:pt x="182" y="673"/>
                  </a:moveTo>
                  <a:lnTo>
                    <a:pt x="189" y="673"/>
                  </a:lnTo>
                  <a:lnTo>
                    <a:pt x="197" y="673"/>
                  </a:lnTo>
                  <a:lnTo>
                    <a:pt x="199" y="799"/>
                  </a:lnTo>
                  <a:lnTo>
                    <a:pt x="189" y="799"/>
                  </a:lnTo>
                  <a:lnTo>
                    <a:pt x="182" y="799"/>
                  </a:lnTo>
                  <a:lnTo>
                    <a:pt x="182" y="673"/>
                  </a:lnTo>
                  <a:close/>
                  <a:moveTo>
                    <a:pt x="182" y="814"/>
                  </a:moveTo>
                  <a:lnTo>
                    <a:pt x="194" y="814"/>
                  </a:lnTo>
                  <a:lnTo>
                    <a:pt x="199" y="814"/>
                  </a:lnTo>
                  <a:lnTo>
                    <a:pt x="199" y="937"/>
                  </a:lnTo>
                  <a:lnTo>
                    <a:pt x="192" y="937"/>
                  </a:lnTo>
                  <a:lnTo>
                    <a:pt x="184" y="937"/>
                  </a:lnTo>
                  <a:lnTo>
                    <a:pt x="182" y="814"/>
                  </a:lnTo>
                  <a:close/>
                  <a:moveTo>
                    <a:pt x="184" y="957"/>
                  </a:moveTo>
                  <a:lnTo>
                    <a:pt x="194" y="957"/>
                  </a:lnTo>
                  <a:lnTo>
                    <a:pt x="199" y="957"/>
                  </a:lnTo>
                  <a:lnTo>
                    <a:pt x="199" y="1071"/>
                  </a:lnTo>
                  <a:lnTo>
                    <a:pt x="192" y="1071"/>
                  </a:lnTo>
                  <a:lnTo>
                    <a:pt x="184" y="1071"/>
                  </a:lnTo>
                  <a:lnTo>
                    <a:pt x="184" y="957"/>
                  </a:lnTo>
                  <a:close/>
                  <a:moveTo>
                    <a:pt x="199" y="1188"/>
                  </a:moveTo>
                  <a:lnTo>
                    <a:pt x="184" y="1185"/>
                  </a:lnTo>
                  <a:lnTo>
                    <a:pt x="184" y="1098"/>
                  </a:lnTo>
                  <a:lnTo>
                    <a:pt x="197" y="1098"/>
                  </a:lnTo>
                  <a:lnTo>
                    <a:pt x="199" y="1098"/>
                  </a:lnTo>
                  <a:lnTo>
                    <a:pt x="201" y="1188"/>
                  </a:lnTo>
                  <a:lnTo>
                    <a:pt x="199" y="118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9" name="组合 8">
            <a:extLst>
              <a:ext uri="{FF2B5EF4-FFF2-40B4-BE49-F238E27FC236}">
                <a16:creationId xmlns:a16="http://schemas.microsoft.com/office/drawing/2014/main" id="{09F24999-7B30-464C-A908-ADEB4B4A2E19}"/>
              </a:ext>
            </a:extLst>
          </p:cNvPr>
          <p:cNvGrpSpPr/>
          <p:nvPr/>
        </p:nvGrpSpPr>
        <p:grpSpPr>
          <a:xfrm>
            <a:off x="5473695" y="1282250"/>
            <a:ext cx="1244601" cy="1244597"/>
            <a:chOff x="5473700" y="1207808"/>
            <a:chExt cx="1244600" cy="1244596"/>
          </a:xfrm>
        </p:grpSpPr>
        <p:sp>
          <p:nvSpPr>
            <p:cNvPr id="28" name="椭圆 27">
              <a:extLst>
                <a:ext uri="{FF2B5EF4-FFF2-40B4-BE49-F238E27FC236}">
                  <a16:creationId xmlns:a16="http://schemas.microsoft.com/office/drawing/2014/main" id="{D1568FDF-C4FA-4F9A-8D2D-3FF23B8157A5}"/>
                </a:ext>
              </a:extLst>
            </p:cNvPr>
            <p:cNvSpPr/>
            <p:nvPr/>
          </p:nvSpPr>
          <p:spPr>
            <a:xfrm>
              <a:off x="5473700" y="1207808"/>
              <a:ext cx="1244600" cy="1244596"/>
            </a:xfrm>
            <a:prstGeom prst="ellipse">
              <a:avLst/>
            </a:prstGeom>
            <a:solidFill>
              <a:schemeClr val="accent3"/>
            </a:solidFill>
            <a:ln w="152400">
              <a:solidFill>
                <a:schemeClr val="accent3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tIns="46800" rIns="90000" bIns="46800" anchor="ctr">
              <a:normAutofit/>
            </a:bodyPr>
            <a:lstStyle/>
            <a:p>
              <a:pPr algn="ctr"/>
              <a:endParaRPr dirty="0"/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952531B7-8A62-498E-AE86-85B4477395CC}"/>
                </a:ext>
              </a:extLst>
            </p:cNvPr>
            <p:cNvSpPr txBox="1"/>
            <p:nvPr/>
          </p:nvSpPr>
          <p:spPr>
            <a:xfrm>
              <a:off x="5664200" y="1701933"/>
              <a:ext cx="863600" cy="256346"/>
            </a:xfrm>
            <a:prstGeom prst="rect">
              <a:avLst/>
            </a:prstGeom>
            <a:noFill/>
          </p:spPr>
          <p:txBody>
            <a:bodyPr wrap="none" lIns="91422" tIns="45711" rIns="91422" bIns="45711">
              <a:prstTxWarp prst="textPlain">
                <a:avLst/>
              </a:prstTxWarp>
              <a:normAutofit fontScale="25000" lnSpcReduction="20000"/>
            </a:bodyPr>
            <a:lstStyle/>
            <a:p>
              <a:r>
                <a:rPr lang="en-US" altLang="zh-CN" sz="5400" dirty="0">
                  <a:solidFill>
                    <a:schemeClr val="bg1"/>
                  </a:solidFill>
                  <a:latin typeface="Impact" panose="020B0806030902050204" pitchFamily="34" charset="0"/>
                </a:rPr>
                <a:t>666</a:t>
              </a:r>
              <a:r>
                <a:rPr lang="en-US" sz="5400" dirty="0">
                  <a:solidFill>
                    <a:schemeClr val="bg1"/>
                  </a:solidFill>
                  <a:latin typeface="Impact" panose="020B0806030902050204" pitchFamily="34" charset="0"/>
                </a:rPr>
                <a:t>,666K</a:t>
              </a:r>
            </a:p>
          </p:txBody>
        </p:sp>
      </p:grpSp>
      <p:sp>
        <p:nvSpPr>
          <p:cNvPr id="10" name="矩形: 圆角 9">
            <a:extLst>
              <a:ext uri="{FF2B5EF4-FFF2-40B4-BE49-F238E27FC236}">
                <a16:creationId xmlns:a16="http://schemas.microsoft.com/office/drawing/2014/main" id="{03271FFF-42D0-45C7-9C03-0AB752C4068D}"/>
              </a:ext>
            </a:extLst>
          </p:cNvPr>
          <p:cNvSpPr/>
          <p:nvPr/>
        </p:nvSpPr>
        <p:spPr>
          <a:xfrm>
            <a:off x="1010673" y="5720435"/>
            <a:ext cx="1704343" cy="415562"/>
          </a:xfrm>
          <a:prstGeom prst="roundRect">
            <a:avLst>
              <a:gd name="adj" fmla="val 11836"/>
            </a:avLst>
          </a:prstGeom>
          <a:pattFill prst="ltUp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accent1">
                <a:shade val="50000"/>
                <a:alpha val="2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/>
          </a:bodyPr>
          <a:lstStyle/>
          <a:p>
            <a:pPr algn="ctr"/>
            <a:r>
              <a:rPr kumimoji="1" lang="en-US" altLang="zh-CN" sz="1400" b="1" dirty="0">
                <a:solidFill>
                  <a:schemeClr val="tx1"/>
                </a:solidFill>
              </a:rPr>
              <a:t>keyword</a:t>
            </a:r>
            <a:endParaRPr kumimoji="1"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4D41CC88-C208-45E3-9E72-A93EF65D83E6}"/>
              </a:ext>
            </a:extLst>
          </p:cNvPr>
          <p:cNvSpPr/>
          <p:nvPr/>
        </p:nvSpPr>
        <p:spPr>
          <a:xfrm>
            <a:off x="1567113" y="3173744"/>
            <a:ext cx="591457" cy="591462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600" b="1" dirty="0">
                <a:solidFill>
                  <a:schemeClr val="bg1"/>
                </a:solidFill>
              </a:rPr>
              <a:t>Q1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0CFFC4C4-7117-4C7D-AA9D-3AC2AD24447C}"/>
              </a:ext>
            </a:extLst>
          </p:cNvPr>
          <p:cNvSpPr txBox="1"/>
          <p:nvPr/>
        </p:nvSpPr>
        <p:spPr>
          <a:xfrm>
            <a:off x="670042" y="4264437"/>
            <a:ext cx="2385604" cy="1461922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000" dirty="0"/>
              <a:t>Supporting text here.</a:t>
            </a:r>
          </a:p>
          <a:p>
            <a:pPr algn="ctr">
              <a:lnSpc>
                <a:spcPct val="150000"/>
              </a:lnSpc>
            </a:pPr>
            <a:r>
              <a:rPr lang="en-US" altLang="zh-CN" sz="1000" dirty="0"/>
              <a:t>When you copy &amp; paste, choose "keep text only" option.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2E485EE3-83C3-4A41-A849-7843EF810433}"/>
              </a:ext>
            </a:extLst>
          </p:cNvPr>
          <p:cNvSpPr txBox="1"/>
          <p:nvPr/>
        </p:nvSpPr>
        <p:spPr>
          <a:xfrm>
            <a:off x="670041" y="3792617"/>
            <a:ext cx="2385602" cy="471820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algn="ctr"/>
            <a:r>
              <a:rPr lang="en-US" altLang="zh-CN" b="1" dirty="0">
                <a:solidFill>
                  <a:schemeClr val="accent1"/>
                </a:solidFill>
              </a:rPr>
              <a:t>Text here</a:t>
            </a: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9F934DF4-CC20-40DE-86BD-AC4FA8D9AA90}"/>
              </a:ext>
            </a:extLst>
          </p:cNvPr>
          <p:cNvSpPr/>
          <p:nvPr/>
        </p:nvSpPr>
        <p:spPr>
          <a:xfrm>
            <a:off x="3832774" y="5720435"/>
            <a:ext cx="1704343" cy="415562"/>
          </a:xfrm>
          <a:prstGeom prst="roundRect">
            <a:avLst>
              <a:gd name="adj" fmla="val 11836"/>
            </a:avLst>
          </a:prstGeom>
          <a:pattFill prst="ltUp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accent1">
                <a:shade val="50000"/>
                <a:alpha val="2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/>
          </a:bodyPr>
          <a:lstStyle/>
          <a:p>
            <a:pPr algn="ctr"/>
            <a:r>
              <a:rPr kumimoji="1" lang="en-US" altLang="zh-CN" sz="1400" b="1" dirty="0">
                <a:solidFill>
                  <a:schemeClr val="tx1"/>
                </a:solidFill>
              </a:rPr>
              <a:t>keyword</a:t>
            </a:r>
            <a:endParaRPr kumimoji="1"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56805277-5BBB-47F7-A2C5-BED9EF9A44F3}"/>
              </a:ext>
            </a:extLst>
          </p:cNvPr>
          <p:cNvSpPr/>
          <p:nvPr/>
        </p:nvSpPr>
        <p:spPr>
          <a:xfrm>
            <a:off x="4389214" y="3173744"/>
            <a:ext cx="591457" cy="591462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600" b="1" dirty="0">
                <a:solidFill>
                  <a:schemeClr val="bg1"/>
                </a:solidFill>
              </a:rPr>
              <a:t>Q2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6DA683A6-4FAF-46D7-A4E2-AC4609A74A70}"/>
              </a:ext>
            </a:extLst>
          </p:cNvPr>
          <p:cNvSpPr txBox="1"/>
          <p:nvPr/>
        </p:nvSpPr>
        <p:spPr>
          <a:xfrm>
            <a:off x="3492144" y="4264437"/>
            <a:ext cx="2385604" cy="1461922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000" dirty="0"/>
              <a:t>Supporting text here.</a:t>
            </a:r>
          </a:p>
          <a:p>
            <a:pPr algn="ctr">
              <a:lnSpc>
                <a:spcPct val="150000"/>
              </a:lnSpc>
            </a:pPr>
            <a:r>
              <a:rPr lang="en-US" altLang="zh-CN" sz="1000" dirty="0"/>
              <a:t>When you copy &amp; paste, choose "keep text only" option.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8875F943-00A8-462C-9B9B-2BEA117C39A6}"/>
              </a:ext>
            </a:extLst>
          </p:cNvPr>
          <p:cNvSpPr txBox="1"/>
          <p:nvPr/>
        </p:nvSpPr>
        <p:spPr>
          <a:xfrm>
            <a:off x="3492143" y="3792617"/>
            <a:ext cx="2385602" cy="471820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algn="ctr"/>
            <a:r>
              <a:rPr lang="en-US" altLang="zh-CN" b="1" dirty="0">
                <a:solidFill>
                  <a:schemeClr val="accent1"/>
                </a:solidFill>
              </a:rPr>
              <a:t>Text here</a:t>
            </a: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0D0640A6-10EC-42B8-9AD2-ECB0D2E056E9}"/>
              </a:ext>
            </a:extLst>
          </p:cNvPr>
          <p:cNvSpPr/>
          <p:nvPr/>
        </p:nvSpPr>
        <p:spPr>
          <a:xfrm>
            <a:off x="6654875" y="5720435"/>
            <a:ext cx="1704343" cy="415562"/>
          </a:xfrm>
          <a:prstGeom prst="roundRect">
            <a:avLst>
              <a:gd name="adj" fmla="val 11836"/>
            </a:avLst>
          </a:prstGeom>
          <a:pattFill prst="ltUp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accent1">
                <a:shade val="50000"/>
                <a:alpha val="2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/>
          </a:bodyPr>
          <a:lstStyle/>
          <a:p>
            <a:pPr algn="ctr"/>
            <a:r>
              <a:rPr kumimoji="1" lang="en-US" altLang="zh-CN" sz="1400" b="1" dirty="0">
                <a:solidFill>
                  <a:schemeClr val="tx1"/>
                </a:solidFill>
              </a:rPr>
              <a:t>keyword</a:t>
            </a:r>
            <a:endParaRPr kumimoji="1"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19" name="椭圆 18">
            <a:extLst>
              <a:ext uri="{FF2B5EF4-FFF2-40B4-BE49-F238E27FC236}">
                <a16:creationId xmlns:a16="http://schemas.microsoft.com/office/drawing/2014/main" id="{01E4BA37-D0B6-4BF9-B2F1-514881F48101}"/>
              </a:ext>
            </a:extLst>
          </p:cNvPr>
          <p:cNvSpPr/>
          <p:nvPr/>
        </p:nvSpPr>
        <p:spPr>
          <a:xfrm>
            <a:off x="7211315" y="3173744"/>
            <a:ext cx="591457" cy="591462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600" b="1" dirty="0">
                <a:solidFill>
                  <a:schemeClr val="bg1"/>
                </a:solidFill>
              </a:rPr>
              <a:t>Q3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AE7860FF-2924-4E37-96C5-28530A6E7905}"/>
              </a:ext>
            </a:extLst>
          </p:cNvPr>
          <p:cNvSpPr txBox="1"/>
          <p:nvPr/>
        </p:nvSpPr>
        <p:spPr>
          <a:xfrm>
            <a:off x="6314245" y="4264437"/>
            <a:ext cx="2385604" cy="1461922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000" dirty="0"/>
              <a:t>Supporting text here.</a:t>
            </a:r>
          </a:p>
          <a:p>
            <a:pPr algn="ctr">
              <a:lnSpc>
                <a:spcPct val="150000"/>
              </a:lnSpc>
            </a:pPr>
            <a:r>
              <a:rPr lang="en-US" altLang="zh-CN" sz="1000" dirty="0"/>
              <a:t>When you copy &amp; paste, choose "keep text only" option.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62CC6AC9-BAFE-45A5-BD42-5B01792512A0}"/>
              </a:ext>
            </a:extLst>
          </p:cNvPr>
          <p:cNvSpPr txBox="1"/>
          <p:nvPr/>
        </p:nvSpPr>
        <p:spPr>
          <a:xfrm>
            <a:off x="6314244" y="3792617"/>
            <a:ext cx="2385602" cy="471820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algn="ctr"/>
            <a:r>
              <a:rPr lang="en-US" altLang="zh-CN" b="1" dirty="0">
                <a:solidFill>
                  <a:schemeClr val="accent1"/>
                </a:solidFill>
              </a:rPr>
              <a:t>Text here</a:t>
            </a:r>
          </a:p>
        </p:txBody>
      </p:sp>
      <p:sp>
        <p:nvSpPr>
          <p:cNvPr id="22" name="矩形: 圆角 21">
            <a:extLst>
              <a:ext uri="{FF2B5EF4-FFF2-40B4-BE49-F238E27FC236}">
                <a16:creationId xmlns:a16="http://schemas.microsoft.com/office/drawing/2014/main" id="{A9FE2DFF-F0D3-412F-BCF4-47127409E05E}"/>
              </a:ext>
            </a:extLst>
          </p:cNvPr>
          <p:cNvSpPr/>
          <p:nvPr/>
        </p:nvSpPr>
        <p:spPr>
          <a:xfrm>
            <a:off x="9476975" y="5720435"/>
            <a:ext cx="1704343" cy="415562"/>
          </a:xfrm>
          <a:prstGeom prst="roundRect">
            <a:avLst>
              <a:gd name="adj" fmla="val 11836"/>
            </a:avLst>
          </a:prstGeom>
          <a:pattFill prst="ltUpDiag">
            <a:fgClr>
              <a:schemeClr val="accent1">
                <a:lumMod val="20000"/>
                <a:lumOff val="80000"/>
              </a:schemeClr>
            </a:fgClr>
            <a:bgClr>
              <a:schemeClr val="bg1"/>
            </a:bgClr>
          </a:pattFill>
          <a:ln>
            <a:solidFill>
              <a:schemeClr val="accent1">
                <a:shade val="50000"/>
                <a:alpha val="2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anchor="ctr">
            <a:normAutofit/>
          </a:bodyPr>
          <a:lstStyle/>
          <a:p>
            <a:pPr algn="ctr"/>
            <a:r>
              <a:rPr kumimoji="1" lang="en-US" altLang="zh-CN" sz="1400" b="1" dirty="0">
                <a:solidFill>
                  <a:schemeClr val="tx1"/>
                </a:solidFill>
              </a:rPr>
              <a:t>keyword</a:t>
            </a:r>
            <a:endParaRPr kumimoji="1"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23" name="椭圆 22">
            <a:extLst>
              <a:ext uri="{FF2B5EF4-FFF2-40B4-BE49-F238E27FC236}">
                <a16:creationId xmlns:a16="http://schemas.microsoft.com/office/drawing/2014/main" id="{086FEF24-4943-48CA-8E96-0147FA94C91B}"/>
              </a:ext>
            </a:extLst>
          </p:cNvPr>
          <p:cNvSpPr/>
          <p:nvPr/>
        </p:nvSpPr>
        <p:spPr>
          <a:xfrm>
            <a:off x="10033415" y="3173744"/>
            <a:ext cx="591457" cy="591462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600" b="1" dirty="0">
                <a:solidFill>
                  <a:schemeClr val="bg1"/>
                </a:solidFill>
              </a:rPr>
              <a:t>Q4</a:t>
            </a:r>
            <a:endParaRPr lang="zh-CN" altLang="en-US" sz="1600" b="1" dirty="0">
              <a:solidFill>
                <a:schemeClr val="bg1"/>
              </a:solidFill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8B7FBBB7-CACB-4A80-B8C5-D48D744419DC}"/>
              </a:ext>
            </a:extLst>
          </p:cNvPr>
          <p:cNvSpPr txBox="1"/>
          <p:nvPr/>
        </p:nvSpPr>
        <p:spPr>
          <a:xfrm>
            <a:off x="9136345" y="4264437"/>
            <a:ext cx="2385604" cy="1461922"/>
          </a:xfrm>
          <a:prstGeom prst="rect">
            <a:avLst/>
          </a:prstGeom>
          <a:noFill/>
        </p:spPr>
        <p:txBody>
          <a:bodyPr wrap="square" lIns="90000" tIns="46800" rIns="90000" bIns="46800" rtlCol="0"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sz="1000" dirty="0"/>
              <a:t>Supporting text here.</a:t>
            </a:r>
          </a:p>
          <a:p>
            <a:pPr algn="ctr">
              <a:lnSpc>
                <a:spcPct val="150000"/>
              </a:lnSpc>
            </a:pPr>
            <a:r>
              <a:rPr lang="en-US" altLang="zh-CN" sz="1000" dirty="0"/>
              <a:t>When you copy &amp; paste, choose "keep text only" option.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35A09732-D1A4-44AA-BEC8-3989211CE18F}"/>
              </a:ext>
            </a:extLst>
          </p:cNvPr>
          <p:cNvSpPr txBox="1"/>
          <p:nvPr/>
        </p:nvSpPr>
        <p:spPr>
          <a:xfrm>
            <a:off x="9136344" y="3792617"/>
            <a:ext cx="2385602" cy="471820"/>
          </a:xfrm>
          <a:prstGeom prst="rect">
            <a:avLst/>
          </a:prstGeom>
          <a:noFill/>
        </p:spPr>
        <p:txBody>
          <a:bodyPr wrap="square" rtlCol="0" anchor="ctr">
            <a:normAutofit/>
          </a:bodyPr>
          <a:lstStyle/>
          <a:p>
            <a:pPr algn="ctr"/>
            <a:r>
              <a:rPr lang="en-US" altLang="zh-CN" b="1" dirty="0">
                <a:solidFill>
                  <a:schemeClr val="accent1"/>
                </a:solidFill>
              </a:rPr>
              <a:t>Text here</a:t>
            </a:r>
          </a:p>
        </p:txBody>
      </p:sp>
      <p:cxnSp>
        <p:nvCxnSpPr>
          <p:cNvPr id="26" name="连接符: 肘形 25">
            <a:extLst>
              <a:ext uri="{FF2B5EF4-FFF2-40B4-BE49-F238E27FC236}">
                <a16:creationId xmlns:a16="http://schemas.microsoft.com/office/drawing/2014/main" id="{18A4277A-A321-4B35-B67E-3A6B37ACE942}"/>
              </a:ext>
            </a:extLst>
          </p:cNvPr>
          <p:cNvCxnSpPr>
            <a:stCxn id="28" idx="2"/>
            <a:endCxn id="15" idx="0"/>
          </p:cNvCxnSpPr>
          <p:nvPr/>
        </p:nvCxnSpPr>
        <p:spPr>
          <a:xfrm rot="10800000" flipV="1">
            <a:off x="4684944" y="1904547"/>
            <a:ext cx="788752" cy="1269196"/>
          </a:xfrm>
          <a:prstGeom prst="bentConnector2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连接符: 肘形 26">
            <a:extLst>
              <a:ext uri="{FF2B5EF4-FFF2-40B4-BE49-F238E27FC236}">
                <a16:creationId xmlns:a16="http://schemas.microsoft.com/office/drawing/2014/main" id="{FF18DFFA-B51D-48FD-9C3B-913EDC268C7B}"/>
              </a:ext>
            </a:extLst>
          </p:cNvPr>
          <p:cNvCxnSpPr>
            <a:stCxn id="28" idx="6"/>
            <a:endCxn id="19" idx="0"/>
          </p:cNvCxnSpPr>
          <p:nvPr/>
        </p:nvCxnSpPr>
        <p:spPr>
          <a:xfrm>
            <a:off x="6718296" y="1904548"/>
            <a:ext cx="788749" cy="1269196"/>
          </a:xfrm>
          <a:prstGeom prst="bentConnector2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119046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9486400-9412-473A-AFEE-2E5FF46148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9DB8CE3-9A38-4714-B1E7-A6E5590E5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D36F59D-A96C-49BA-9E1D-93FE97F0ED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31</a:t>
            </a:fld>
            <a:endParaRPr lang="zh-CN" altLang="en-US"/>
          </a:p>
        </p:txBody>
      </p:sp>
      <p:sp>
        <p:nvSpPr>
          <p:cNvPr id="47" name="矩形: 圆角 46">
            <a:extLst>
              <a:ext uri="{FF2B5EF4-FFF2-40B4-BE49-F238E27FC236}">
                <a16:creationId xmlns:a16="http://schemas.microsoft.com/office/drawing/2014/main" id="{87B0C9C8-116D-42AA-86CA-2AE6F6E42191}"/>
              </a:ext>
            </a:extLst>
          </p:cNvPr>
          <p:cNvSpPr/>
          <p:nvPr/>
        </p:nvSpPr>
        <p:spPr>
          <a:xfrm>
            <a:off x="4848445" y="2435510"/>
            <a:ext cx="2495109" cy="3279994"/>
          </a:xfrm>
          <a:prstGeom prst="roundRect">
            <a:avLst>
              <a:gd name="adj" fmla="val 9051"/>
            </a:avLst>
          </a:prstGeom>
          <a:solidFill>
            <a:schemeClr val="bg1">
              <a:lumMod val="7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48" name="矩形: 圆角 47">
            <a:extLst>
              <a:ext uri="{FF2B5EF4-FFF2-40B4-BE49-F238E27FC236}">
                <a16:creationId xmlns:a16="http://schemas.microsoft.com/office/drawing/2014/main" id="{4B9899B0-1442-46A3-8B41-237DBE832174}"/>
              </a:ext>
            </a:extLst>
          </p:cNvPr>
          <p:cNvSpPr/>
          <p:nvPr/>
        </p:nvSpPr>
        <p:spPr>
          <a:xfrm>
            <a:off x="5019709" y="2670646"/>
            <a:ext cx="2152581" cy="2896143"/>
          </a:xfrm>
          <a:prstGeom prst="roundRect">
            <a:avLst>
              <a:gd name="adj" fmla="val 9051"/>
            </a:avLst>
          </a:prstGeom>
          <a:solidFill>
            <a:schemeClr val="bg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49" name="椭圆 48">
            <a:extLst>
              <a:ext uri="{FF2B5EF4-FFF2-40B4-BE49-F238E27FC236}">
                <a16:creationId xmlns:a16="http://schemas.microsoft.com/office/drawing/2014/main" id="{884BB887-2FBC-42FE-9DFD-05DFEAB9806B}"/>
              </a:ext>
            </a:extLst>
          </p:cNvPr>
          <p:cNvSpPr/>
          <p:nvPr/>
        </p:nvSpPr>
        <p:spPr>
          <a:xfrm>
            <a:off x="5294591" y="2794906"/>
            <a:ext cx="169370" cy="169370"/>
          </a:xfrm>
          <a:prstGeom prst="ellipse">
            <a:avLst/>
          </a:prstGeom>
          <a:solidFill>
            <a:schemeClr val="bg1">
              <a:lumMod val="5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50" name="椭圆 49">
            <a:extLst>
              <a:ext uri="{FF2B5EF4-FFF2-40B4-BE49-F238E27FC236}">
                <a16:creationId xmlns:a16="http://schemas.microsoft.com/office/drawing/2014/main" id="{450DBF3F-D60E-43AB-B449-97CF3D2398CF}"/>
              </a:ext>
            </a:extLst>
          </p:cNvPr>
          <p:cNvSpPr/>
          <p:nvPr/>
        </p:nvSpPr>
        <p:spPr>
          <a:xfrm>
            <a:off x="5635225" y="2794906"/>
            <a:ext cx="169370" cy="169370"/>
          </a:xfrm>
          <a:prstGeom prst="ellipse">
            <a:avLst/>
          </a:prstGeom>
          <a:solidFill>
            <a:schemeClr val="bg1">
              <a:lumMod val="5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51" name="椭圆 50">
            <a:extLst>
              <a:ext uri="{FF2B5EF4-FFF2-40B4-BE49-F238E27FC236}">
                <a16:creationId xmlns:a16="http://schemas.microsoft.com/office/drawing/2014/main" id="{2FEC5137-B2FD-4BCA-A4CB-2A9F2118A892}"/>
              </a:ext>
            </a:extLst>
          </p:cNvPr>
          <p:cNvSpPr/>
          <p:nvPr/>
        </p:nvSpPr>
        <p:spPr>
          <a:xfrm>
            <a:off x="6385169" y="2794906"/>
            <a:ext cx="169370" cy="169370"/>
          </a:xfrm>
          <a:prstGeom prst="ellipse">
            <a:avLst/>
          </a:prstGeom>
          <a:solidFill>
            <a:schemeClr val="bg1">
              <a:lumMod val="5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52" name="椭圆 51">
            <a:extLst>
              <a:ext uri="{FF2B5EF4-FFF2-40B4-BE49-F238E27FC236}">
                <a16:creationId xmlns:a16="http://schemas.microsoft.com/office/drawing/2014/main" id="{64D772DA-2E73-496E-9F36-3EA037ABB50F}"/>
              </a:ext>
            </a:extLst>
          </p:cNvPr>
          <p:cNvSpPr/>
          <p:nvPr/>
        </p:nvSpPr>
        <p:spPr>
          <a:xfrm>
            <a:off x="6725802" y="2794906"/>
            <a:ext cx="169370" cy="169370"/>
          </a:xfrm>
          <a:prstGeom prst="ellipse">
            <a:avLst/>
          </a:prstGeom>
          <a:solidFill>
            <a:schemeClr val="bg1">
              <a:lumMod val="50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53" name="矩形: 圆角 52">
            <a:extLst>
              <a:ext uri="{FF2B5EF4-FFF2-40B4-BE49-F238E27FC236}">
                <a16:creationId xmlns:a16="http://schemas.microsoft.com/office/drawing/2014/main" id="{1410801C-3257-4F37-B594-89A84B49877C}"/>
              </a:ext>
            </a:extLst>
          </p:cNvPr>
          <p:cNvSpPr/>
          <p:nvPr/>
        </p:nvSpPr>
        <p:spPr>
          <a:xfrm>
            <a:off x="5330737" y="2278534"/>
            <a:ext cx="97077" cy="6320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54" name="矩形: 圆角 53">
            <a:extLst>
              <a:ext uri="{FF2B5EF4-FFF2-40B4-BE49-F238E27FC236}">
                <a16:creationId xmlns:a16="http://schemas.microsoft.com/office/drawing/2014/main" id="{C85E59B8-3486-4D3A-BFC4-B1B37F5B743C}"/>
              </a:ext>
            </a:extLst>
          </p:cNvPr>
          <p:cNvSpPr/>
          <p:nvPr/>
        </p:nvSpPr>
        <p:spPr>
          <a:xfrm>
            <a:off x="5671371" y="2278534"/>
            <a:ext cx="97077" cy="6320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55" name="矩形: 圆角 54">
            <a:extLst>
              <a:ext uri="{FF2B5EF4-FFF2-40B4-BE49-F238E27FC236}">
                <a16:creationId xmlns:a16="http://schemas.microsoft.com/office/drawing/2014/main" id="{8C600975-8A31-4092-B83E-98622E6565F7}"/>
              </a:ext>
            </a:extLst>
          </p:cNvPr>
          <p:cNvSpPr/>
          <p:nvPr/>
        </p:nvSpPr>
        <p:spPr>
          <a:xfrm>
            <a:off x="6421315" y="2278534"/>
            <a:ext cx="97077" cy="6320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56" name="矩形: 圆角 55">
            <a:extLst>
              <a:ext uri="{FF2B5EF4-FFF2-40B4-BE49-F238E27FC236}">
                <a16:creationId xmlns:a16="http://schemas.microsoft.com/office/drawing/2014/main" id="{5FC8481E-9DFD-430C-88E2-5AAC19502CAD}"/>
              </a:ext>
            </a:extLst>
          </p:cNvPr>
          <p:cNvSpPr/>
          <p:nvPr/>
        </p:nvSpPr>
        <p:spPr>
          <a:xfrm>
            <a:off x="6761948" y="2278534"/>
            <a:ext cx="97077" cy="632038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29" name="椭圆 28">
            <a:extLst>
              <a:ext uri="{FF2B5EF4-FFF2-40B4-BE49-F238E27FC236}">
                <a16:creationId xmlns:a16="http://schemas.microsoft.com/office/drawing/2014/main" id="{E7E02ED6-2C0A-4C22-A23F-AE4376699BC7}"/>
              </a:ext>
            </a:extLst>
          </p:cNvPr>
          <p:cNvSpPr/>
          <p:nvPr/>
        </p:nvSpPr>
        <p:spPr>
          <a:xfrm>
            <a:off x="5019709" y="3312721"/>
            <a:ext cx="785418" cy="785418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dirty="0"/>
          </a:p>
        </p:txBody>
      </p:sp>
      <p:sp>
        <p:nvSpPr>
          <p:cNvPr id="30" name="椭圆 29">
            <a:extLst>
              <a:ext uri="{FF2B5EF4-FFF2-40B4-BE49-F238E27FC236}">
                <a16:creationId xmlns:a16="http://schemas.microsoft.com/office/drawing/2014/main" id="{DDF56C06-CEC2-431A-AE05-9B6631DA70EE}"/>
              </a:ext>
            </a:extLst>
          </p:cNvPr>
          <p:cNvSpPr/>
          <p:nvPr/>
        </p:nvSpPr>
        <p:spPr>
          <a:xfrm>
            <a:off x="6386872" y="3312721"/>
            <a:ext cx="785418" cy="785418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dirty="0"/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E7E02ED6-2C0A-4C22-A23F-AE4376699BC7}"/>
              </a:ext>
            </a:extLst>
          </p:cNvPr>
          <p:cNvSpPr/>
          <p:nvPr/>
        </p:nvSpPr>
        <p:spPr>
          <a:xfrm>
            <a:off x="5623853" y="3233284"/>
            <a:ext cx="944292" cy="944292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32" name="任意多边形: 形状 31">
            <a:extLst>
              <a:ext uri="{FF2B5EF4-FFF2-40B4-BE49-F238E27FC236}">
                <a16:creationId xmlns:a16="http://schemas.microsoft.com/office/drawing/2014/main" id="{83DE6770-C823-4644-B62B-526FBA778978}"/>
              </a:ext>
            </a:extLst>
          </p:cNvPr>
          <p:cNvSpPr/>
          <p:nvPr/>
        </p:nvSpPr>
        <p:spPr bwMode="auto">
          <a:xfrm>
            <a:off x="5897953" y="3534650"/>
            <a:ext cx="396092" cy="341560"/>
          </a:xfrm>
          <a:custGeom>
            <a:avLst/>
            <a:gdLst/>
            <a:ahLst/>
            <a:cxnLst>
              <a:cxn ang="0">
                <a:pos x="64" y="51"/>
              </a:cxn>
              <a:cxn ang="0">
                <a:pos x="60" y="55"/>
              </a:cxn>
              <a:cxn ang="0">
                <a:pos x="49" y="55"/>
              </a:cxn>
              <a:cxn ang="0">
                <a:pos x="45" y="51"/>
              </a:cxn>
              <a:cxn ang="0">
                <a:pos x="45" y="40"/>
              </a:cxn>
              <a:cxn ang="0">
                <a:pos x="49" y="36"/>
              </a:cxn>
              <a:cxn ang="0">
                <a:pos x="52" y="36"/>
              </a:cxn>
              <a:cxn ang="0">
                <a:pos x="52" y="30"/>
              </a:cxn>
              <a:cxn ang="0">
                <a:pos x="34" y="30"/>
              </a:cxn>
              <a:cxn ang="0">
                <a:pos x="34" y="36"/>
              </a:cxn>
              <a:cxn ang="0">
                <a:pos x="37" y="36"/>
              </a:cxn>
              <a:cxn ang="0">
                <a:pos x="41" y="40"/>
              </a:cxn>
              <a:cxn ang="0">
                <a:pos x="41" y="51"/>
              </a:cxn>
              <a:cxn ang="0">
                <a:pos x="37" y="55"/>
              </a:cxn>
              <a:cxn ang="0">
                <a:pos x="26" y="55"/>
              </a:cxn>
              <a:cxn ang="0">
                <a:pos x="23" y="51"/>
              </a:cxn>
              <a:cxn ang="0">
                <a:pos x="23" y="40"/>
              </a:cxn>
              <a:cxn ang="0">
                <a:pos x="26" y="36"/>
              </a:cxn>
              <a:cxn ang="0">
                <a:pos x="29" y="36"/>
              </a:cxn>
              <a:cxn ang="0">
                <a:pos x="29" y="30"/>
              </a:cxn>
              <a:cxn ang="0">
                <a:pos x="11" y="30"/>
              </a:cxn>
              <a:cxn ang="0">
                <a:pos x="11" y="36"/>
              </a:cxn>
              <a:cxn ang="0">
                <a:pos x="15" y="36"/>
              </a:cxn>
              <a:cxn ang="0">
                <a:pos x="18" y="40"/>
              </a:cxn>
              <a:cxn ang="0">
                <a:pos x="18" y="51"/>
              </a:cxn>
              <a:cxn ang="0">
                <a:pos x="15" y="55"/>
              </a:cxn>
              <a:cxn ang="0">
                <a:pos x="3" y="55"/>
              </a:cxn>
              <a:cxn ang="0">
                <a:pos x="0" y="51"/>
              </a:cxn>
              <a:cxn ang="0">
                <a:pos x="0" y="40"/>
              </a:cxn>
              <a:cxn ang="0">
                <a:pos x="3" y="36"/>
              </a:cxn>
              <a:cxn ang="0">
                <a:pos x="7" y="36"/>
              </a:cxn>
              <a:cxn ang="0">
                <a:pos x="7" y="30"/>
              </a:cxn>
              <a:cxn ang="0">
                <a:pos x="11" y="25"/>
              </a:cxn>
              <a:cxn ang="0">
                <a:pos x="29" y="25"/>
              </a:cxn>
              <a:cxn ang="0">
                <a:pos x="29" y="18"/>
              </a:cxn>
              <a:cxn ang="0">
                <a:pos x="26" y="18"/>
              </a:cxn>
              <a:cxn ang="0">
                <a:pos x="23" y="15"/>
              </a:cxn>
              <a:cxn ang="0">
                <a:pos x="23" y="3"/>
              </a:cxn>
              <a:cxn ang="0">
                <a:pos x="26" y="0"/>
              </a:cxn>
              <a:cxn ang="0">
                <a:pos x="37" y="0"/>
              </a:cxn>
              <a:cxn ang="0">
                <a:pos x="41" y="3"/>
              </a:cxn>
              <a:cxn ang="0">
                <a:pos x="41" y="15"/>
              </a:cxn>
              <a:cxn ang="0">
                <a:pos x="37" y="18"/>
              </a:cxn>
              <a:cxn ang="0">
                <a:pos x="34" y="18"/>
              </a:cxn>
              <a:cxn ang="0">
                <a:pos x="34" y="25"/>
              </a:cxn>
              <a:cxn ang="0">
                <a:pos x="52" y="25"/>
              </a:cxn>
              <a:cxn ang="0">
                <a:pos x="57" y="30"/>
              </a:cxn>
              <a:cxn ang="0">
                <a:pos x="57" y="36"/>
              </a:cxn>
              <a:cxn ang="0">
                <a:pos x="60" y="36"/>
              </a:cxn>
              <a:cxn ang="0">
                <a:pos x="64" y="40"/>
              </a:cxn>
              <a:cxn ang="0">
                <a:pos x="64" y="51"/>
              </a:cxn>
            </a:cxnLst>
            <a:rect l="0" t="0" r="r" b="b"/>
            <a:pathLst>
              <a:path w="64" h="55">
                <a:moveTo>
                  <a:pt x="64" y="51"/>
                </a:moveTo>
                <a:cubicBezTo>
                  <a:pt x="64" y="53"/>
                  <a:pt x="62" y="55"/>
                  <a:pt x="60" y="55"/>
                </a:cubicBezTo>
                <a:cubicBezTo>
                  <a:pt x="49" y="55"/>
                  <a:pt x="49" y="55"/>
                  <a:pt x="49" y="55"/>
                </a:cubicBezTo>
                <a:cubicBezTo>
                  <a:pt x="47" y="55"/>
                  <a:pt x="45" y="53"/>
                  <a:pt x="45" y="51"/>
                </a:cubicBezTo>
                <a:cubicBezTo>
                  <a:pt x="45" y="40"/>
                  <a:pt x="45" y="40"/>
                  <a:pt x="45" y="40"/>
                </a:cubicBezTo>
                <a:cubicBezTo>
                  <a:pt x="45" y="38"/>
                  <a:pt x="47" y="36"/>
                  <a:pt x="49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0"/>
                  <a:pt x="52" y="30"/>
                  <a:pt x="52" y="30"/>
                </a:cubicBezTo>
                <a:cubicBezTo>
                  <a:pt x="34" y="30"/>
                  <a:pt x="34" y="30"/>
                  <a:pt x="34" y="30"/>
                </a:cubicBezTo>
                <a:cubicBezTo>
                  <a:pt x="34" y="36"/>
                  <a:pt x="34" y="36"/>
                  <a:pt x="34" y="36"/>
                </a:cubicBezTo>
                <a:cubicBezTo>
                  <a:pt x="37" y="36"/>
                  <a:pt x="37" y="36"/>
                  <a:pt x="37" y="36"/>
                </a:cubicBezTo>
                <a:cubicBezTo>
                  <a:pt x="39" y="36"/>
                  <a:pt x="41" y="38"/>
                  <a:pt x="41" y="40"/>
                </a:cubicBezTo>
                <a:cubicBezTo>
                  <a:pt x="41" y="51"/>
                  <a:pt x="41" y="51"/>
                  <a:pt x="41" y="51"/>
                </a:cubicBezTo>
                <a:cubicBezTo>
                  <a:pt x="41" y="53"/>
                  <a:pt x="39" y="55"/>
                  <a:pt x="37" y="55"/>
                </a:cubicBezTo>
                <a:cubicBezTo>
                  <a:pt x="26" y="55"/>
                  <a:pt x="26" y="55"/>
                  <a:pt x="26" y="55"/>
                </a:cubicBezTo>
                <a:cubicBezTo>
                  <a:pt x="24" y="55"/>
                  <a:pt x="23" y="53"/>
                  <a:pt x="23" y="51"/>
                </a:cubicBezTo>
                <a:cubicBezTo>
                  <a:pt x="23" y="40"/>
                  <a:pt x="23" y="40"/>
                  <a:pt x="23" y="40"/>
                </a:cubicBezTo>
                <a:cubicBezTo>
                  <a:pt x="23" y="38"/>
                  <a:pt x="24" y="36"/>
                  <a:pt x="26" y="36"/>
                </a:cubicBezTo>
                <a:cubicBezTo>
                  <a:pt x="29" y="36"/>
                  <a:pt x="29" y="36"/>
                  <a:pt x="29" y="36"/>
                </a:cubicBezTo>
                <a:cubicBezTo>
                  <a:pt x="29" y="30"/>
                  <a:pt x="29" y="30"/>
                  <a:pt x="29" y="30"/>
                </a:cubicBezTo>
                <a:cubicBezTo>
                  <a:pt x="11" y="30"/>
                  <a:pt x="11" y="30"/>
                  <a:pt x="11" y="30"/>
                </a:cubicBezTo>
                <a:cubicBezTo>
                  <a:pt x="11" y="36"/>
                  <a:pt x="11" y="36"/>
                  <a:pt x="11" y="36"/>
                </a:cubicBezTo>
                <a:cubicBezTo>
                  <a:pt x="15" y="36"/>
                  <a:pt x="15" y="36"/>
                  <a:pt x="15" y="36"/>
                </a:cubicBezTo>
                <a:cubicBezTo>
                  <a:pt x="17" y="36"/>
                  <a:pt x="18" y="38"/>
                  <a:pt x="18" y="40"/>
                </a:cubicBezTo>
                <a:cubicBezTo>
                  <a:pt x="18" y="51"/>
                  <a:pt x="18" y="51"/>
                  <a:pt x="18" y="51"/>
                </a:cubicBezTo>
                <a:cubicBezTo>
                  <a:pt x="18" y="53"/>
                  <a:pt x="17" y="55"/>
                  <a:pt x="15" y="55"/>
                </a:cubicBezTo>
                <a:cubicBezTo>
                  <a:pt x="3" y="55"/>
                  <a:pt x="3" y="55"/>
                  <a:pt x="3" y="55"/>
                </a:cubicBezTo>
                <a:cubicBezTo>
                  <a:pt x="1" y="55"/>
                  <a:pt x="0" y="53"/>
                  <a:pt x="0" y="51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8"/>
                  <a:pt x="1" y="36"/>
                  <a:pt x="3" y="36"/>
                </a:cubicBezTo>
                <a:cubicBezTo>
                  <a:pt x="7" y="36"/>
                  <a:pt x="7" y="36"/>
                  <a:pt x="7" y="36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27"/>
                  <a:pt x="9" y="25"/>
                  <a:pt x="11" y="25"/>
                </a:cubicBezTo>
                <a:cubicBezTo>
                  <a:pt x="29" y="25"/>
                  <a:pt x="29" y="25"/>
                  <a:pt x="29" y="25"/>
                </a:cubicBezTo>
                <a:cubicBezTo>
                  <a:pt x="29" y="18"/>
                  <a:pt x="29" y="18"/>
                  <a:pt x="29" y="18"/>
                </a:cubicBezTo>
                <a:cubicBezTo>
                  <a:pt x="26" y="18"/>
                  <a:pt x="26" y="18"/>
                  <a:pt x="26" y="18"/>
                </a:cubicBezTo>
                <a:cubicBezTo>
                  <a:pt x="24" y="18"/>
                  <a:pt x="23" y="17"/>
                  <a:pt x="23" y="15"/>
                </a:cubicBezTo>
                <a:cubicBezTo>
                  <a:pt x="23" y="3"/>
                  <a:pt x="23" y="3"/>
                  <a:pt x="23" y="3"/>
                </a:cubicBezTo>
                <a:cubicBezTo>
                  <a:pt x="23" y="1"/>
                  <a:pt x="24" y="0"/>
                  <a:pt x="26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9" y="0"/>
                  <a:pt x="41" y="1"/>
                  <a:pt x="41" y="3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17"/>
                  <a:pt x="39" y="18"/>
                  <a:pt x="37" y="18"/>
                </a:cubicBezTo>
                <a:cubicBezTo>
                  <a:pt x="34" y="18"/>
                  <a:pt x="34" y="18"/>
                  <a:pt x="34" y="18"/>
                </a:cubicBezTo>
                <a:cubicBezTo>
                  <a:pt x="34" y="25"/>
                  <a:pt x="34" y="25"/>
                  <a:pt x="34" y="25"/>
                </a:cubicBezTo>
                <a:cubicBezTo>
                  <a:pt x="52" y="25"/>
                  <a:pt x="52" y="25"/>
                  <a:pt x="52" y="25"/>
                </a:cubicBezTo>
                <a:cubicBezTo>
                  <a:pt x="55" y="25"/>
                  <a:pt x="57" y="27"/>
                  <a:pt x="57" y="30"/>
                </a:cubicBezTo>
                <a:cubicBezTo>
                  <a:pt x="57" y="36"/>
                  <a:pt x="57" y="36"/>
                  <a:pt x="57" y="36"/>
                </a:cubicBezTo>
                <a:cubicBezTo>
                  <a:pt x="60" y="36"/>
                  <a:pt x="60" y="36"/>
                  <a:pt x="60" y="36"/>
                </a:cubicBezTo>
                <a:cubicBezTo>
                  <a:pt x="62" y="36"/>
                  <a:pt x="64" y="38"/>
                  <a:pt x="64" y="40"/>
                </a:cubicBezTo>
                <a:lnTo>
                  <a:pt x="64" y="51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D4D6F03D-691A-46F3-A7F3-73A98664BAAA}"/>
              </a:ext>
            </a:extLst>
          </p:cNvPr>
          <p:cNvSpPr/>
          <p:nvPr/>
        </p:nvSpPr>
        <p:spPr>
          <a:xfrm>
            <a:off x="5019709" y="4374581"/>
            <a:ext cx="785418" cy="785418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dirty="0"/>
          </a:p>
        </p:txBody>
      </p:sp>
      <p:sp>
        <p:nvSpPr>
          <p:cNvPr id="34" name="椭圆 33">
            <a:extLst>
              <a:ext uri="{FF2B5EF4-FFF2-40B4-BE49-F238E27FC236}">
                <a16:creationId xmlns:a16="http://schemas.microsoft.com/office/drawing/2014/main" id="{818573BB-78E7-486A-8AEF-D268EBE2BA11}"/>
              </a:ext>
            </a:extLst>
          </p:cNvPr>
          <p:cNvSpPr/>
          <p:nvPr/>
        </p:nvSpPr>
        <p:spPr>
          <a:xfrm>
            <a:off x="6386872" y="4374581"/>
            <a:ext cx="785418" cy="785418"/>
          </a:xfrm>
          <a:prstGeom prst="ellipse">
            <a:avLst/>
          </a:prstGeom>
          <a:solidFill>
            <a:schemeClr val="bg1">
              <a:lumMod val="95000"/>
            </a:scheme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dirty="0"/>
          </a:p>
        </p:txBody>
      </p:sp>
      <p:sp>
        <p:nvSpPr>
          <p:cNvPr id="35" name="椭圆 34">
            <a:extLst>
              <a:ext uri="{FF2B5EF4-FFF2-40B4-BE49-F238E27FC236}">
                <a16:creationId xmlns:a16="http://schemas.microsoft.com/office/drawing/2014/main" id="{E7E02ED6-2C0A-4C22-A23F-AE4376699BC7}"/>
              </a:ext>
            </a:extLst>
          </p:cNvPr>
          <p:cNvSpPr/>
          <p:nvPr/>
        </p:nvSpPr>
        <p:spPr>
          <a:xfrm>
            <a:off x="5623853" y="4295144"/>
            <a:ext cx="944292" cy="944292"/>
          </a:xfrm>
          <a:prstGeom prst="ellipse">
            <a:avLst/>
          </a:prstGeom>
          <a:solidFill>
            <a:schemeClr val="bg1">
              <a:lumMod val="75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/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AFB1C86E-5398-4C70-98E2-78296E0D2DCD}"/>
              </a:ext>
            </a:extLst>
          </p:cNvPr>
          <p:cNvSpPr/>
          <p:nvPr/>
        </p:nvSpPr>
        <p:spPr bwMode="auto">
          <a:xfrm>
            <a:off x="5885036" y="4572115"/>
            <a:ext cx="421926" cy="390350"/>
          </a:xfrm>
          <a:custGeom>
            <a:avLst/>
            <a:gdLst/>
            <a:ahLst/>
            <a:cxnLst>
              <a:cxn ang="0">
                <a:pos x="39" y="36"/>
              </a:cxn>
              <a:cxn ang="0">
                <a:pos x="41" y="44"/>
              </a:cxn>
              <a:cxn ang="0">
                <a:pos x="35" y="50"/>
              </a:cxn>
              <a:cxn ang="0">
                <a:pos x="27" y="53"/>
              </a:cxn>
              <a:cxn ang="0">
                <a:pos x="18" y="53"/>
              </a:cxn>
              <a:cxn ang="0">
                <a:pos x="11" y="50"/>
              </a:cxn>
              <a:cxn ang="0">
                <a:pos x="4" y="44"/>
              </a:cxn>
              <a:cxn ang="0">
                <a:pos x="6" y="36"/>
              </a:cxn>
              <a:cxn ang="0">
                <a:pos x="0" y="28"/>
              </a:cxn>
              <a:cxn ang="0">
                <a:pos x="7" y="23"/>
              </a:cxn>
              <a:cxn ang="0">
                <a:pos x="4" y="18"/>
              </a:cxn>
              <a:cxn ang="0">
                <a:pos x="15" y="16"/>
              </a:cxn>
              <a:cxn ang="0">
                <a:pos x="19" y="8"/>
              </a:cxn>
              <a:cxn ang="0">
                <a:pos x="28" y="15"/>
              </a:cxn>
              <a:cxn ang="0">
                <a:pos x="35" y="12"/>
              </a:cxn>
              <a:cxn ang="0">
                <a:pos x="41" y="19"/>
              </a:cxn>
              <a:cxn ang="0">
                <a:pos x="45" y="27"/>
              </a:cxn>
              <a:cxn ang="0">
                <a:pos x="23" y="22"/>
              </a:cxn>
              <a:cxn ang="0">
                <a:pos x="32" y="31"/>
              </a:cxn>
              <a:cxn ang="0">
                <a:pos x="63" y="16"/>
              </a:cxn>
              <a:cxn ang="0">
                <a:pos x="64" y="24"/>
              </a:cxn>
              <a:cxn ang="0">
                <a:pos x="55" y="22"/>
              </a:cxn>
              <a:cxn ang="0">
                <a:pos x="46" y="24"/>
              </a:cxn>
              <a:cxn ang="0">
                <a:pos x="46" y="16"/>
              </a:cxn>
              <a:cxn ang="0">
                <a:pos x="46" y="9"/>
              </a:cxn>
              <a:cxn ang="0">
                <a:pos x="46" y="2"/>
              </a:cxn>
              <a:cxn ang="0">
                <a:pos x="55" y="4"/>
              </a:cxn>
              <a:cxn ang="0">
                <a:pos x="59" y="0"/>
              </a:cxn>
              <a:cxn ang="0">
                <a:pos x="62" y="7"/>
              </a:cxn>
              <a:cxn ang="0">
                <a:pos x="68" y="15"/>
              </a:cxn>
              <a:cxn ang="0">
                <a:pos x="62" y="55"/>
              </a:cxn>
              <a:cxn ang="0">
                <a:pos x="59" y="63"/>
              </a:cxn>
              <a:cxn ang="0">
                <a:pos x="54" y="59"/>
              </a:cxn>
              <a:cxn ang="0">
                <a:pos x="45" y="60"/>
              </a:cxn>
              <a:cxn ang="0">
                <a:pos x="41" y="52"/>
              </a:cxn>
              <a:cxn ang="0">
                <a:pos x="47" y="44"/>
              </a:cxn>
              <a:cxn ang="0">
                <a:pos x="50" y="36"/>
              </a:cxn>
              <a:cxn ang="0">
                <a:pos x="56" y="40"/>
              </a:cxn>
              <a:cxn ang="0">
                <a:pos x="64" y="39"/>
              </a:cxn>
              <a:cxn ang="0">
                <a:pos x="63" y="46"/>
              </a:cxn>
              <a:cxn ang="0">
                <a:pos x="55" y="8"/>
              </a:cxn>
              <a:cxn ang="0">
                <a:pos x="59" y="13"/>
              </a:cxn>
              <a:cxn ang="0">
                <a:pos x="50" y="49"/>
              </a:cxn>
              <a:cxn ang="0">
                <a:pos x="55" y="45"/>
              </a:cxn>
            </a:cxnLst>
            <a:rect l="0" t="0" r="r" b="b"/>
            <a:pathLst>
              <a:path w="68" h="63">
                <a:moveTo>
                  <a:pt x="45" y="35"/>
                </a:moveTo>
                <a:cubicBezTo>
                  <a:pt x="45" y="35"/>
                  <a:pt x="45" y="36"/>
                  <a:pt x="45" y="36"/>
                </a:cubicBezTo>
                <a:cubicBezTo>
                  <a:pt x="39" y="36"/>
                  <a:pt x="39" y="36"/>
                  <a:pt x="39" y="36"/>
                </a:cubicBezTo>
                <a:cubicBezTo>
                  <a:pt x="39" y="37"/>
                  <a:pt x="38" y="38"/>
                  <a:pt x="38" y="39"/>
                </a:cubicBezTo>
                <a:cubicBezTo>
                  <a:pt x="39" y="41"/>
                  <a:pt x="40" y="42"/>
                  <a:pt x="41" y="43"/>
                </a:cubicBezTo>
                <a:cubicBezTo>
                  <a:pt x="41" y="43"/>
                  <a:pt x="41" y="44"/>
                  <a:pt x="41" y="44"/>
                </a:cubicBezTo>
                <a:cubicBezTo>
                  <a:pt x="41" y="44"/>
                  <a:pt x="41" y="44"/>
                  <a:pt x="41" y="45"/>
                </a:cubicBezTo>
                <a:cubicBezTo>
                  <a:pt x="40" y="46"/>
                  <a:pt x="36" y="50"/>
                  <a:pt x="35" y="50"/>
                </a:cubicBezTo>
                <a:cubicBezTo>
                  <a:pt x="35" y="50"/>
                  <a:pt x="35" y="50"/>
                  <a:pt x="35" y="50"/>
                </a:cubicBezTo>
                <a:cubicBezTo>
                  <a:pt x="31" y="47"/>
                  <a:pt x="31" y="47"/>
                  <a:pt x="31" y="47"/>
                </a:cubicBezTo>
                <a:cubicBezTo>
                  <a:pt x="30" y="47"/>
                  <a:pt x="29" y="47"/>
                  <a:pt x="28" y="48"/>
                </a:cubicBezTo>
                <a:cubicBezTo>
                  <a:pt x="28" y="49"/>
                  <a:pt x="27" y="51"/>
                  <a:pt x="27" y="53"/>
                </a:cubicBezTo>
                <a:cubicBezTo>
                  <a:pt x="27" y="54"/>
                  <a:pt x="26" y="54"/>
                  <a:pt x="26" y="54"/>
                </a:cubicBezTo>
                <a:cubicBezTo>
                  <a:pt x="19" y="54"/>
                  <a:pt x="19" y="54"/>
                  <a:pt x="19" y="54"/>
                </a:cubicBezTo>
                <a:cubicBezTo>
                  <a:pt x="19" y="54"/>
                  <a:pt x="18" y="54"/>
                  <a:pt x="18" y="53"/>
                </a:cubicBezTo>
                <a:cubicBezTo>
                  <a:pt x="17" y="48"/>
                  <a:pt x="17" y="48"/>
                  <a:pt x="17" y="48"/>
                </a:cubicBezTo>
                <a:cubicBezTo>
                  <a:pt x="16" y="47"/>
                  <a:pt x="16" y="47"/>
                  <a:pt x="15" y="47"/>
                </a:cubicBezTo>
                <a:cubicBezTo>
                  <a:pt x="11" y="50"/>
                  <a:pt x="11" y="50"/>
                  <a:pt x="11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10" y="50"/>
                  <a:pt x="9" y="50"/>
                  <a:pt x="9" y="50"/>
                </a:cubicBezTo>
                <a:cubicBezTo>
                  <a:pt x="8" y="49"/>
                  <a:pt x="4" y="45"/>
                  <a:pt x="4" y="44"/>
                </a:cubicBezTo>
                <a:cubicBezTo>
                  <a:pt x="4" y="44"/>
                  <a:pt x="4" y="44"/>
                  <a:pt x="4" y="43"/>
                </a:cubicBezTo>
                <a:cubicBezTo>
                  <a:pt x="5" y="42"/>
                  <a:pt x="6" y="41"/>
                  <a:pt x="7" y="39"/>
                </a:cubicBezTo>
                <a:cubicBezTo>
                  <a:pt x="7" y="38"/>
                  <a:pt x="6" y="37"/>
                  <a:pt x="6" y="36"/>
                </a:cubicBezTo>
                <a:cubicBezTo>
                  <a:pt x="1" y="35"/>
                  <a:pt x="1" y="35"/>
                  <a:pt x="1" y="35"/>
                </a:cubicBezTo>
                <a:cubicBezTo>
                  <a:pt x="0" y="35"/>
                  <a:pt x="0" y="35"/>
                  <a:pt x="0" y="34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7"/>
                  <a:pt x="0" y="27"/>
                  <a:pt x="1" y="27"/>
                </a:cubicBezTo>
                <a:cubicBezTo>
                  <a:pt x="6" y="26"/>
                  <a:pt x="6" y="26"/>
                  <a:pt x="6" y="26"/>
                </a:cubicBezTo>
                <a:cubicBezTo>
                  <a:pt x="6" y="25"/>
                  <a:pt x="7" y="24"/>
                  <a:pt x="7" y="23"/>
                </a:cubicBezTo>
                <a:cubicBezTo>
                  <a:pt x="6" y="22"/>
                  <a:pt x="5" y="20"/>
                  <a:pt x="4" y="19"/>
                </a:cubicBezTo>
                <a:cubicBezTo>
                  <a:pt x="4" y="19"/>
                  <a:pt x="4" y="19"/>
                  <a:pt x="4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5" y="17"/>
                  <a:pt x="9" y="12"/>
                  <a:pt x="10" y="12"/>
                </a:cubicBezTo>
                <a:cubicBezTo>
                  <a:pt x="10" y="12"/>
                  <a:pt x="10" y="12"/>
                  <a:pt x="11" y="13"/>
                </a:cubicBezTo>
                <a:cubicBezTo>
                  <a:pt x="15" y="16"/>
                  <a:pt x="15" y="16"/>
                  <a:pt x="15" y="16"/>
                </a:cubicBezTo>
                <a:cubicBezTo>
                  <a:pt x="16" y="15"/>
                  <a:pt x="16" y="15"/>
                  <a:pt x="17" y="15"/>
                </a:cubicBezTo>
                <a:cubicBezTo>
                  <a:pt x="18" y="13"/>
                  <a:pt x="18" y="11"/>
                  <a:pt x="18" y="9"/>
                </a:cubicBezTo>
                <a:cubicBezTo>
                  <a:pt x="18" y="9"/>
                  <a:pt x="19" y="8"/>
                  <a:pt x="19" y="8"/>
                </a:cubicBezTo>
                <a:cubicBezTo>
                  <a:pt x="26" y="8"/>
                  <a:pt x="26" y="8"/>
                  <a:pt x="26" y="8"/>
                </a:cubicBezTo>
                <a:cubicBezTo>
                  <a:pt x="26" y="8"/>
                  <a:pt x="27" y="9"/>
                  <a:pt x="27" y="9"/>
                </a:cubicBezTo>
                <a:cubicBezTo>
                  <a:pt x="28" y="15"/>
                  <a:pt x="28" y="15"/>
                  <a:pt x="28" y="15"/>
                </a:cubicBezTo>
                <a:cubicBezTo>
                  <a:pt x="29" y="15"/>
                  <a:pt x="30" y="15"/>
                  <a:pt x="31" y="16"/>
                </a:cubicBezTo>
                <a:cubicBezTo>
                  <a:pt x="35" y="13"/>
                  <a:pt x="35" y="13"/>
                  <a:pt x="35" y="13"/>
                </a:cubicBezTo>
                <a:cubicBezTo>
                  <a:pt x="35" y="12"/>
                  <a:pt x="35" y="12"/>
                  <a:pt x="35" y="12"/>
                </a:cubicBezTo>
                <a:cubicBezTo>
                  <a:pt x="36" y="12"/>
                  <a:pt x="36" y="12"/>
                  <a:pt x="36" y="13"/>
                </a:cubicBezTo>
                <a:cubicBezTo>
                  <a:pt x="37" y="13"/>
                  <a:pt x="41" y="17"/>
                  <a:pt x="41" y="18"/>
                </a:cubicBezTo>
                <a:cubicBezTo>
                  <a:pt x="41" y="19"/>
                  <a:pt x="41" y="19"/>
                  <a:pt x="41" y="19"/>
                </a:cubicBezTo>
                <a:cubicBezTo>
                  <a:pt x="40" y="20"/>
                  <a:pt x="39" y="22"/>
                  <a:pt x="38" y="23"/>
                </a:cubicBezTo>
                <a:cubicBezTo>
                  <a:pt x="38" y="24"/>
                  <a:pt x="39" y="25"/>
                  <a:pt x="39" y="26"/>
                </a:cubicBezTo>
                <a:cubicBezTo>
                  <a:pt x="45" y="27"/>
                  <a:pt x="45" y="27"/>
                  <a:pt x="45" y="27"/>
                </a:cubicBezTo>
                <a:cubicBezTo>
                  <a:pt x="45" y="27"/>
                  <a:pt x="45" y="27"/>
                  <a:pt x="45" y="28"/>
                </a:cubicBezTo>
                <a:lnTo>
                  <a:pt x="45" y="35"/>
                </a:lnTo>
                <a:close/>
                <a:moveTo>
                  <a:pt x="23" y="22"/>
                </a:moveTo>
                <a:cubicBezTo>
                  <a:pt x="18" y="22"/>
                  <a:pt x="13" y="26"/>
                  <a:pt x="13" y="31"/>
                </a:cubicBezTo>
                <a:cubicBezTo>
                  <a:pt x="13" y="36"/>
                  <a:pt x="18" y="40"/>
                  <a:pt x="23" y="40"/>
                </a:cubicBezTo>
                <a:cubicBezTo>
                  <a:pt x="28" y="40"/>
                  <a:pt x="32" y="36"/>
                  <a:pt x="32" y="31"/>
                </a:cubicBezTo>
                <a:cubicBezTo>
                  <a:pt x="32" y="26"/>
                  <a:pt x="28" y="22"/>
                  <a:pt x="23" y="22"/>
                </a:cubicBezTo>
                <a:close/>
                <a:moveTo>
                  <a:pt x="68" y="15"/>
                </a:moveTo>
                <a:cubicBezTo>
                  <a:pt x="68" y="16"/>
                  <a:pt x="64" y="16"/>
                  <a:pt x="63" y="16"/>
                </a:cubicBezTo>
                <a:cubicBezTo>
                  <a:pt x="63" y="17"/>
                  <a:pt x="62" y="18"/>
                  <a:pt x="62" y="18"/>
                </a:cubicBezTo>
                <a:cubicBezTo>
                  <a:pt x="62" y="19"/>
                  <a:pt x="64" y="23"/>
                  <a:pt x="64" y="23"/>
                </a:cubicBezTo>
                <a:cubicBezTo>
                  <a:pt x="64" y="23"/>
                  <a:pt x="64" y="23"/>
                  <a:pt x="64" y="24"/>
                </a:cubicBezTo>
                <a:cubicBezTo>
                  <a:pt x="63" y="24"/>
                  <a:pt x="59" y="26"/>
                  <a:pt x="59" y="26"/>
                </a:cubicBezTo>
                <a:cubicBezTo>
                  <a:pt x="59" y="26"/>
                  <a:pt x="56" y="22"/>
                  <a:pt x="56" y="22"/>
                </a:cubicBezTo>
                <a:cubicBezTo>
                  <a:pt x="55" y="22"/>
                  <a:pt x="55" y="22"/>
                  <a:pt x="55" y="22"/>
                </a:cubicBezTo>
                <a:cubicBezTo>
                  <a:pt x="54" y="22"/>
                  <a:pt x="54" y="22"/>
                  <a:pt x="54" y="22"/>
                </a:cubicBezTo>
                <a:cubicBezTo>
                  <a:pt x="53" y="22"/>
                  <a:pt x="50" y="26"/>
                  <a:pt x="50" y="26"/>
                </a:cubicBezTo>
                <a:cubicBezTo>
                  <a:pt x="50" y="26"/>
                  <a:pt x="46" y="24"/>
                  <a:pt x="46" y="24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7" y="19"/>
                  <a:pt x="47" y="18"/>
                </a:cubicBezTo>
                <a:cubicBezTo>
                  <a:pt x="47" y="18"/>
                  <a:pt x="46" y="17"/>
                  <a:pt x="46" y="16"/>
                </a:cubicBezTo>
                <a:cubicBezTo>
                  <a:pt x="45" y="16"/>
                  <a:pt x="41" y="16"/>
                  <a:pt x="41" y="15"/>
                </a:cubicBezTo>
                <a:cubicBezTo>
                  <a:pt x="41" y="10"/>
                  <a:pt x="41" y="10"/>
                  <a:pt x="41" y="10"/>
                </a:cubicBezTo>
                <a:cubicBezTo>
                  <a:pt x="41" y="10"/>
                  <a:pt x="45" y="9"/>
                  <a:pt x="46" y="9"/>
                </a:cubicBezTo>
                <a:cubicBezTo>
                  <a:pt x="46" y="9"/>
                  <a:pt x="47" y="8"/>
                  <a:pt x="47" y="7"/>
                </a:cubicBezTo>
                <a:cubicBezTo>
                  <a:pt x="47" y="7"/>
                  <a:pt x="45" y="3"/>
                  <a:pt x="45" y="2"/>
                </a:cubicBezTo>
                <a:cubicBezTo>
                  <a:pt x="45" y="2"/>
                  <a:pt x="45" y="2"/>
                  <a:pt x="46" y="2"/>
                </a:cubicBezTo>
                <a:cubicBezTo>
                  <a:pt x="46" y="2"/>
                  <a:pt x="50" y="0"/>
                  <a:pt x="50" y="0"/>
                </a:cubicBezTo>
                <a:cubicBezTo>
                  <a:pt x="50" y="0"/>
                  <a:pt x="53" y="3"/>
                  <a:pt x="54" y="4"/>
                </a:cubicBezTo>
                <a:cubicBezTo>
                  <a:pt x="54" y="4"/>
                  <a:pt x="54" y="4"/>
                  <a:pt x="55" y="4"/>
                </a:cubicBezTo>
                <a:cubicBezTo>
                  <a:pt x="55" y="4"/>
                  <a:pt x="55" y="4"/>
                  <a:pt x="56" y="4"/>
                </a:cubicBezTo>
                <a:cubicBezTo>
                  <a:pt x="57" y="2"/>
                  <a:pt x="58" y="1"/>
                  <a:pt x="59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59" y="0"/>
                  <a:pt x="63" y="2"/>
                  <a:pt x="64" y="2"/>
                </a:cubicBezTo>
                <a:cubicBezTo>
                  <a:pt x="64" y="2"/>
                  <a:pt x="64" y="2"/>
                  <a:pt x="64" y="2"/>
                </a:cubicBezTo>
                <a:cubicBezTo>
                  <a:pt x="64" y="3"/>
                  <a:pt x="62" y="7"/>
                  <a:pt x="62" y="7"/>
                </a:cubicBezTo>
                <a:cubicBezTo>
                  <a:pt x="62" y="8"/>
                  <a:pt x="63" y="9"/>
                  <a:pt x="63" y="9"/>
                </a:cubicBezTo>
                <a:cubicBezTo>
                  <a:pt x="64" y="9"/>
                  <a:pt x="68" y="10"/>
                  <a:pt x="68" y="10"/>
                </a:cubicBezTo>
                <a:lnTo>
                  <a:pt x="68" y="15"/>
                </a:lnTo>
                <a:close/>
                <a:moveTo>
                  <a:pt x="68" y="52"/>
                </a:moveTo>
                <a:cubicBezTo>
                  <a:pt x="68" y="52"/>
                  <a:pt x="64" y="53"/>
                  <a:pt x="63" y="53"/>
                </a:cubicBezTo>
                <a:cubicBezTo>
                  <a:pt x="63" y="54"/>
                  <a:pt x="62" y="54"/>
                  <a:pt x="62" y="55"/>
                </a:cubicBezTo>
                <a:cubicBezTo>
                  <a:pt x="62" y="56"/>
                  <a:pt x="64" y="59"/>
                  <a:pt x="64" y="60"/>
                </a:cubicBezTo>
                <a:cubicBezTo>
                  <a:pt x="64" y="60"/>
                  <a:pt x="64" y="60"/>
                  <a:pt x="64" y="60"/>
                </a:cubicBezTo>
                <a:cubicBezTo>
                  <a:pt x="63" y="60"/>
                  <a:pt x="59" y="63"/>
                  <a:pt x="59" y="63"/>
                </a:cubicBezTo>
                <a:cubicBezTo>
                  <a:pt x="59" y="63"/>
                  <a:pt x="56" y="59"/>
                  <a:pt x="56" y="59"/>
                </a:cubicBezTo>
                <a:cubicBezTo>
                  <a:pt x="55" y="59"/>
                  <a:pt x="55" y="59"/>
                  <a:pt x="55" y="59"/>
                </a:cubicBezTo>
                <a:cubicBezTo>
                  <a:pt x="54" y="59"/>
                  <a:pt x="54" y="59"/>
                  <a:pt x="54" y="59"/>
                </a:cubicBezTo>
                <a:cubicBezTo>
                  <a:pt x="53" y="59"/>
                  <a:pt x="50" y="63"/>
                  <a:pt x="50" y="63"/>
                </a:cubicBezTo>
                <a:cubicBezTo>
                  <a:pt x="50" y="63"/>
                  <a:pt x="46" y="60"/>
                  <a:pt x="46" y="60"/>
                </a:cubicBezTo>
                <a:cubicBezTo>
                  <a:pt x="45" y="60"/>
                  <a:pt x="45" y="60"/>
                  <a:pt x="45" y="60"/>
                </a:cubicBezTo>
                <a:cubicBezTo>
                  <a:pt x="45" y="59"/>
                  <a:pt x="47" y="56"/>
                  <a:pt x="47" y="55"/>
                </a:cubicBezTo>
                <a:cubicBezTo>
                  <a:pt x="47" y="54"/>
                  <a:pt x="46" y="54"/>
                  <a:pt x="46" y="53"/>
                </a:cubicBezTo>
                <a:cubicBezTo>
                  <a:pt x="45" y="53"/>
                  <a:pt x="41" y="52"/>
                  <a:pt x="41" y="52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46"/>
                  <a:pt x="45" y="46"/>
                  <a:pt x="46" y="46"/>
                </a:cubicBezTo>
                <a:cubicBezTo>
                  <a:pt x="46" y="45"/>
                  <a:pt x="47" y="45"/>
                  <a:pt x="47" y="44"/>
                </a:cubicBezTo>
                <a:cubicBezTo>
                  <a:pt x="47" y="43"/>
                  <a:pt x="45" y="40"/>
                  <a:pt x="45" y="39"/>
                </a:cubicBezTo>
                <a:cubicBezTo>
                  <a:pt x="45" y="39"/>
                  <a:pt x="45" y="39"/>
                  <a:pt x="46" y="39"/>
                </a:cubicBezTo>
                <a:cubicBezTo>
                  <a:pt x="46" y="39"/>
                  <a:pt x="50" y="36"/>
                  <a:pt x="50" y="36"/>
                </a:cubicBezTo>
                <a:cubicBezTo>
                  <a:pt x="50" y="36"/>
                  <a:pt x="53" y="40"/>
                  <a:pt x="54" y="40"/>
                </a:cubicBezTo>
                <a:cubicBezTo>
                  <a:pt x="54" y="40"/>
                  <a:pt x="54" y="40"/>
                  <a:pt x="55" y="40"/>
                </a:cubicBezTo>
                <a:cubicBezTo>
                  <a:pt x="55" y="40"/>
                  <a:pt x="55" y="40"/>
                  <a:pt x="56" y="40"/>
                </a:cubicBezTo>
                <a:cubicBezTo>
                  <a:pt x="57" y="39"/>
                  <a:pt x="58" y="38"/>
                  <a:pt x="59" y="36"/>
                </a:cubicBezTo>
                <a:cubicBezTo>
                  <a:pt x="59" y="36"/>
                  <a:pt x="59" y="36"/>
                  <a:pt x="59" y="36"/>
                </a:cubicBezTo>
                <a:cubicBezTo>
                  <a:pt x="59" y="36"/>
                  <a:pt x="63" y="39"/>
                  <a:pt x="64" y="39"/>
                </a:cubicBezTo>
                <a:cubicBezTo>
                  <a:pt x="64" y="39"/>
                  <a:pt x="64" y="39"/>
                  <a:pt x="64" y="39"/>
                </a:cubicBezTo>
                <a:cubicBezTo>
                  <a:pt x="64" y="40"/>
                  <a:pt x="62" y="43"/>
                  <a:pt x="62" y="44"/>
                </a:cubicBezTo>
                <a:cubicBezTo>
                  <a:pt x="62" y="45"/>
                  <a:pt x="63" y="45"/>
                  <a:pt x="63" y="46"/>
                </a:cubicBezTo>
                <a:cubicBezTo>
                  <a:pt x="64" y="46"/>
                  <a:pt x="68" y="46"/>
                  <a:pt x="68" y="47"/>
                </a:cubicBezTo>
                <a:lnTo>
                  <a:pt x="68" y="52"/>
                </a:lnTo>
                <a:close/>
                <a:moveTo>
                  <a:pt x="55" y="8"/>
                </a:moveTo>
                <a:cubicBezTo>
                  <a:pt x="52" y="8"/>
                  <a:pt x="50" y="10"/>
                  <a:pt x="50" y="13"/>
                </a:cubicBezTo>
                <a:cubicBezTo>
                  <a:pt x="50" y="15"/>
                  <a:pt x="52" y="17"/>
                  <a:pt x="55" y="17"/>
                </a:cubicBezTo>
                <a:cubicBezTo>
                  <a:pt x="57" y="17"/>
                  <a:pt x="59" y="15"/>
                  <a:pt x="59" y="13"/>
                </a:cubicBezTo>
                <a:cubicBezTo>
                  <a:pt x="59" y="10"/>
                  <a:pt x="57" y="8"/>
                  <a:pt x="55" y="8"/>
                </a:cubicBezTo>
                <a:close/>
                <a:moveTo>
                  <a:pt x="55" y="45"/>
                </a:moveTo>
                <a:cubicBezTo>
                  <a:pt x="52" y="45"/>
                  <a:pt x="50" y="47"/>
                  <a:pt x="50" y="49"/>
                </a:cubicBezTo>
                <a:cubicBezTo>
                  <a:pt x="50" y="52"/>
                  <a:pt x="52" y="54"/>
                  <a:pt x="55" y="54"/>
                </a:cubicBezTo>
                <a:cubicBezTo>
                  <a:pt x="57" y="54"/>
                  <a:pt x="59" y="52"/>
                  <a:pt x="59" y="49"/>
                </a:cubicBezTo>
                <a:cubicBezTo>
                  <a:pt x="59" y="47"/>
                  <a:pt x="57" y="45"/>
                  <a:pt x="55" y="45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9525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/>
          </a:p>
        </p:txBody>
      </p: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9E2D43EC-448F-4EDC-8741-71B1CFCE5F80}"/>
              </a:ext>
            </a:extLst>
          </p:cNvPr>
          <p:cNvCxnSpPr/>
          <p:nvPr/>
        </p:nvCxnSpPr>
        <p:spPr>
          <a:xfrm flipH="1">
            <a:off x="669925" y="5159999"/>
            <a:ext cx="401637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矩形 37">
            <a:extLst>
              <a:ext uri="{FF2B5EF4-FFF2-40B4-BE49-F238E27FC236}">
                <a16:creationId xmlns:a16="http://schemas.microsoft.com/office/drawing/2014/main" id="{87EB3514-D7F5-4C66-B77B-52D91FCE33B1}"/>
              </a:ext>
            </a:extLst>
          </p:cNvPr>
          <p:cNvSpPr/>
          <p:nvPr/>
        </p:nvSpPr>
        <p:spPr bwMode="auto">
          <a:xfrm>
            <a:off x="673100" y="3024456"/>
            <a:ext cx="3827879" cy="576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>
              <a:lnSpc>
                <a:spcPct val="12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6FA8394A-C750-42B5-8172-8693CBBD3803}"/>
              </a:ext>
            </a:extLst>
          </p:cNvPr>
          <p:cNvSpPr txBox="1"/>
          <p:nvPr/>
        </p:nvSpPr>
        <p:spPr bwMode="auto">
          <a:xfrm>
            <a:off x="673100" y="2293280"/>
            <a:ext cx="3827879" cy="576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400" b="1" dirty="0"/>
              <a:t>Text here</a:t>
            </a: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F8AADE52-52F9-468C-AD45-0D2AC32F2E3D}"/>
              </a:ext>
            </a:extLst>
          </p:cNvPr>
          <p:cNvSpPr/>
          <p:nvPr/>
        </p:nvSpPr>
        <p:spPr bwMode="auto">
          <a:xfrm>
            <a:off x="673100" y="3736304"/>
            <a:ext cx="3827879" cy="576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>
              <a:lnSpc>
                <a:spcPct val="12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6FE53ADA-1FC0-4A19-9091-EB2B1FBC2E2A}"/>
              </a:ext>
            </a:extLst>
          </p:cNvPr>
          <p:cNvSpPr/>
          <p:nvPr/>
        </p:nvSpPr>
        <p:spPr bwMode="auto">
          <a:xfrm>
            <a:off x="673100" y="4448152"/>
            <a:ext cx="3827879" cy="576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>
              <a:lnSpc>
                <a:spcPct val="120000"/>
              </a:lnSpc>
            </a:pPr>
            <a:r>
              <a:rPr lang="en-US" altLang="zh-CN" sz="1100" dirty="0"/>
              <a:t>……</a:t>
            </a:r>
          </a:p>
        </p:txBody>
      </p:sp>
      <p:cxnSp>
        <p:nvCxnSpPr>
          <p:cNvPr id="42" name="直接连接符 41">
            <a:extLst>
              <a:ext uri="{FF2B5EF4-FFF2-40B4-BE49-F238E27FC236}">
                <a16:creationId xmlns:a16="http://schemas.microsoft.com/office/drawing/2014/main" id="{C8C694E9-7937-4BEA-8F5D-079DA669EDF3}"/>
              </a:ext>
            </a:extLst>
          </p:cNvPr>
          <p:cNvCxnSpPr/>
          <p:nvPr/>
        </p:nvCxnSpPr>
        <p:spPr>
          <a:xfrm flipH="1">
            <a:off x="7502525" y="3997019"/>
            <a:ext cx="401637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矩形 42">
            <a:extLst>
              <a:ext uri="{FF2B5EF4-FFF2-40B4-BE49-F238E27FC236}">
                <a16:creationId xmlns:a16="http://schemas.microsoft.com/office/drawing/2014/main" id="{94111B02-18B8-4347-9883-1E9C26FA0072}"/>
              </a:ext>
            </a:extLst>
          </p:cNvPr>
          <p:cNvSpPr/>
          <p:nvPr/>
        </p:nvSpPr>
        <p:spPr bwMode="auto">
          <a:xfrm>
            <a:off x="7691020" y="1861476"/>
            <a:ext cx="3827879" cy="576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2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r">
              <a:lnSpc>
                <a:spcPct val="12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AC1B948A-23EB-4744-9265-F5F5909164E3}"/>
              </a:ext>
            </a:extLst>
          </p:cNvPr>
          <p:cNvSpPr txBox="1"/>
          <p:nvPr/>
        </p:nvSpPr>
        <p:spPr bwMode="auto">
          <a:xfrm>
            <a:off x="7691020" y="1130300"/>
            <a:ext cx="3827879" cy="576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400" b="1" dirty="0"/>
              <a:t>Text here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7E51A7E8-625F-4AF1-843A-A009A8FE322E}"/>
              </a:ext>
            </a:extLst>
          </p:cNvPr>
          <p:cNvSpPr/>
          <p:nvPr/>
        </p:nvSpPr>
        <p:spPr bwMode="auto">
          <a:xfrm>
            <a:off x="7691020" y="2573324"/>
            <a:ext cx="3827879" cy="576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2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r">
              <a:lnSpc>
                <a:spcPct val="120000"/>
              </a:lnSpc>
            </a:pPr>
            <a:r>
              <a:rPr lang="en-US" altLang="zh-CN" sz="1100" dirty="0"/>
              <a:t>……</a:t>
            </a: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DDB612E2-458A-4E15-9A48-E97C3C8C589B}"/>
              </a:ext>
            </a:extLst>
          </p:cNvPr>
          <p:cNvSpPr/>
          <p:nvPr/>
        </p:nvSpPr>
        <p:spPr bwMode="auto">
          <a:xfrm>
            <a:off x="7691020" y="3285172"/>
            <a:ext cx="3827879" cy="576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20000"/>
              </a:lnSpc>
            </a:pPr>
            <a:r>
              <a:rPr lang="en-US" altLang="zh-CN" sz="1100" dirty="0"/>
              <a:t>Copy paste fonts. Choose the only option to retain text.</a:t>
            </a:r>
          </a:p>
          <a:p>
            <a:pPr algn="r">
              <a:lnSpc>
                <a:spcPct val="120000"/>
              </a:lnSpc>
            </a:pPr>
            <a:r>
              <a:rPr lang="en-US" altLang="zh-CN" sz="1100" dirty="0"/>
              <a:t>……</a:t>
            </a:r>
          </a:p>
        </p:txBody>
      </p:sp>
    </p:spTree>
    <p:extLst>
      <p:ext uri="{BB962C8B-B14F-4D97-AF65-F5344CB8AC3E}">
        <p14:creationId xmlns:p14="http://schemas.microsoft.com/office/powerpoint/2010/main" val="360859430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/>
              <a:t>Thanks</a:t>
            </a:r>
            <a:br>
              <a:rPr lang="en-US" altLang="zh-CN"/>
            </a:br>
            <a:r>
              <a:rPr lang="en-US" altLang="zh-CN"/>
              <a:t>And Your Slogan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/>
              <a:t>Speaker name and title</a:t>
            </a:r>
            <a:endParaRPr lang="en-US" altLang="zh-CN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5BED68F7-B781-48F4-81BA-78B5D3F275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BBA0EF1-4841-4835-9F11-D0AF2DC687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F1EAC61-8884-4037-AFD7-8DCBAEE4AF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sp>
        <p:nvSpPr>
          <p:cNvPr id="24" name="任意多边形: 形状 23"/>
          <p:cNvSpPr/>
          <p:nvPr/>
        </p:nvSpPr>
        <p:spPr bwMode="auto">
          <a:xfrm>
            <a:off x="5671272" y="4674989"/>
            <a:ext cx="230034" cy="888009"/>
          </a:xfrm>
          <a:custGeom>
            <a:avLst/>
            <a:gdLst>
              <a:gd name="T0" fmla="*/ 76 w 76"/>
              <a:gd name="T1" fmla="*/ 292 h 292"/>
              <a:gd name="T2" fmla="*/ 53 w 76"/>
              <a:gd name="T3" fmla="*/ 292 h 292"/>
              <a:gd name="T4" fmla="*/ 0 w 76"/>
              <a:gd name="T5" fmla="*/ 10 h 292"/>
              <a:gd name="T6" fmla="*/ 21 w 76"/>
              <a:gd name="T7" fmla="*/ 0 h 292"/>
              <a:gd name="T8" fmla="*/ 76 w 76"/>
              <a:gd name="T9" fmla="*/ 292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" h="292">
                <a:moveTo>
                  <a:pt x="76" y="292"/>
                </a:moveTo>
                <a:cubicBezTo>
                  <a:pt x="53" y="292"/>
                  <a:pt x="53" y="292"/>
                  <a:pt x="53" y="292"/>
                </a:cubicBezTo>
                <a:cubicBezTo>
                  <a:pt x="53" y="118"/>
                  <a:pt x="1" y="11"/>
                  <a:pt x="0" y="10"/>
                </a:cubicBezTo>
                <a:cubicBezTo>
                  <a:pt x="21" y="0"/>
                  <a:pt x="21" y="0"/>
                  <a:pt x="21" y="0"/>
                </a:cubicBezTo>
                <a:cubicBezTo>
                  <a:pt x="24" y="4"/>
                  <a:pt x="76" y="112"/>
                  <a:pt x="76" y="29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25" name="任意多边形: 形状 24"/>
          <p:cNvSpPr/>
          <p:nvPr/>
        </p:nvSpPr>
        <p:spPr bwMode="auto">
          <a:xfrm>
            <a:off x="6123630" y="4648003"/>
            <a:ext cx="231319" cy="888009"/>
          </a:xfrm>
          <a:custGeom>
            <a:avLst/>
            <a:gdLst>
              <a:gd name="T0" fmla="*/ 24 w 76"/>
              <a:gd name="T1" fmla="*/ 292 h 292"/>
              <a:gd name="T2" fmla="*/ 0 w 76"/>
              <a:gd name="T3" fmla="*/ 292 h 292"/>
              <a:gd name="T4" fmla="*/ 55 w 76"/>
              <a:gd name="T5" fmla="*/ 0 h 292"/>
              <a:gd name="T6" fmla="*/ 76 w 76"/>
              <a:gd name="T7" fmla="*/ 11 h 292"/>
              <a:gd name="T8" fmla="*/ 66 w 76"/>
              <a:gd name="T9" fmla="*/ 6 h 292"/>
              <a:gd name="T10" fmla="*/ 76 w 76"/>
              <a:gd name="T11" fmla="*/ 11 h 292"/>
              <a:gd name="T12" fmla="*/ 24 w 76"/>
              <a:gd name="T13" fmla="*/ 292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6" h="292">
                <a:moveTo>
                  <a:pt x="24" y="292"/>
                </a:moveTo>
                <a:cubicBezTo>
                  <a:pt x="0" y="292"/>
                  <a:pt x="0" y="292"/>
                  <a:pt x="0" y="292"/>
                </a:cubicBezTo>
                <a:cubicBezTo>
                  <a:pt x="0" y="113"/>
                  <a:pt x="53" y="5"/>
                  <a:pt x="55" y="0"/>
                </a:cubicBezTo>
                <a:cubicBezTo>
                  <a:pt x="76" y="11"/>
                  <a:pt x="76" y="11"/>
                  <a:pt x="76" y="11"/>
                </a:cubicBezTo>
                <a:cubicBezTo>
                  <a:pt x="66" y="6"/>
                  <a:pt x="66" y="6"/>
                  <a:pt x="66" y="6"/>
                </a:cubicBezTo>
                <a:cubicBezTo>
                  <a:pt x="76" y="11"/>
                  <a:pt x="76" y="11"/>
                  <a:pt x="76" y="11"/>
                </a:cubicBezTo>
                <a:cubicBezTo>
                  <a:pt x="76" y="12"/>
                  <a:pt x="24" y="119"/>
                  <a:pt x="24" y="29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26" name="任意多边形: 形状 25"/>
          <p:cNvSpPr/>
          <p:nvPr/>
        </p:nvSpPr>
        <p:spPr bwMode="auto">
          <a:xfrm>
            <a:off x="6056805" y="1899158"/>
            <a:ext cx="1252979" cy="1252979"/>
          </a:xfrm>
          <a:custGeom>
            <a:avLst/>
            <a:gdLst>
              <a:gd name="T0" fmla="*/ 52 w 412"/>
              <a:gd name="T1" fmla="*/ 112 h 412"/>
              <a:gd name="T2" fmla="*/ 112 w 412"/>
              <a:gd name="T3" fmla="*/ 361 h 412"/>
              <a:gd name="T4" fmla="*/ 360 w 412"/>
              <a:gd name="T5" fmla="*/ 300 h 412"/>
              <a:gd name="T6" fmla="*/ 300 w 412"/>
              <a:gd name="T7" fmla="*/ 52 h 412"/>
              <a:gd name="T8" fmla="*/ 52 w 412"/>
              <a:gd name="T9" fmla="*/ 112 h 4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2" h="412">
                <a:moveTo>
                  <a:pt x="52" y="112"/>
                </a:moveTo>
                <a:cubicBezTo>
                  <a:pt x="0" y="198"/>
                  <a:pt x="27" y="309"/>
                  <a:pt x="112" y="361"/>
                </a:cubicBezTo>
                <a:cubicBezTo>
                  <a:pt x="197" y="412"/>
                  <a:pt x="308" y="385"/>
                  <a:pt x="360" y="300"/>
                </a:cubicBezTo>
                <a:cubicBezTo>
                  <a:pt x="412" y="215"/>
                  <a:pt x="385" y="104"/>
                  <a:pt x="300" y="52"/>
                </a:cubicBezTo>
                <a:cubicBezTo>
                  <a:pt x="214" y="0"/>
                  <a:pt x="103" y="27"/>
                  <a:pt x="52" y="11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27" name="任意多边形: 形状 26"/>
          <p:cNvSpPr/>
          <p:nvPr/>
        </p:nvSpPr>
        <p:spPr bwMode="auto">
          <a:xfrm>
            <a:off x="5749665" y="1592018"/>
            <a:ext cx="1869831" cy="1863405"/>
          </a:xfrm>
          <a:custGeom>
            <a:avLst/>
            <a:gdLst>
              <a:gd name="T0" fmla="*/ 109 w 615"/>
              <a:gd name="T1" fmla="*/ 156 h 613"/>
              <a:gd name="T2" fmla="*/ 50 w 615"/>
              <a:gd name="T3" fmla="*/ 137 h 613"/>
              <a:gd name="T4" fmla="*/ 70 w 615"/>
              <a:gd name="T5" fmla="*/ 231 h 613"/>
              <a:gd name="T6" fmla="*/ 59 w 615"/>
              <a:gd name="T7" fmla="*/ 270 h 613"/>
              <a:gd name="T8" fmla="*/ 1 w 615"/>
              <a:gd name="T9" fmla="*/ 344 h 613"/>
              <a:gd name="T10" fmla="*/ 73 w 615"/>
              <a:gd name="T11" fmla="*/ 393 h 613"/>
              <a:gd name="T12" fmla="*/ 26 w 615"/>
              <a:gd name="T13" fmla="*/ 432 h 613"/>
              <a:gd name="T14" fmla="*/ 116 w 615"/>
              <a:gd name="T15" fmla="*/ 466 h 613"/>
              <a:gd name="T16" fmla="*/ 144 w 615"/>
              <a:gd name="T17" fmla="*/ 496 h 613"/>
              <a:gd name="T18" fmla="*/ 175 w 615"/>
              <a:gd name="T19" fmla="*/ 583 h 613"/>
              <a:gd name="T20" fmla="*/ 267 w 615"/>
              <a:gd name="T21" fmla="*/ 553 h 613"/>
              <a:gd name="T22" fmla="*/ 277 w 615"/>
              <a:gd name="T23" fmla="*/ 613 h 613"/>
              <a:gd name="T24" fmla="*/ 351 w 615"/>
              <a:gd name="T25" fmla="*/ 552 h 613"/>
              <a:gd name="T26" fmla="*/ 409 w 615"/>
              <a:gd name="T27" fmla="*/ 536 h 613"/>
              <a:gd name="T28" fmla="*/ 503 w 615"/>
              <a:gd name="T29" fmla="*/ 545 h 613"/>
              <a:gd name="T30" fmla="*/ 479 w 615"/>
              <a:gd name="T31" fmla="*/ 487 h 613"/>
              <a:gd name="T32" fmla="*/ 507 w 615"/>
              <a:gd name="T33" fmla="*/ 458 h 613"/>
              <a:gd name="T34" fmla="*/ 593 w 615"/>
              <a:gd name="T35" fmla="*/ 421 h 613"/>
              <a:gd name="T36" fmla="*/ 544 w 615"/>
              <a:gd name="T37" fmla="*/ 382 h 613"/>
              <a:gd name="T38" fmla="*/ 555 w 615"/>
              <a:gd name="T39" fmla="*/ 344 h 613"/>
              <a:gd name="T40" fmla="*/ 613 w 615"/>
              <a:gd name="T41" fmla="*/ 270 h 613"/>
              <a:gd name="T42" fmla="*/ 551 w 615"/>
              <a:gd name="T43" fmla="*/ 259 h 613"/>
              <a:gd name="T44" fmla="*/ 542 w 615"/>
              <a:gd name="T45" fmla="*/ 220 h 613"/>
              <a:gd name="T46" fmla="*/ 558 w 615"/>
              <a:gd name="T47" fmla="*/ 127 h 613"/>
              <a:gd name="T48" fmla="*/ 494 w 615"/>
              <a:gd name="T49" fmla="*/ 145 h 613"/>
              <a:gd name="T50" fmla="*/ 464 w 615"/>
              <a:gd name="T51" fmla="*/ 113 h 613"/>
              <a:gd name="T52" fmla="*/ 437 w 615"/>
              <a:gd name="T53" fmla="*/ 35 h 613"/>
              <a:gd name="T54" fmla="*/ 397 w 615"/>
              <a:gd name="T55" fmla="*/ 77 h 613"/>
              <a:gd name="T56" fmla="*/ 348 w 615"/>
              <a:gd name="T57" fmla="*/ 60 h 613"/>
              <a:gd name="T58" fmla="*/ 275 w 615"/>
              <a:gd name="T59" fmla="*/ 0 h 613"/>
              <a:gd name="T60" fmla="*/ 264 w 615"/>
              <a:gd name="T61" fmla="*/ 62 h 613"/>
              <a:gd name="T62" fmla="*/ 205 w 615"/>
              <a:gd name="T63" fmla="*/ 78 h 613"/>
              <a:gd name="T64" fmla="*/ 112 w 615"/>
              <a:gd name="T65" fmla="*/ 69 h 613"/>
              <a:gd name="T66" fmla="*/ 414 w 615"/>
              <a:gd name="T67" fmla="*/ 131 h 613"/>
              <a:gd name="T68" fmla="*/ 200 w 615"/>
              <a:gd name="T69" fmla="*/ 484 h 613"/>
              <a:gd name="T70" fmla="*/ 414 w 615"/>
              <a:gd name="T71" fmla="*/ 131 h 6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15" h="613">
                <a:moveTo>
                  <a:pt x="136" y="126"/>
                </a:moveTo>
                <a:cubicBezTo>
                  <a:pt x="126" y="135"/>
                  <a:pt x="117" y="145"/>
                  <a:pt x="109" y="156"/>
                </a:cubicBezTo>
                <a:cubicBezTo>
                  <a:pt x="108" y="155"/>
                  <a:pt x="108" y="155"/>
                  <a:pt x="108" y="155"/>
                </a:cubicBezTo>
                <a:cubicBezTo>
                  <a:pt x="50" y="137"/>
                  <a:pt x="50" y="137"/>
                  <a:pt x="50" y="137"/>
                </a:cubicBezTo>
                <a:cubicBezTo>
                  <a:pt x="21" y="192"/>
                  <a:pt x="21" y="192"/>
                  <a:pt x="21" y="192"/>
                </a:cubicBezTo>
                <a:cubicBezTo>
                  <a:pt x="70" y="231"/>
                  <a:pt x="70" y="231"/>
                  <a:pt x="70" y="231"/>
                </a:cubicBezTo>
                <a:cubicBezTo>
                  <a:pt x="66" y="244"/>
                  <a:pt x="63" y="257"/>
                  <a:pt x="61" y="270"/>
                </a:cubicBezTo>
                <a:cubicBezTo>
                  <a:pt x="59" y="270"/>
                  <a:pt x="59" y="270"/>
                  <a:pt x="59" y="270"/>
                </a:cubicBezTo>
                <a:cubicBezTo>
                  <a:pt x="0" y="281"/>
                  <a:pt x="0" y="281"/>
                  <a:pt x="0" y="281"/>
                </a:cubicBezTo>
                <a:cubicBezTo>
                  <a:pt x="1" y="344"/>
                  <a:pt x="1" y="344"/>
                  <a:pt x="1" y="344"/>
                </a:cubicBezTo>
                <a:cubicBezTo>
                  <a:pt x="62" y="354"/>
                  <a:pt x="62" y="354"/>
                  <a:pt x="62" y="354"/>
                </a:cubicBezTo>
                <a:cubicBezTo>
                  <a:pt x="65" y="367"/>
                  <a:pt x="69" y="380"/>
                  <a:pt x="73" y="393"/>
                </a:cubicBezTo>
                <a:cubicBezTo>
                  <a:pt x="72" y="394"/>
                  <a:pt x="72" y="394"/>
                  <a:pt x="72" y="394"/>
                </a:cubicBezTo>
                <a:cubicBezTo>
                  <a:pt x="26" y="432"/>
                  <a:pt x="26" y="432"/>
                  <a:pt x="26" y="432"/>
                </a:cubicBezTo>
                <a:cubicBezTo>
                  <a:pt x="57" y="486"/>
                  <a:pt x="57" y="486"/>
                  <a:pt x="57" y="486"/>
                </a:cubicBezTo>
                <a:cubicBezTo>
                  <a:pt x="116" y="466"/>
                  <a:pt x="116" y="466"/>
                  <a:pt x="116" y="466"/>
                </a:cubicBezTo>
                <a:cubicBezTo>
                  <a:pt x="124" y="477"/>
                  <a:pt x="128" y="483"/>
                  <a:pt x="144" y="495"/>
                </a:cubicBezTo>
                <a:cubicBezTo>
                  <a:pt x="144" y="496"/>
                  <a:pt x="144" y="496"/>
                  <a:pt x="144" y="496"/>
                </a:cubicBezTo>
                <a:cubicBezTo>
                  <a:pt x="122" y="551"/>
                  <a:pt x="122" y="551"/>
                  <a:pt x="122" y="551"/>
                </a:cubicBezTo>
                <a:cubicBezTo>
                  <a:pt x="175" y="583"/>
                  <a:pt x="175" y="583"/>
                  <a:pt x="175" y="583"/>
                </a:cubicBezTo>
                <a:cubicBezTo>
                  <a:pt x="216" y="538"/>
                  <a:pt x="216" y="538"/>
                  <a:pt x="216" y="538"/>
                </a:cubicBezTo>
                <a:cubicBezTo>
                  <a:pt x="233" y="545"/>
                  <a:pt x="249" y="550"/>
                  <a:pt x="267" y="553"/>
                </a:cubicBezTo>
                <a:cubicBezTo>
                  <a:pt x="266" y="554"/>
                  <a:pt x="266" y="554"/>
                  <a:pt x="266" y="554"/>
                </a:cubicBezTo>
                <a:cubicBezTo>
                  <a:pt x="277" y="613"/>
                  <a:pt x="277" y="613"/>
                  <a:pt x="277" y="613"/>
                </a:cubicBezTo>
                <a:cubicBezTo>
                  <a:pt x="339" y="613"/>
                  <a:pt x="339" y="613"/>
                  <a:pt x="339" y="613"/>
                </a:cubicBezTo>
                <a:cubicBezTo>
                  <a:pt x="351" y="552"/>
                  <a:pt x="351" y="552"/>
                  <a:pt x="351" y="552"/>
                </a:cubicBezTo>
                <a:cubicBezTo>
                  <a:pt x="371" y="549"/>
                  <a:pt x="390" y="543"/>
                  <a:pt x="409" y="534"/>
                </a:cubicBezTo>
                <a:cubicBezTo>
                  <a:pt x="409" y="536"/>
                  <a:pt x="409" y="536"/>
                  <a:pt x="409" y="536"/>
                </a:cubicBezTo>
                <a:cubicBezTo>
                  <a:pt x="451" y="579"/>
                  <a:pt x="451" y="579"/>
                  <a:pt x="451" y="579"/>
                </a:cubicBezTo>
                <a:cubicBezTo>
                  <a:pt x="503" y="545"/>
                  <a:pt x="503" y="545"/>
                  <a:pt x="503" y="545"/>
                </a:cubicBezTo>
                <a:cubicBezTo>
                  <a:pt x="479" y="487"/>
                  <a:pt x="479" y="487"/>
                  <a:pt x="479" y="487"/>
                </a:cubicBezTo>
                <a:cubicBezTo>
                  <a:pt x="479" y="487"/>
                  <a:pt x="479" y="487"/>
                  <a:pt x="479" y="487"/>
                </a:cubicBezTo>
                <a:cubicBezTo>
                  <a:pt x="488" y="478"/>
                  <a:pt x="497" y="468"/>
                  <a:pt x="506" y="458"/>
                </a:cubicBezTo>
                <a:cubicBezTo>
                  <a:pt x="507" y="458"/>
                  <a:pt x="507" y="458"/>
                  <a:pt x="507" y="458"/>
                </a:cubicBezTo>
                <a:cubicBezTo>
                  <a:pt x="565" y="477"/>
                  <a:pt x="565" y="477"/>
                  <a:pt x="565" y="477"/>
                </a:cubicBezTo>
                <a:cubicBezTo>
                  <a:pt x="593" y="421"/>
                  <a:pt x="593" y="421"/>
                  <a:pt x="593" y="421"/>
                </a:cubicBezTo>
                <a:cubicBezTo>
                  <a:pt x="545" y="382"/>
                  <a:pt x="545" y="382"/>
                  <a:pt x="545" y="382"/>
                </a:cubicBezTo>
                <a:cubicBezTo>
                  <a:pt x="544" y="382"/>
                  <a:pt x="544" y="382"/>
                  <a:pt x="544" y="382"/>
                </a:cubicBezTo>
                <a:cubicBezTo>
                  <a:pt x="548" y="370"/>
                  <a:pt x="551" y="357"/>
                  <a:pt x="553" y="344"/>
                </a:cubicBezTo>
                <a:cubicBezTo>
                  <a:pt x="555" y="344"/>
                  <a:pt x="555" y="344"/>
                  <a:pt x="555" y="344"/>
                </a:cubicBezTo>
                <a:cubicBezTo>
                  <a:pt x="615" y="332"/>
                  <a:pt x="615" y="332"/>
                  <a:pt x="615" y="332"/>
                </a:cubicBezTo>
                <a:cubicBezTo>
                  <a:pt x="613" y="270"/>
                  <a:pt x="613" y="270"/>
                  <a:pt x="613" y="270"/>
                </a:cubicBezTo>
                <a:cubicBezTo>
                  <a:pt x="552" y="259"/>
                  <a:pt x="552" y="259"/>
                  <a:pt x="552" y="259"/>
                </a:cubicBezTo>
                <a:cubicBezTo>
                  <a:pt x="551" y="259"/>
                  <a:pt x="551" y="259"/>
                  <a:pt x="551" y="259"/>
                </a:cubicBezTo>
                <a:cubicBezTo>
                  <a:pt x="548" y="246"/>
                  <a:pt x="545" y="233"/>
                  <a:pt x="540" y="221"/>
                </a:cubicBezTo>
                <a:cubicBezTo>
                  <a:pt x="542" y="220"/>
                  <a:pt x="542" y="220"/>
                  <a:pt x="542" y="220"/>
                </a:cubicBezTo>
                <a:cubicBezTo>
                  <a:pt x="589" y="181"/>
                  <a:pt x="589" y="181"/>
                  <a:pt x="589" y="181"/>
                </a:cubicBezTo>
                <a:cubicBezTo>
                  <a:pt x="558" y="127"/>
                  <a:pt x="558" y="127"/>
                  <a:pt x="558" y="127"/>
                </a:cubicBezTo>
                <a:cubicBezTo>
                  <a:pt x="499" y="147"/>
                  <a:pt x="499" y="147"/>
                  <a:pt x="499" y="147"/>
                </a:cubicBezTo>
                <a:cubicBezTo>
                  <a:pt x="494" y="145"/>
                  <a:pt x="494" y="145"/>
                  <a:pt x="494" y="145"/>
                </a:cubicBezTo>
                <a:cubicBezTo>
                  <a:pt x="486" y="135"/>
                  <a:pt x="479" y="127"/>
                  <a:pt x="463" y="115"/>
                </a:cubicBezTo>
                <a:cubicBezTo>
                  <a:pt x="464" y="113"/>
                  <a:pt x="464" y="113"/>
                  <a:pt x="464" y="113"/>
                </a:cubicBezTo>
                <a:cubicBezTo>
                  <a:pt x="490" y="68"/>
                  <a:pt x="490" y="68"/>
                  <a:pt x="490" y="68"/>
                </a:cubicBezTo>
                <a:cubicBezTo>
                  <a:pt x="437" y="35"/>
                  <a:pt x="437" y="35"/>
                  <a:pt x="437" y="35"/>
                </a:cubicBezTo>
                <a:cubicBezTo>
                  <a:pt x="396" y="78"/>
                  <a:pt x="396" y="78"/>
                  <a:pt x="396" y="78"/>
                </a:cubicBezTo>
                <a:cubicBezTo>
                  <a:pt x="397" y="77"/>
                  <a:pt x="397" y="77"/>
                  <a:pt x="397" y="77"/>
                </a:cubicBezTo>
                <a:cubicBezTo>
                  <a:pt x="381" y="71"/>
                  <a:pt x="365" y="65"/>
                  <a:pt x="348" y="62"/>
                </a:cubicBezTo>
                <a:cubicBezTo>
                  <a:pt x="348" y="60"/>
                  <a:pt x="348" y="60"/>
                  <a:pt x="348" y="60"/>
                </a:cubicBezTo>
                <a:cubicBezTo>
                  <a:pt x="337" y="0"/>
                  <a:pt x="337" y="0"/>
                  <a:pt x="337" y="0"/>
                </a:cubicBezTo>
                <a:cubicBezTo>
                  <a:pt x="275" y="0"/>
                  <a:pt x="275" y="0"/>
                  <a:pt x="275" y="0"/>
                </a:cubicBezTo>
                <a:cubicBezTo>
                  <a:pt x="264" y="62"/>
                  <a:pt x="264" y="62"/>
                  <a:pt x="264" y="62"/>
                </a:cubicBezTo>
                <a:cubicBezTo>
                  <a:pt x="264" y="62"/>
                  <a:pt x="264" y="62"/>
                  <a:pt x="264" y="62"/>
                </a:cubicBezTo>
                <a:cubicBezTo>
                  <a:pt x="244" y="66"/>
                  <a:pt x="225" y="71"/>
                  <a:pt x="206" y="79"/>
                </a:cubicBezTo>
                <a:cubicBezTo>
                  <a:pt x="205" y="78"/>
                  <a:pt x="205" y="78"/>
                  <a:pt x="205" y="78"/>
                </a:cubicBezTo>
                <a:cubicBezTo>
                  <a:pt x="163" y="34"/>
                  <a:pt x="163" y="34"/>
                  <a:pt x="163" y="34"/>
                </a:cubicBezTo>
                <a:cubicBezTo>
                  <a:pt x="112" y="69"/>
                  <a:pt x="112" y="69"/>
                  <a:pt x="112" y="69"/>
                </a:cubicBezTo>
                <a:cubicBezTo>
                  <a:pt x="136" y="126"/>
                  <a:pt x="136" y="126"/>
                  <a:pt x="136" y="126"/>
                </a:cubicBezTo>
                <a:close/>
                <a:moveTo>
                  <a:pt x="414" y="131"/>
                </a:moveTo>
                <a:cubicBezTo>
                  <a:pt x="512" y="190"/>
                  <a:pt x="543" y="317"/>
                  <a:pt x="483" y="414"/>
                </a:cubicBezTo>
                <a:cubicBezTo>
                  <a:pt x="424" y="512"/>
                  <a:pt x="297" y="543"/>
                  <a:pt x="200" y="484"/>
                </a:cubicBezTo>
                <a:cubicBezTo>
                  <a:pt x="102" y="425"/>
                  <a:pt x="71" y="298"/>
                  <a:pt x="130" y="200"/>
                </a:cubicBezTo>
                <a:cubicBezTo>
                  <a:pt x="189" y="102"/>
                  <a:pt x="317" y="71"/>
                  <a:pt x="414" y="13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28" name="任意多边形: 形状 27"/>
          <p:cNvSpPr/>
          <p:nvPr/>
        </p:nvSpPr>
        <p:spPr bwMode="auto">
          <a:xfrm>
            <a:off x="5466941" y="3574939"/>
            <a:ext cx="1119328" cy="1115473"/>
          </a:xfrm>
          <a:custGeom>
            <a:avLst/>
            <a:gdLst>
              <a:gd name="T0" fmla="*/ 46 w 368"/>
              <a:gd name="T1" fmla="*/ 100 h 367"/>
              <a:gd name="T2" fmla="*/ 101 w 368"/>
              <a:gd name="T3" fmla="*/ 321 h 367"/>
              <a:gd name="T4" fmla="*/ 322 w 368"/>
              <a:gd name="T5" fmla="*/ 267 h 367"/>
              <a:gd name="T6" fmla="*/ 267 w 368"/>
              <a:gd name="T7" fmla="*/ 46 h 367"/>
              <a:gd name="T8" fmla="*/ 46 w 368"/>
              <a:gd name="T9" fmla="*/ 100 h 3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8" h="367">
                <a:moveTo>
                  <a:pt x="46" y="100"/>
                </a:moveTo>
                <a:cubicBezTo>
                  <a:pt x="0" y="176"/>
                  <a:pt x="25" y="275"/>
                  <a:pt x="101" y="321"/>
                </a:cubicBezTo>
                <a:cubicBezTo>
                  <a:pt x="176" y="367"/>
                  <a:pt x="275" y="343"/>
                  <a:pt x="322" y="267"/>
                </a:cubicBezTo>
                <a:cubicBezTo>
                  <a:pt x="368" y="191"/>
                  <a:pt x="343" y="92"/>
                  <a:pt x="267" y="46"/>
                </a:cubicBezTo>
                <a:cubicBezTo>
                  <a:pt x="192" y="0"/>
                  <a:pt x="93" y="24"/>
                  <a:pt x="46" y="1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29" name="任意多边形: 形状 28"/>
          <p:cNvSpPr/>
          <p:nvPr/>
        </p:nvSpPr>
        <p:spPr bwMode="auto">
          <a:xfrm>
            <a:off x="5195782" y="3301210"/>
            <a:ext cx="1664213" cy="1662928"/>
          </a:xfrm>
          <a:custGeom>
            <a:avLst/>
            <a:gdLst>
              <a:gd name="T0" fmla="*/ 97 w 547"/>
              <a:gd name="T1" fmla="*/ 139 h 547"/>
              <a:gd name="T2" fmla="*/ 44 w 547"/>
              <a:gd name="T3" fmla="*/ 122 h 547"/>
              <a:gd name="T4" fmla="*/ 62 w 547"/>
              <a:gd name="T5" fmla="*/ 206 h 547"/>
              <a:gd name="T6" fmla="*/ 52 w 547"/>
              <a:gd name="T7" fmla="*/ 240 h 547"/>
              <a:gd name="T8" fmla="*/ 1 w 547"/>
              <a:gd name="T9" fmla="*/ 306 h 547"/>
              <a:gd name="T10" fmla="*/ 65 w 547"/>
              <a:gd name="T11" fmla="*/ 350 h 547"/>
              <a:gd name="T12" fmla="*/ 23 w 547"/>
              <a:gd name="T13" fmla="*/ 385 h 547"/>
              <a:gd name="T14" fmla="*/ 103 w 547"/>
              <a:gd name="T15" fmla="*/ 416 h 547"/>
              <a:gd name="T16" fmla="*/ 128 w 547"/>
              <a:gd name="T17" fmla="*/ 442 h 547"/>
              <a:gd name="T18" fmla="*/ 155 w 547"/>
              <a:gd name="T19" fmla="*/ 520 h 547"/>
              <a:gd name="T20" fmla="*/ 237 w 547"/>
              <a:gd name="T21" fmla="*/ 492 h 547"/>
              <a:gd name="T22" fmla="*/ 247 w 547"/>
              <a:gd name="T23" fmla="*/ 547 h 547"/>
              <a:gd name="T24" fmla="*/ 312 w 547"/>
              <a:gd name="T25" fmla="*/ 492 h 547"/>
              <a:gd name="T26" fmla="*/ 364 w 547"/>
              <a:gd name="T27" fmla="*/ 477 h 547"/>
              <a:gd name="T28" fmla="*/ 448 w 547"/>
              <a:gd name="T29" fmla="*/ 486 h 547"/>
              <a:gd name="T30" fmla="*/ 426 w 547"/>
              <a:gd name="T31" fmla="*/ 434 h 547"/>
              <a:gd name="T32" fmla="*/ 451 w 547"/>
              <a:gd name="T33" fmla="*/ 408 h 547"/>
              <a:gd name="T34" fmla="*/ 528 w 547"/>
              <a:gd name="T35" fmla="*/ 376 h 547"/>
              <a:gd name="T36" fmla="*/ 484 w 547"/>
              <a:gd name="T37" fmla="*/ 341 h 547"/>
              <a:gd name="T38" fmla="*/ 494 w 547"/>
              <a:gd name="T39" fmla="*/ 306 h 547"/>
              <a:gd name="T40" fmla="*/ 546 w 547"/>
              <a:gd name="T41" fmla="*/ 240 h 547"/>
              <a:gd name="T42" fmla="*/ 491 w 547"/>
              <a:gd name="T43" fmla="*/ 231 h 547"/>
              <a:gd name="T44" fmla="*/ 483 w 547"/>
              <a:gd name="T45" fmla="*/ 196 h 547"/>
              <a:gd name="T46" fmla="*/ 497 w 547"/>
              <a:gd name="T47" fmla="*/ 113 h 547"/>
              <a:gd name="T48" fmla="*/ 440 w 547"/>
              <a:gd name="T49" fmla="*/ 130 h 547"/>
              <a:gd name="T50" fmla="*/ 413 w 547"/>
              <a:gd name="T51" fmla="*/ 101 h 547"/>
              <a:gd name="T52" fmla="*/ 389 w 547"/>
              <a:gd name="T53" fmla="*/ 32 h 547"/>
              <a:gd name="T54" fmla="*/ 353 w 547"/>
              <a:gd name="T55" fmla="*/ 69 h 547"/>
              <a:gd name="T56" fmla="*/ 310 w 547"/>
              <a:gd name="T57" fmla="*/ 53 h 547"/>
              <a:gd name="T58" fmla="*/ 245 w 547"/>
              <a:gd name="T59" fmla="*/ 0 h 547"/>
              <a:gd name="T60" fmla="*/ 235 w 547"/>
              <a:gd name="T61" fmla="*/ 55 h 547"/>
              <a:gd name="T62" fmla="*/ 182 w 547"/>
              <a:gd name="T63" fmla="*/ 69 h 547"/>
              <a:gd name="T64" fmla="*/ 99 w 547"/>
              <a:gd name="T65" fmla="*/ 61 h 547"/>
              <a:gd name="T66" fmla="*/ 121 w 547"/>
              <a:gd name="T67" fmla="*/ 113 h 547"/>
              <a:gd name="T68" fmla="*/ 430 w 547"/>
              <a:gd name="T69" fmla="*/ 369 h 547"/>
              <a:gd name="T70" fmla="*/ 116 w 547"/>
              <a:gd name="T71" fmla="*/ 178 h 5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47" h="547">
                <a:moveTo>
                  <a:pt x="121" y="113"/>
                </a:moveTo>
                <a:cubicBezTo>
                  <a:pt x="112" y="121"/>
                  <a:pt x="104" y="129"/>
                  <a:pt x="97" y="139"/>
                </a:cubicBezTo>
                <a:cubicBezTo>
                  <a:pt x="95" y="138"/>
                  <a:pt x="95" y="138"/>
                  <a:pt x="95" y="138"/>
                </a:cubicBezTo>
                <a:cubicBezTo>
                  <a:pt x="44" y="122"/>
                  <a:pt x="44" y="122"/>
                  <a:pt x="44" y="122"/>
                </a:cubicBezTo>
                <a:cubicBezTo>
                  <a:pt x="19" y="171"/>
                  <a:pt x="19" y="171"/>
                  <a:pt x="19" y="171"/>
                </a:cubicBezTo>
                <a:cubicBezTo>
                  <a:pt x="62" y="206"/>
                  <a:pt x="62" y="206"/>
                  <a:pt x="62" y="206"/>
                </a:cubicBezTo>
                <a:cubicBezTo>
                  <a:pt x="58" y="217"/>
                  <a:pt x="55" y="229"/>
                  <a:pt x="53" y="240"/>
                </a:cubicBezTo>
                <a:cubicBezTo>
                  <a:pt x="52" y="240"/>
                  <a:pt x="52" y="240"/>
                  <a:pt x="52" y="240"/>
                </a:cubicBezTo>
                <a:cubicBezTo>
                  <a:pt x="0" y="251"/>
                  <a:pt x="0" y="251"/>
                  <a:pt x="0" y="251"/>
                </a:cubicBezTo>
                <a:cubicBezTo>
                  <a:pt x="1" y="306"/>
                  <a:pt x="1" y="306"/>
                  <a:pt x="1" y="306"/>
                </a:cubicBezTo>
                <a:cubicBezTo>
                  <a:pt x="55" y="316"/>
                  <a:pt x="55" y="316"/>
                  <a:pt x="55" y="316"/>
                </a:cubicBezTo>
                <a:cubicBezTo>
                  <a:pt x="57" y="328"/>
                  <a:pt x="61" y="339"/>
                  <a:pt x="65" y="350"/>
                </a:cubicBezTo>
                <a:cubicBezTo>
                  <a:pt x="64" y="351"/>
                  <a:pt x="64" y="351"/>
                  <a:pt x="64" y="351"/>
                </a:cubicBezTo>
                <a:cubicBezTo>
                  <a:pt x="23" y="385"/>
                  <a:pt x="23" y="385"/>
                  <a:pt x="23" y="385"/>
                </a:cubicBezTo>
                <a:cubicBezTo>
                  <a:pt x="50" y="433"/>
                  <a:pt x="50" y="433"/>
                  <a:pt x="50" y="433"/>
                </a:cubicBezTo>
                <a:cubicBezTo>
                  <a:pt x="103" y="416"/>
                  <a:pt x="103" y="416"/>
                  <a:pt x="103" y="416"/>
                </a:cubicBezTo>
                <a:cubicBezTo>
                  <a:pt x="110" y="425"/>
                  <a:pt x="114" y="431"/>
                  <a:pt x="128" y="442"/>
                </a:cubicBezTo>
                <a:cubicBezTo>
                  <a:pt x="128" y="442"/>
                  <a:pt x="128" y="442"/>
                  <a:pt x="128" y="442"/>
                </a:cubicBezTo>
                <a:cubicBezTo>
                  <a:pt x="108" y="491"/>
                  <a:pt x="108" y="491"/>
                  <a:pt x="108" y="491"/>
                </a:cubicBezTo>
                <a:cubicBezTo>
                  <a:pt x="155" y="520"/>
                  <a:pt x="155" y="520"/>
                  <a:pt x="155" y="520"/>
                </a:cubicBezTo>
                <a:cubicBezTo>
                  <a:pt x="192" y="480"/>
                  <a:pt x="192" y="480"/>
                  <a:pt x="192" y="480"/>
                </a:cubicBezTo>
                <a:cubicBezTo>
                  <a:pt x="207" y="485"/>
                  <a:pt x="222" y="490"/>
                  <a:pt x="237" y="492"/>
                </a:cubicBezTo>
                <a:cubicBezTo>
                  <a:pt x="237" y="494"/>
                  <a:pt x="237" y="494"/>
                  <a:pt x="237" y="494"/>
                </a:cubicBezTo>
                <a:cubicBezTo>
                  <a:pt x="247" y="547"/>
                  <a:pt x="247" y="547"/>
                  <a:pt x="247" y="547"/>
                </a:cubicBezTo>
                <a:cubicBezTo>
                  <a:pt x="302" y="546"/>
                  <a:pt x="302" y="546"/>
                  <a:pt x="302" y="546"/>
                </a:cubicBezTo>
                <a:cubicBezTo>
                  <a:pt x="312" y="492"/>
                  <a:pt x="312" y="492"/>
                  <a:pt x="312" y="492"/>
                </a:cubicBezTo>
                <a:cubicBezTo>
                  <a:pt x="330" y="489"/>
                  <a:pt x="347" y="484"/>
                  <a:pt x="364" y="476"/>
                </a:cubicBezTo>
                <a:cubicBezTo>
                  <a:pt x="364" y="477"/>
                  <a:pt x="364" y="477"/>
                  <a:pt x="364" y="477"/>
                </a:cubicBezTo>
                <a:cubicBezTo>
                  <a:pt x="402" y="516"/>
                  <a:pt x="402" y="516"/>
                  <a:pt x="402" y="516"/>
                </a:cubicBezTo>
                <a:cubicBezTo>
                  <a:pt x="448" y="486"/>
                  <a:pt x="448" y="486"/>
                  <a:pt x="448" y="486"/>
                </a:cubicBezTo>
                <a:cubicBezTo>
                  <a:pt x="426" y="434"/>
                  <a:pt x="426" y="434"/>
                  <a:pt x="426" y="434"/>
                </a:cubicBezTo>
                <a:cubicBezTo>
                  <a:pt x="426" y="434"/>
                  <a:pt x="426" y="434"/>
                  <a:pt x="426" y="434"/>
                </a:cubicBezTo>
                <a:cubicBezTo>
                  <a:pt x="435" y="426"/>
                  <a:pt x="443" y="417"/>
                  <a:pt x="450" y="408"/>
                </a:cubicBezTo>
                <a:cubicBezTo>
                  <a:pt x="451" y="408"/>
                  <a:pt x="451" y="408"/>
                  <a:pt x="451" y="408"/>
                </a:cubicBezTo>
                <a:cubicBezTo>
                  <a:pt x="503" y="425"/>
                  <a:pt x="503" y="425"/>
                  <a:pt x="503" y="425"/>
                </a:cubicBezTo>
                <a:cubicBezTo>
                  <a:pt x="528" y="376"/>
                  <a:pt x="528" y="376"/>
                  <a:pt x="528" y="376"/>
                </a:cubicBezTo>
                <a:cubicBezTo>
                  <a:pt x="485" y="341"/>
                  <a:pt x="485" y="341"/>
                  <a:pt x="485" y="341"/>
                </a:cubicBezTo>
                <a:cubicBezTo>
                  <a:pt x="484" y="341"/>
                  <a:pt x="484" y="341"/>
                  <a:pt x="484" y="341"/>
                </a:cubicBezTo>
                <a:cubicBezTo>
                  <a:pt x="488" y="329"/>
                  <a:pt x="491" y="318"/>
                  <a:pt x="493" y="306"/>
                </a:cubicBezTo>
                <a:cubicBezTo>
                  <a:pt x="494" y="306"/>
                  <a:pt x="494" y="306"/>
                  <a:pt x="494" y="306"/>
                </a:cubicBezTo>
                <a:cubicBezTo>
                  <a:pt x="547" y="296"/>
                  <a:pt x="547" y="296"/>
                  <a:pt x="547" y="296"/>
                </a:cubicBezTo>
                <a:cubicBezTo>
                  <a:pt x="546" y="240"/>
                  <a:pt x="546" y="240"/>
                  <a:pt x="546" y="240"/>
                </a:cubicBezTo>
                <a:cubicBezTo>
                  <a:pt x="491" y="231"/>
                  <a:pt x="491" y="231"/>
                  <a:pt x="491" y="231"/>
                </a:cubicBezTo>
                <a:cubicBezTo>
                  <a:pt x="491" y="231"/>
                  <a:pt x="491" y="231"/>
                  <a:pt x="491" y="231"/>
                </a:cubicBezTo>
                <a:cubicBezTo>
                  <a:pt x="488" y="219"/>
                  <a:pt x="485" y="208"/>
                  <a:pt x="481" y="197"/>
                </a:cubicBezTo>
                <a:cubicBezTo>
                  <a:pt x="483" y="196"/>
                  <a:pt x="483" y="196"/>
                  <a:pt x="483" y="196"/>
                </a:cubicBezTo>
                <a:cubicBezTo>
                  <a:pt x="524" y="161"/>
                  <a:pt x="524" y="161"/>
                  <a:pt x="524" y="161"/>
                </a:cubicBezTo>
                <a:cubicBezTo>
                  <a:pt x="497" y="113"/>
                  <a:pt x="497" y="113"/>
                  <a:pt x="497" y="113"/>
                </a:cubicBezTo>
                <a:cubicBezTo>
                  <a:pt x="444" y="131"/>
                  <a:pt x="444" y="131"/>
                  <a:pt x="444" y="131"/>
                </a:cubicBezTo>
                <a:cubicBezTo>
                  <a:pt x="440" y="130"/>
                  <a:pt x="440" y="130"/>
                  <a:pt x="440" y="130"/>
                </a:cubicBezTo>
                <a:cubicBezTo>
                  <a:pt x="433" y="121"/>
                  <a:pt x="426" y="113"/>
                  <a:pt x="412" y="102"/>
                </a:cubicBezTo>
                <a:cubicBezTo>
                  <a:pt x="413" y="101"/>
                  <a:pt x="413" y="101"/>
                  <a:pt x="413" y="101"/>
                </a:cubicBezTo>
                <a:cubicBezTo>
                  <a:pt x="436" y="60"/>
                  <a:pt x="436" y="60"/>
                  <a:pt x="436" y="60"/>
                </a:cubicBezTo>
                <a:cubicBezTo>
                  <a:pt x="389" y="32"/>
                  <a:pt x="389" y="32"/>
                  <a:pt x="389" y="32"/>
                </a:cubicBezTo>
                <a:cubicBezTo>
                  <a:pt x="353" y="70"/>
                  <a:pt x="353" y="70"/>
                  <a:pt x="353" y="70"/>
                </a:cubicBezTo>
                <a:cubicBezTo>
                  <a:pt x="353" y="69"/>
                  <a:pt x="353" y="69"/>
                  <a:pt x="353" y="69"/>
                </a:cubicBezTo>
                <a:cubicBezTo>
                  <a:pt x="339" y="63"/>
                  <a:pt x="324" y="58"/>
                  <a:pt x="309" y="56"/>
                </a:cubicBezTo>
                <a:cubicBezTo>
                  <a:pt x="310" y="53"/>
                  <a:pt x="310" y="53"/>
                  <a:pt x="310" y="53"/>
                </a:cubicBezTo>
                <a:cubicBezTo>
                  <a:pt x="300" y="0"/>
                  <a:pt x="300" y="0"/>
                  <a:pt x="300" y="0"/>
                </a:cubicBezTo>
                <a:cubicBezTo>
                  <a:pt x="245" y="0"/>
                  <a:pt x="245" y="0"/>
                  <a:pt x="245" y="0"/>
                </a:cubicBezTo>
                <a:cubicBezTo>
                  <a:pt x="234" y="55"/>
                  <a:pt x="234" y="55"/>
                  <a:pt x="234" y="55"/>
                </a:cubicBezTo>
                <a:cubicBezTo>
                  <a:pt x="235" y="55"/>
                  <a:pt x="235" y="55"/>
                  <a:pt x="235" y="55"/>
                </a:cubicBezTo>
                <a:cubicBezTo>
                  <a:pt x="217" y="58"/>
                  <a:pt x="200" y="64"/>
                  <a:pt x="183" y="71"/>
                </a:cubicBezTo>
                <a:cubicBezTo>
                  <a:pt x="182" y="69"/>
                  <a:pt x="182" y="69"/>
                  <a:pt x="182" y="69"/>
                </a:cubicBezTo>
                <a:cubicBezTo>
                  <a:pt x="145" y="30"/>
                  <a:pt x="145" y="30"/>
                  <a:pt x="145" y="30"/>
                </a:cubicBezTo>
                <a:cubicBezTo>
                  <a:pt x="99" y="61"/>
                  <a:pt x="99" y="61"/>
                  <a:pt x="99" y="61"/>
                </a:cubicBezTo>
                <a:cubicBezTo>
                  <a:pt x="121" y="112"/>
                  <a:pt x="121" y="112"/>
                  <a:pt x="121" y="112"/>
                </a:cubicBezTo>
                <a:lnTo>
                  <a:pt x="121" y="113"/>
                </a:lnTo>
                <a:close/>
                <a:moveTo>
                  <a:pt x="369" y="116"/>
                </a:moveTo>
                <a:cubicBezTo>
                  <a:pt x="455" y="169"/>
                  <a:pt x="483" y="282"/>
                  <a:pt x="430" y="369"/>
                </a:cubicBezTo>
                <a:cubicBezTo>
                  <a:pt x="378" y="456"/>
                  <a:pt x="264" y="484"/>
                  <a:pt x="177" y="431"/>
                </a:cubicBezTo>
                <a:cubicBezTo>
                  <a:pt x="91" y="378"/>
                  <a:pt x="63" y="265"/>
                  <a:pt x="116" y="178"/>
                </a:cubicBezTo>
                <a:cubicBezTo>
                  <a:pt x="168" y="91"/>
                  <a:pt x="282" y="64"/>
                  <a:pt x="369" y="11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30" name="任意多边形: 形状 29"/>
          <p:cNvSpPr/>
          <p:nvPr/>
        </p:nvSpPr>
        <p:spPr bwMode="auto">
          <a:xfrm>
            <a:off x="7084889" y="3455423"/>
            <a:ext cx="661830" cy="666970"/>
          </a:xfrm>
          <a:custGeom>
            <a:avLst/>
            <a:gdLst>
              <a:gd name="T0" fmla="*/ 28 w 218"/>
              <a:gd name="T1" fmla="*/ 60 h 219"/>
              <a:gd name="T2" fmla="*/ 60 w 218"/>
              <a:gd name="T3" fmla="*/ 191 h 219"/>
              <a:gd name="T4" fmla="*/ 191 w 218"/>
              <a:gd name="T5" fmla="*/ 159 h 219"/>
              <a:gd name="T6" fmla="*/ 159 w 218"/>
              <a:gd name="T7" fmla="*/ 28 h 219"/>
              <a:gd name="T8" fmla="*/ 28 w 218"/>
              <a:gd name="T9" fmla="*/ 60 h 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" h="219">
                <a:moveTo>
                  <a:pt x="28" y="60"/>
                </a:moveTo>
                <a:cubicBezTo>
                  <a:pt x="0" y="105"/>
                  <a:pt x="15" y="164"/>
                  <a:pt x="60" y="191"/>
                </a:cubicBezTo>
                <a:cubicBezTo>
                  <a:pt x="105" y="219"/>
                  <a:pt x="164" y="204"/>
                  <a:pt x="191" y="159"/>
                </a:cubicBezTo>
                <a:cubicBezTo>
                  <a:pt x="218" y="114"/>
                  <a:pt x="204" y="55"/>
                  <a:pt x="159" y="28"/>
                </a:cubicBezTo>
                <a:cubicBezTo>
                  <a:pt x="114" y="0"/>
                  <a:pt x="55" y="15"/>
                  <a:pt x="28" y="60"/>
                </a:cubicBezTo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31" name="任意多边形: 形状 30"/>
          <p:cNvSpPr/>
          <p:nvPr/>
        </p:nvSpPr>
        <p:spPr bwMode="auto">
          <a:xfrm>
            <a:off x="6922967" y="3294786"/>
            <a:ext cx="988247" cy="988247"/>
          </a:xfrm>
          <a:custGeom>
            <a:avLst/>
            <a:gdLst>
              <a:gd name="T0" fmla="*/ 57 w 325"/>
              <a:gd name="T1" fmla="*/ 82 h 325"/>
              <a:gd name="T2" fmla="*/ 26 w 325"/>
              <a:gd name="T3" fmla="*/ 72 h 325"/>
              <a:gd name="T4" fmla="*/ 37 w 325"/>
              <a:gd name="T5" fmla="*/ 122 h 325"/>
              <a:gd name="T6" fmla="*/ 31 w 325"/>
              <a:gd name="T7" fmla="*/ 143 h 325"/>
              <a:gd name="T8" fmla="*/ 0 w 325"/>
              <a:gd name="T9" fmla="*/ 182 h 325"/>
              <a:gd name="T10" fmla="*/ 38 w 325"/>
              <a:gd name="T11" fmla="*/ 208 h 325"/>
              <a:gd name="T12" fmla="*/ 13 w 325"/>
              <a:gd name="T13" fmla="*/ 229 h 325"/>
              <a:gd name="T14" fmla="*/ 61 w 325"/>
              <a:gd name="T15" fmla="*/ 247 h 325"/>
              <a:gd name="T16" fmla="*/ 76 w 325"/>
              <a:gd name="T17" fmla="*/ 263 h 325"/>
              <a:gd name="T18" fmla="*/ 92 w 325"/>
              <a:gd name="T19" fmla="*/ 309 h 325"/>
              <a:gd name="T20" fmla="*/ 141 w 325"/>
              <a:gd name="T21" fmla="*/ 292 h 325"/>
              <a:gd name="T22" fmla="*/ 147 w 325"/>
              <a:gd name="T23" fmla="*/ 325 h 325"/>
              <a:gd name="T24" fmla="*/ 186 w 325"/>
              <a:gd name="T25" fmla="*/ 292 h 325"/>
              <a:gd name="T26" fmla="*/ 217 w 325"/>
              <a:gd name="T27" fmla="*/ 283 h 325"/>
              <a:gd name="T28" fmla="*/ 266 w 325"/>
              <a:gd name="T29" fmla="*/ 288 h 325"/>
              <a:gd name="T30" fmla="*/ 253 w 325"/>
              <a:gd name="T31" fmla="*/ 258 h 325"/>
              <a:gd name="T32" fmla="*/ 268 w 325"/>
              <a:gd name="T33" fmla="*/ 242 h 325"/>
              <a:gd name="T34" fmla="*/ 314 w 325"/>
              <a:gd name="T35" fmla="*/ 223 h 325"/>
              <a:gd name="T36" fmla="*/ 288 w 325"/>
              <a:gd name="T37" fmla="*/ 202 h 325"/>
              <a:gd name="T38" fmla="*/ 294 w 325"/>
              <a:gd name="T39" fmla="*/ 182 h 325"/>
              <a:gd name="T40" fmla="*/ 325 w 325"/>
              <a:gd name="T41" fmla="*/ 143 h 325"/>
              <a:gd name="T42" fmla="*/ 292 w 325"/>
              <a:gd name="T43" fmla="*/ 137 h 325"/>
              <a:gd name="T44" fmla="*/ 287 w 325"/>
              <a:gd name="T45" fmla="*/ 116 h 325"/>
              <a:gd name="T46" fmla="*/ 295 w 325"/>
              <a:gd name="T47" fmla="*/ 67 h 325"/>
              <a:gd name="T48" fmla="*/ 262 w 325"/>
              <a:gd name="T49" fmla="*/ 77 h 325"/>
              <a:gd name="T50" fmla="*/ 246 w 325"/>
              <a:gd name="T51" fmla="*/ 59 h 325"/>
              <a:gd name="T52" fmla="*/ 231 w 325"/>
              <a:gd name="T53" fmla="*/ 18 h 325"/>
              <a:gd name="T54" fmla="*/ 210 w 325"/>
              <a:gd name="T55" fmla="*/ 41 h 325"/>
              <a:gd name="T56" fmla="*/ 184 w 325"/>
              <a:gd name="T57" fmla="*/ 31 h 325"/>
              <a:gd name="T58" fmla="*/ 146 w 325"/>
              <a:gd name="T59" fmla="*/ 0 h 325"/>
              <a:gd name="T60" fmla="*/ 139 w 325"/>
              <a:gd name="T61" fmla="*/ 33 h 325"/>
              <a:gd name="T62" fmla="*/ 108 w 325"/>
              <a:gd name="T63" fmla="*/ 41 h 325"/>
              <a:gd name="T64" fmla="*/ 59 w 325"/>
              <a:gd name="T65" fmla="*/ 36 h 325"/>
              <a:gd name="T66" fmla="*/ 72 w 325"/>
              <a:gd name="T67" fmla="*/ 67 h 325"/>
              <a:gd name="T68" fmla="*/ 256 w 325"/>
              <a:gd name="T69" fmla="*/ 219 h 325"/>
              <a:gd name="T70" fmla="*/ 69 w 325"/>
              <a:gd name="T71" fmla="*/ 106 h 3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25" h="325">
                <a:moveTo>
                  <a:pt x="72" y="67"/>
                </a:moveTo>
                <a:cubicBezTo>
                  <a:pt x="67" y="71"/>
                  <a:pt x="62" y="77"/>
                  <a:pt x="57" y="82"/>
                </a:cubicBezTo>
                <a:cubicBezTo>
                  <a:pt x="57" y="82"/>
                  <a:pt x="57" y="82"/>
                  <a:pt x="57" y="82"/>
                </a:cubicBezTo>
                <a:cubicBezTo>
                  <a:pt x="26" y="72"/>
                  <a:pt x="26" y="72"/>
                  <a:pt x="26" y="72"/>
                </a:cubicBezTo>
                <a:cubicBezTo>
                  <a:pt x="11" y="101"/>
                  <a:pt x="11" y="101"/>
                  <a:pt x="11" y="101"/>
                </a:cubicBezTo>
                <a:cubicBezTo>
                  <a:pt x="37" y="122"/>
                  <a:pt x="37" y="122"/>
                  <a:pt x="37" y="122"/>
                </a:cubicBezTo>
                <a:cubicBezTo>
                  <a:pt x="35" y="129"/>
                  <a:pt x="33" y="136"/>
                  <a:pt x="32" y="143"/>
                </a:cubicBezTo>
                <a:cubicBezTo>
                  <a:pt x="31" y="143"/>
                  <a:pt x="31" y="143"/>
                  <a:pt x="31" y="143"/>
                </a:cubicBezTo>
                <a:cubicBezTo>
                  <a:pt x="0" y="149"/>
                  <a:pt x="0" y="149"/>
                  <a:pt x="0" y="149"/>
                </a:cubicBezTo>
                <a:cubicBezTo>
                  <a:pt x="0" y="182"/>
                  <a:pt x="0" y="182"/>
                  <a:pt x="0" y="182"/>
                </a:cubicBezTo>
                <a:cubicBezTo>
                  <a:pt x="33" y="187"/>
                  <a:pt x="33" y="187"/>
                  <a:pt x="33" y="187"/>
                </a:cubicBezTo>
                <a:cubicBezTo>
                  <a:pt x="34" y="194"/>
                  <a:pt x="36" y="201"/>
                  <a:pt x="38" y="208"/>
                </a:cubicBezTo>
                <a:cubicBezTo>
                  <a:pt x="38" y="208"/>
                  <a:pt x="38" y="208"/>
                  <a:pt x="38" y="208"/>
                </a:cubicBezTo>
                <a:cubicBezTo>
                  <a:pt x="13" y="229"/>
                  <a:pt x="13" y="229"/>
                  <a:pt x="13" y="229"/>
                </a:cubicBezTo>
                <a:cubicBezTo>
                  <a:pt x="30" y="257"/>
                  <a:pt x="30" y="257"/>
                  <a:pt x="30" y="257"/>
                </a:cubicBezTo>
                <a:cubicBezTo>
                  <a:pt x="61" y="247"/>
                  <a:pt x="61" y="247"/>
                  <a:pt x="61" y="247"/>
                </a:cubicBezTo>
                <a:cubicBezTo>
                  <a:pt x="66" y="252"/>
                  <a:pt x="68" y="256"/>
                  <a:pt x="76" y="262"/>
                </a:cubicBezTo>
                <a:cubicBezTo>
                  <a:pt x="76" y="263"/>
                  <a:pt x="76" y="263"/>
                  <a:pt x="76" y="263"/>
                </a:cubicBezTo>
                <a:cubicBezTo>
                  <a:pt x="64" y="292"/>
                  <a:pt x="64" y="292"/>
                  <a:pt x="64" y="292"/>
                </a:cubicBezTo>
                <a:cubicBezTo>
                  <a:pt x="92" y="309"/>
                  <a:pt x="92" y="309"/>
                  <a:pt x="92" y="309"/>
                </a:cubicBezTo>
                <a:cubicBezTo>
                  <a:pt x="114" y="285"/>
                  <a:pt x="114" y="285"/>
                  <a:pt x="114" y="285"/>
                </a:cubicBezTo>
                <a:cubicBezTo>
                  <a:pt x="123" y="288"/>
                  <a:pt x="132" y="291"/>
                  <a:pt x="141" y="292"/>
                </a:cubicBezTo>
                <a:cubicBezTo>
                  <a:pt x="141" y="293"/>
                  <a:pt x="141" y="293"/>
                  <a:pt x="141" y="293"/>
                </a:cubicBezTo>
                <a:cubicBezTo>
                  <a:pt x="147" y="325"/>
                  <a:pt x="147" y="325"/>
                  <a:pt x="147" y="325"/>
                </a:cubicBezTo>
                <a:cubicBezTo>
                  <a:pt x="179" y="324"/>
                  <a:pt x="179" y="324"/>
                  <a:pt x="179" y="324"/>
                </a:cubicBezTo>
                <a:cubicBezTo>
                  <a:pt x="186" y="292"/>
                  <a:pt x="186" y="292"/>
                  <a:pt x="186" y="292"/>
                </a:cubicBezTo>
                <a:cubicBezTo>
                  <a:pt x="196" y="290"/>
                  <a:pt x="206" y="287"/>
                  <a:pt x="216" y="283"/>
                </a:cubicBezTo>
                <a:cubicBezTo>
                  <a:pt x="217" y="283"/>
                  <a:pt x="217" y="283"/>
                  <a:pt x="217" y="283"/>
                </a:cubicBezTo>
                <a:cubicBezTo>
                  <a:pt x="239" y="307"/>
                  <a:pt x="239" y="307"/>
                  <a:pt x="239" y="307"/>
                </a:cubicBezTo>
                <a:cubicBezTo>
                  <a:pt x="266" y="288"/>
                  <a:pt x="266" y="288"/>
                  <a:pt x="266" y="288"/>
                </a:cubicBezTo>
                <a:cubicBezTo>
                  <a:pt x="253" y="258"/>
                  <a:pt x="253" y="258"/>
                  <a:pt x="253" y="258"/>
                </a:cubicBezTo>
                <a:cubicBezTo>
                  <a:pt x="253" y="258"/>
                  <a:pt x="253" y="258"/>
                  <a:pt x="253" y="258"/>
                </a:cubicBezTo>
                <a:cubicBezTo>
                  <a:pt x="258" y="253"/>
                  <a:pt x="263" y="248"/>
                  <a:pt x="268" y="242"/>
                </a:cubicBezTo>
                <a:cubicBezTo>
                  <a:pt x="268" y="242"/>
                  <a:pt x="268" y="242"/>
                  <a:pt x="268" y="242"/>
                </a:cubicBezTo>
                <a:cubicBezTo>
                  <a:pt x="299" y="252"/>
                  <a:pt x="299" y="252"/>
                  <a:pt x="299" y="252"/>
                </a:cubicBezTo>
                <a:cubicBezTo>
                  <a:pt x="314" y="223"/>
                  <a:pt x="314" y="223"/>
                  <a:pt x="314" y="223"/>
                </a:cubicBezTo>
                <a:cubicBezTo>
                  <a:pt x="288" y="202"/>
                  <a:pt x="288" y="202"/>
                  <a:pt x="288" y="202"/>
                </a:cubicBezTo>
                <a:cubicBezTo>
                  <a:pt x="288" y="202"/>
                  <a:pt x="288" y="202"/>
                  <a:pt x="288" y="202"/>
                </a:cubicBezTo>
                <a:cubicBezTo>
                  <a:pt x="290" y="195"/>
                  <a:pt x="292" y="189"/>
                  <a:pt x="293" y="182"/>
                </a:cubicBezTo>
                <a:cubicBezTo>
                  <a:pt x="294" y="182"/>
                  <a:pt x="294" y="182"/>
                  <a:pt x="294" y="182"/>
                </a:cubicBezTo>
                <a:cubicBezTo>
                  <a:pt x="325" y="175"/>
                  <a:pt x="325" y="175"/>
                  <a:pt x="325" y="175"/>
                </a:cubicBezTo>
                <a:cubicBezTo>
                  <a:pt x="325" y="143"/>
                  <a:pt x="325" y="143"/>
                  <a:pt x="325" y="143"/>
                </a:cubicBezTo>
                <a:cubicBezTo>
                  <a:pt x="292" y="137"/>
                  <a:pt x="292" y="137"/>
                  <a:pt x="292" y="137"/>
                </a:cubicBezTo>
                <a:cubicBezTo>
                  <a:pt x="292" y="137"/>
                  <a:pt x="292" y="137"/>
                  <a:pt x="292" y="137"/>
                </a:cubicBezTo>
                <a:cubicBezTo>
                  <a:pt x="290" y="130"/>
                  <a:pt x="288" y="123"/>
                  <a:pt x="286" y="117"/>
                </a:cubicBezTo>
                <a:cubicBezTo>
                  <a:pt x="287" y="116"/>
                  <a:pt x="287" y="116"/>
                  <a:pt x="287" y="116"/>
                </a:cubicBezTo>
                <a:cubicBezTo>
                  <a:pt x="312" y="96"/>
                  <a:pt x="312" y="96"/>
                  <a:pt x="312" y="96"/>
                </a:cubicBezTo>
                <a:cubicBezTo>
                  <a:pt x="295" y="67"/>
                  <a:pt x="295" y="67"/>
                  <a:pt x="295" y="67"/>
                </a:cubicBezTo>
                <a:cubicBezTo>
                  <a:pt x="264" y="78"/>
                  <a:pt x="264" y="78"/>
                  <a:pt x="264" y="78"/>
                </a:cubicBezTo>
                <a:cubicBezTo>
                  <a:pt x="262" y="77"/>
                  <a:pt x="262" y="77"/>
                  <a:pt x="262" y="77"/>
                </a:cubicBezTo>
                <a:cubicBezTo>
                  <a:pt x="257" y="71"/>
                  <a:pt x="253" y="67"/>
                  <a:pt x="245" y="61"/>
                </a:cubicBezTo>
                <a:cubicBezTo>
                  <a:pt x="246" y="59"/>
                  <a:pt x="246" y="59"/>
                  <a:pt x="246" y="59"/>
                </a:cubicBezTo>
                <a:cubicBezTo>
                  <a:pt x="259" y="36"/>
                  <a:pt x="259" y="36"/>
                  <a:pt x="259" y="36"/>
                </a:cubicBezTo>
                <a:cubicBezTo>
                  <a:pt x="231" y="18"/>
                  <a:pt x="231" y="18"/>
                  <a:pt x="231" y="18"/>
                </a:cubicBezTo>
                <a:cubicBezTo>
                  <a:pt x="210" y="41"/>
                  <a:pt x="210" y="41"/>
                  <a:pt x="210" y="41"/>
                </a:cubicBezTo>
                <a:cubicBezTo>
                  <a:pt x="210" y="41"/>
                  <a:pt x="210" y="41"/>
                  <a:pt x="210" y="41"/>
                </a:cubicBezTo>
                <a:cubicBezTo>
                  <a:pt x="201" y="37"/>
                  <a:pt x="193" y="34"/>
                  <a:pt x="184" y="33"/>
                </a:cubicBezTo>
                <a:cubicBezTo>
                  <a:pt x="184" y="31"/>
                  <a:pt x="184" y="31"/>
                  <a:pt x="184" y="31"/>
                </a:cubicBezTo>
                <a:cubicBezTo>
                  <a:pt x="178" y="0"/>
                  <a:pt x="178" y="0"/>
                  <a:pt x="178" y="0"/>
                </a:cubicBezTo>
                <a:cubicBezTo>
                  <a:pt x="146" y="0"/>
                  <a:pt x="146" y="0"/>
                  <a:pt x="146" y="0"/>
                </a:cubicBezTo>
                <a:cubicBezTo>
                  <a:pt x="139" y="32"/>
                  <a:pt x="139" y="32"/>
                  <a:pt x="139" y="32"/>
                </a:cubicBezTo>
                <a:cubicBezTo>
                  <a:pt x="139" y="33"/>
                  <a:pt x="139" y="33"/>
                  <a:pt x="139" y="33"/>
                </a:cubicBezTo>
                <a:cubicBezTo>
                  <a:pt x="129" y="34"/>
                  <a:pt x="119" y="37"/>
                  <a:pt x="109" y="42"/>
                </a:cubicBezTo>
                <a:cubicBezTo>
                  <a:pt x="108" y="41"/>
                  <a:pt x="108" y="41"/>
                  <a:pt x="108" y="41"/>
                </a:cubicBezTo>
                <a:cubicBezTo>
                  <a:pt x="86" y="18"/>
                  <a:pt x="86" y="18"/>
                  <a:pt x="86" y="18"/>
                </a:cubicBezTo>
                <a:cubicBezTo>
                  <a:pt x="59" y="36"/>
                  <a:pt x="59" y="36"/>
                  <a:pt x="59" y="36"/>
                </a:cubicBezTo>
                <a:cubicBezTo>
                  <a:pt x="72" y="66"/>
                  <a:pt x="72" y="66"/>
                  <a:pt x="72" y="66"/>
                </a:cubicBezTo>
                <a:lnTo>
                  <a:pt x="72" y="67"/>
                </a:lnTo>
                <a:close/>
                <a:moveTo>
                  <a:pt x="219" y="69"/>
                </a:moveTo>
                <a:cubicBezTo>
                  <a:pt x="271" y="100"/>
                  <a:pt x="287" y="167"/>
                  <a:pt x="256" y="219"/>
                </a:cubicBezTo>
                <a:cubicBezTo>
                  <a:pt x="224" y="271"/>
                  <a:pt x="157" y="287"/>
                  <a:pt x="106" y="256"/>
                </a:cubicBezTo>
                <a:cubicBezTo>
                  <a:pt x="54" y="225"/>
                  <a:pt x="37" y="157"/>
                  <a:pt x="69" y="106"/>
                </a:cubicBezTo>
                <a:cubicBezTo>
                  <a:pt x="100" y="54"/>
                  <a:pt x="167" y="38"/>
                  <a:pt x="219" y="6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32" name="任意多边形: 形状 31"/>
          <p:cNvSpPr/>
          <p:nvPr/>
        </p:nvSpPr>
        <p:spPr bwMode="auto">
          <a:xfrm>
            <a:off x="4533953" y="3179125"/>
            <a:ext cx="379106" cy="334127"/>
          </a:xfrm>
          <a:custGeom>
            <a:avLst/>
            <a:gdLst>
              <a:gd name="T0" fmla="*/ 113 w 125"/>
              <a:gd name="T1" fmla="*/ 62 h 110"/>
              <a:gd name="T2" fmla="*/ 117 w 125"/>
              <a:gd name="T3" fmla="*/ 97 h 110"/>
              <a:gd name="T4" fmla="*/ 82 w 125"/>
              <a:gd name="T5" fmla="*/ 102 h 110"/>
              <a:gd name="T6" fmla="*/ 13 w 125"/>
              <a:gd name="T7" fmla="*/ 49 h 110"/>
              <a:gd name="T8" fmla="*/ 9 w 125"/>
              <a:gd name="T9" fmla="*/ 14 h 110"/>
              <a:gd name="T10" fmla="*/ 44 w 125"/>
              <a:gd name="T11" fmla="*/ 9 h 110"/>
              <a:gd name="T12" fmla="*/ 113 w 125"/>
              <a:gd name="T13" fmla="*/ 62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5" h="110">
                <a:moveTo>
                  <a:pt x="113" y="62"/>
                </a:moveTo>
                <a:cubicBezTo>
                  <a:pt x="124" y="70"/>
                  <a:pt x="125" y="86"/>
                  <a:pt x="117" y="97"/>
                </a:cubicBezTo>
                <a:cubicBezTo>
                  <a:pt x="109" y="108"/>
                  <a:pt x="93" y="110"/>
                  <a:pt x="82" y="102"/>
                </a:cubicBezTo>
                <a:cubicBezTo>
                  <a:pt x="13" y="49"/>
                  <a:pt x="13" y="49"/>
                  <a:pt x="13" y="49"/>
                </a:cubicBezTo>
                <a:cubicBezTo>
                  <a:pt x="2" y="41"/>
                  <a:pt x="0" y="25"/>
                  <a:pt x="9" y="14"/>
                </a:cubicBezTo>
                <a:cubicBezTo>
                  <a:pt x="17" y="3"/>
                  <a:pt x="33" y="0"/>
                  <a:pt x="44" y="9"/>
                </a:cubicBezTo>
                <a:lnTo>
                  <a:pt x="113" y="6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33" name="任意多边形: 形状 32"/>
          <p:cNvSpPr/>
          <p:nvPr/>
        </p:nvSpPr>
        <p:spPr bwMode="auto">
          <a:xfrm>
            <a:off x="4280787" y="3915490"/>
            <a:ext cx="426656" cy="218468"/>
          </a:xfrm>
          <a:custGeom>
            <a:avLst/>
            <a:gdLst>
              <a:gd name="T0" fmla="*/ 117 w 140"/>
              <a:gd name="T1" fmla="*/ 20 h 72"/>
              <a:gd name="T2" fmla="*/ 137 w 140"/>
              <a:gd name="T3" fmla="*/ 49 h 72"/>
              <a:gd name="T4" fmla="*/ 108 w 140"/>
              <a:gd name="T5" fmla="*/ 69 h 72"/>
              <a:gd name="T6" fmla="*/ 22 w 140"/>
              <a:gd name="T7" fmla="*/ 52 h 72"/>
              <a:gd name="T8" fmla="*/ 3 w 140"/>
              <a:gd name="T9" fmla="*/ 23 h 72"/>
              <a:gd name="T10" fmla="*/ 32 w 140"/>
              <a:gd name="T11" fmla="*/ 3 h 72"/>
              <a:gd name="T12" fmla="*/ 117 w 140"/>
              <a:gd name="T13" fmla="*/ 20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0" h="72">
                <a:moveTo>
                  <a:pt x="117" y="20"/>
                </a:moveTo>
                <a:cubicBezTo>
                  <a:pt x="131" y="22"/>
                  <a:pt x="140" y="36"/>
                  <a:pt x="137" y="49"/>
                </a:cubicBezTo>
                <a:cubicBezTo>
                  <a:pt x="134" y="63"/>
                  <a:pt x="121" y="72"/>
                  <a:pt x="108" y="69"/>
                </a:cubicBezTo>
                <a:cubicBezTo>
                  <a:pt x="22" y="52"/>
                  <a:pt x="22" y="52"/>
                  <a:pt x="22" y="52"/>
                </a:cubicBezTo>
                <a:cubicBezTo>
                  <a:pt x="9" y="50"/>
                  <a:pt x="0" y="37"/>
                  <a:pt x="3" y="23"/>
                </a:cubicBezTo>
                <a:cubicBezTo>
                  <a:pt x="6" y="9"/>
                  <a:pt x="19" y="0"/>
                  <a:pt x="32" y="3"/>
                </a:cubicBezTo>
                <a:lnTo>
                  <a:pt x="117" y="2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55000" lnSpcReduction="20000"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34" name="任意多边形: 形状 33"/>
          <p:cNvSpPr/>
          <p:nvPr/>
        </p:nvSpPr>
        <p:spPr bwMode="auto">
          <a:xfrm>
            <a:off x="4467128" y="4621014"/>
            <a:ext cx="422800" cy="240315"/>
          </a:xfrm>
          <a:custGeom>
            <a:avLst/>
            <a:gdLst>
              <a:gd name="T0" fmla="*/ 105 w 139"/>
              <a:gd name="T1" fmla="*/ 4 h 79"/>
              <a:gd name="T2" fmla="*/ 136 w 139"/>
              <a:gd name="T3" fmla="*/ 22 h 79"/>
              <a:gd name="T4" fmla="*/ 118 w 139"/>
              <a:gd name="T5" fmla="*/ 52 h 79"/>
              <a:gd name="T6" fmla="*/ 34 w 139"/>
              <a:gd name="T7" fmla="*/ 75 h 79"/>
              <a:gd name="T8" fmla="*/ 4 w 139"/>
              <a:gd name="T9" fmla="*/ 57 h 79"/>
              <a:gd name="T10" fmla="*/ 21 w 139"/>
              <a:gd name="T11" fmla="*/ 26 h 79"/>
              <a:gd name="T12" fmla="*/ 105 w 139"/>
              <a:gd name="T13" fmla="*/ 4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9" h="79">
                <a:moveTo>
                  <a:pt x="105" y="4"/>
                </a:moveTo>
                <a:cubicBezTo>
                  <a:pt x="118" y="0"/>
                  <a:pt x="132" y="8"/>
                  <a:pt x="136" y="22"/>
                </a:cubicBezTo>
                <a:cubicBezTo>
                  <a:pt x="139" y="35"/>
                  <a:pt x="131" y="49"/>
                  <a:pt x="118" y="52"/>
                </a:cubicBezTo>
                <a:cubicBezTo>
                  <a:pt x="34" y="75"/>
                  <a:pt x="34" y="75"/>
                  <a:pt x="34" y="75"/>
                </a:cubicBezTo>
                <a:cubicBezTo>
                  <a:pt x="21" y="79"/>
                  <a:pt x="7" y="71"/>
                  <a:pt x="4" y="57"/>
                </a:cubicBezTo>
                <a:cubicBezTo>
                  <a:pt x="0" y="44"/>
                  <a:pt x="8" y="30"/>
                  <a:pt x="21" y="26"/>
                </a:cubicBezTo>
                <a:lnTo>
                  <a:pt x="105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62500" lnSpcReduction="20000"/>
          </a:bodyPr>
          <a:lstStyle/>
          <a:p>
            <a:endParaRPr lang="en-US"/>
          </a:p>
        </p:txBody>
      </p:sp>
      <p:sp>
        <p:nvSpPr>
          <p:cNvPr id="35" name="任意多边形: 形状 34"/>
          <p:cNvSpPr/>
          <p:nvPr/>
        </p:nvSpPr>
        <p:spPr bwMode="auto">
          <a:xfrm>
            <a:off x="7254524" y="4621014"/>
            <a:ext cx="425371" cy="240315"/>
          </a:xfrm>
          <a:custGeom>
            <a:avLst/>
            <a:gdLst>
              <a:gd name="T0" fmla="*/ 35 w 140"/>
              <a:gd name="T1" fmla="*/ 4 h 79"/>
              <a:gd name="T2" fmla="*/ 4 w 140"/>
              <a:gd name="T3" fmla="*/ 22 h 79"/>
              <a:gd name="T4" fmla="*/ 21 w 140"/>
              <a:gd name="T5" fmla="*/ 52 h 79"/>
              <a:gd name="T6" fmla="*/ 105 w 140"/>
              <a:gd name="T7" fmla="*/ 75 h 79"/>
              <a:gd name="T8" fmla="*/ 136 w 140"/>
              <a:gd name="T9" fmla="*/ 57 h 79"/>
              <a:gd name="T10" fmla="*/ 119 w 140"/>
              <a:gd name="T11" fmla="*/ 26 h 79"/>
              <a:gd name="T12" fmla="*/ 35 w 140"/>
              <a:gd name="T13" fmla="*/ 4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0" h="79">
                <a:moveTo>
                  <a:pt x="35" y="4"/>
                </a:moveTo>
                <a:cubicBezTo>
                  <a:pt x="21" y="0"/>
                  <a:pt x="8" y="8"/>
                  <a:pt x="4" y="22"/>
                </a:cubicBezTo>
                <a:cubicBezTo>
                  <a:pt x="0" y="35"/>
                  <a:pt x="8" y="49"/>
                  <a:pt x="21" y="52"/>
                </a:cubicBezTo>
                <a:cubicBezTo>
                  <a:pt x="105" y="75"/>
                  <a:pt x="105" y="75"/>
                  <a:pt x="105" y="75"/>
                </a:cubicBezTo>
                <a:cubicBezTo>
                  <a:pt x="119" y="79"/>
                  <a:pt x="132" y="71"/>
                  <a:pt x="136" y="57"/>
                </a:cubicBezTo>
                <a:cubicBezTo>
                  <a:pt x="140" y="44"/>
                  <a:pt x="132" y="30"/>
                  <a:pt x="119" y="26"/>
                </a:cubicBezTo>
                <a:lnTo>
                  <a:pt x="35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36" name="任意多边形: 形状 35"/>
          <p:cNvSpPr/>
          <p:nvPr/>
        </p:nvSpPr>
        <p:spPr bwMode="auto">
          <a:xfrm>
            <a:off x="4850090" y="2936239"/>
            <a:ext cx="2335039" cy="2748843"/>
          </a:xfrm>
          <a:custGeom>
            <a:avLst/>
            <a:gdLst>
              <a:gd name="T0" fmla="*/ 702 w 768"/>
              <a:gd name="T1" fmla="*/ 412 h 904"/>
              <a:gd name="T2" fmla="*/ 611 w 768"/>
              <a:gd name="T3" fmla="*/ 601 h 904"/>
              <a:gd name="T4" fmla="*/ 611 w 768"/>
              <a:gd name="T5" fmla="*/ 602 h 904"/>
              <a:gd name="T6" fmla="*/ 609 w 768"/>
              <a:gd name="T7" fmla="*/ 604 h 904"/>
              <a:gd name="T8" fmla="*/ 606 w 768"/>
              <a:gd name="T9" fmla="*/ 606 h 904"/>
              <a:gd name="T10" fmla="*/ 606 w 768"/>
              <a:gd name="T11" fmla="*/ 607 h 904"/>
              <a:gd name="T12" fmla="*/ 536 w 768"/>
              <a:gd name="T13" fmla="*/ 735 h 904"/>
              <a:gd name="T14" fmla="*/ 523 w 768"/>
              <a:gd name="T15" fmla="*/ 827 h 904"/>
              <a:gd name="T16" fmla="*/ 523 w 768"/>
              <a:gd name="T17" fmla="*/ 833 h 904"/>
              <a:gd name="T18" fmla="*/ 521 w 768"/>
              <a:gd name="T19" fmla="*/ 837 h 904"/>
              <a:gd name="T20" fmla="*/ 504 w 768"/>
              <a:gd name="T21" fmla="*/ 844 h 904"/>
              <a:gd name="T22" fmla="*/ 274 w 768"/>
              <a:gd name="T23" fmla="*/ 844 h 904"/>
              <a:gd name="T24" fmla="*/ 257 w 768"/>
              <a:gd name="T25" fmla="*/ 837 h 904"/>
              <a:gd name="T26" fmla="*/ 255 w 768"/>
              <a:gd name="T27" fmla="*/ 832 h 904"/>
              <a:gd name="T28" fmla="*/ 256 w 768"/>
              <a:gd name="T29" fmla="*/ 827 h 904"/>
              <a:gd name="T30" fmla="*/ 243 w 768"/>
              <a:gd name="T31" fmla="*/ 737 h 904"/>
              <a:gd name="T32" fmla="*/ 185 w 768"/>
              <a:gd name="T33" fmla="*/ 622 h 904"/>
              <a:gd name="T34" fmla="*/ 170 w 768"/>
              <a:gd name="T35" fmla="*/ 604 h 904"/>
              <a:gd name="T36" fmla="*/ 136 w 768"/>
              <a:gd name="T37" fmla="*/ 571 h 904"/>
              <a:gd name="T38" fmla="*/ 109 w 768"/>
              <a:gd name="T39" fmla="*/ 530 h 904"/>
              <a:gd name="T40" fmla="*/ 75 w 768"/>
              <a:gd name="T41" fmla="*/ 436 h 904"/>
              <a:gd name="T42" fmla="*/ 70 w 768"/>
              <a:gd name="T43" fmla="*/ 378 h 904"/>
              <a:gd name="T44" fmla="*/ 342 w 768"/>
              <a:gd name="T45" fmla="*/ 65 h 904"/>
              <a:gd name="T46" fmla="*/ 305 w 768"/>
              <a:gd name="T47" fmla="*/ 0 h 904"/>
              <a:gd name="T48" fmla="*/ 0 w 768"/>
              <a:gd name="T49" fmla="*/ 378 h 904"/>
              <a:gd name="T50" fmla="*/ 132 w 768"/>
              <a:gd name="T51" fmla="*/ 669 h 904"/>
              <a:gd name="T52" fmla="*/ 186 w 768"/>
              <a:gd name="T53" fmla="*/ 825 h 904"/>
              <a:gd name="T54" fmla="*/ 204 w 768"/>
              <a:gd name="T55" fmla="*/ 883 h 904"/>
              <a:gd name="T56" fmla="*/ 226 w 768"/>
              <a:gd name="T57" fmla="*/ 902 h 904"/>
              <a:gd name="T58" fmla="*/ 380 w 768"/>
              <a:gd name="T59" fmla="*/ 903 h 904"/>
              <a:gd name="T60" fmla="*/ 547 w 768"/>
              <a:gd name="T61" fmla="*/ 904 h 904"/>
              <a:gd name="T62" fmla="*/ 575 w 768"/>
              <a:gd name="T63" fmla="*/ 883 h 904"/>
              <a:gd name="T64" fmla="*/ 593 w 768"/>
              <a:gd name="T65" fmla="*/ 825 h 904"/>
              <a:gd name="T66" fmla="*/ 658 w 768"/>
              <a:gd name="T67" fmla="*/ 654 h 904"/>
              <a:gd name="T68" fmla="*/ 662 w 768"/>
              <a:gd name="T69" fmla="*/ 650 h 904"/>
              <a:gd name="T70" fmla="*/ 768 w 768"/>
              <a:gd name="T71" fmla="*/ 442 h 904"/>
              <a:gd name="T72" fmla="*/ 702 w 768"/>
              <a:gd name="T73" fmla="*/ 412 h 9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768" h="904">
                <a:moveTo>
                  <a:pt x="702" y="412"/>
                </a:moveTo>
                <a:cubicBezTo>
                  <a:pt x="694" y="485"/>
                  <a:pt x="661" y="552"/>
                  <a:pt x="611" y="601"/>
                </a:cubicBezTo>
                <a:cubicBezTo>
                  <a:pt x="611" y="602"/>
                  <a:pt x="611" y="602"/>
                  <a:pt x="611" y="602"/>
                </a:cubicBezTo>
                <a:cubicBezTo>
                  <a:pt x="610" y="603"/>
                  <a:pt x="609" y="603"/>
                  <a:pt x="609" y="604"/>
                </a:cubicBezTo>
                <a:cubicBezTo>
                  <a:pt x="609" y="604"/>
                  <a:pt x="608" y="605"/>
                  <a:pt x="606" y="606"/>
                </a:cubicBezTo>
                <a:cubicBezTo>
                  <a:pt x="606" y="607"/>
                  <a:pt x="606" y="607"/>
                  <a:pt x="606" y="607"/>
                </a:cubicBezTo>
                <a:cubicBezTo>
                  <a:pt x="595" y="619"/>
                  <a:pt x="556" y="665"/>
                  <a:pt x="536" y="735"/>
                </a:cubicBezTo>
                <a:cubicBezTo>
                  <a:pt x="528" y="762"/>
                  <a:pt x="523" y="793"/>
                  <a:pt x="523" y="827"/>
                </a:cubicBezTo>
                <a:cubicBezTo>
                  <a:pt x="523" y="829"/>
                  <a:pt x="523" y="831"/>
                  <a:pt x="523" y="833"/>
                </a:cubicBezTo>
                <a:cubicBezTo>
                  <a:pt x="523" y="833"/>
                  <a:pt x="522" y="835"/>
                  <a:pt x="521" y="837"/>
                </a:cubicBezTo>
                <a:cubicBezTo>
                  <a:pt x="519" y="839"/>
                  <a:pt x="514" y="842"/>
                  <a:pt x="504" y="844"/>
                </a:cubicBezTo>
                <a:cubicBezTo>
                  <a:pt x="274" y="844"/>
                  <a:pt x="274" y="844"/>
                  <a:pt x="274" y="844"/>
                </a:cubicBezTo>
                <a:cubicBezTo>
                  <a:pt x="265" y="842"/>
                  <a:pt x="260" y="840"/>
                  <a:pt x="257" y="837"/>
                </a:cubicBezTo>
                <a:cubicBezTo>
                  <a:pt x="256" y="836"/>
                  <a:pt x="255" y="833"/>
                  <a:pt x="255" y="832"/>
                </a:cubicBezTo>
                <a:cubicBezTo>
                  <a:pt x="256" y="830"/>
                  <a:pt x="256" y="830"/>
                  <a:pt x="256" y="827"/>
                </a:cubicBezTo>
                <a:cubicBezTo>
                  <a:pt x="256" y="794"/>
                  <a:pt x="251" y="764"/>
                  <a:pt x="243" y="737"/>
                </a:cubicBezTo>
                <a:cubicBezTo>
                  <a:pt x="227" y="683"/>
                  <a:pt x="201" y="643"/>
                  <a:pt x="185" y="622"/>
                </a:cubicBezTo>
                <a:cubicBezTo>
                  <a:pt x="180" y="616"/>
                  <a:pt x="175" y="610"/>
                  <a:pt x="170" y="604"/>
                </a:cubicBezTo>
                <a:cubicBezTo>
                  <a:pt x="159" y="593"/>
                  <a:pt x="146" y="583"/>
                  <a:pt x="136" y="571"/>
                </a:cubicBezTo>
                <a:cubicBezTo>
                  <a:pt x="125" y="558"/>
                  <a:pt x="116" y="544"/>
                  <a:pt x="109" y="530"/>
                </a:cubicBezTo>
                <a:cubicBezTo>
                  <a:pt x="94" y="501"/>
                  <a:pt x="81" y="469"/>
                  <a:pt x="75" y="436"/>
                </a:cubicBezTo>
                <a:cubicBezTo>
                  <a:pt x="72" y="417"/>
                  <a:pt x="70" y="397"/>
                  <a:pt x="70" y="378"/>
                </a:cubicBezTo>
                <a:cubicBezTo>
                  <a:pt x="70" y="219"/>
                  <a:pt x="189" y="87"/>
                  <a:pt x="342" y="65"/>
                </a:cubicBezTo>
                <a:cubicBezTo>
                  <a:pt x="305" y="0"/>
                  <a:pt x="305" y="0"/>
                  <a:pt x="305" y="0"/>
                </a:cubicBezTo>
                <a:cubicBezTo>
                  <a:pt x="131" y="38"/>
                  <a:pt x="0" y="193"/>
                  <a:pt x="0" y="378"/>
                </a:cubicBezTo>
                <a:cubicBezTo>
                  <a:pt x="0" y="494"/>
                  <a:pt x="51" y="598"/>
                  <a:pt x="132" y="669"/>
                </a:cubicBezTo>
                <a:cubicBezTo>
                  <a:pt x="151" y="694"/>
                  <a:pt x="185" y="750"/>
                  <a:pt x="186" y="825"/>
                </a:cubicBezTo>
                <a:cubicBezTo>
                  <a:pt x="184" y="841"/>
                  <a:pt x="188" y="864"/>
                  <a:pt x="204" y="883"/>
                </a:cubicBezTo>
                <a:cubicBezTo>
                  <a:pt x="210" y="890"/>
                  <a:pt x="218" y="897"/>
                  <a:pt x="226" y="902"/>
                </a:cubicBezTo>
                <a:cubicBezTo>
                  <a:pt x="380" y="903"/>
                  <a:pt x="380" y="903"/>
                  <a:pt x="380" y="903"/>
                </a:cubicBezTo>
                <a:cubicBezTo>
                  <a:pt x="547" y="904"/>
                  <a:pt x="547" y="904"/>
                  <a:pt x="547" y="904"/>
                </a:cubicBezTo>
                <a:cubicBezTo>
                  <a:pt x="558" y="899"/>
                  <a:pt x="567" y="892"/>
                  <a:pt x="575" y="883"/>
                </a:cubicBezTo>
                <a:cubicBezTo>
                  <a:pt x="590" y="864"/>
                  <a:pt x="594" y="841"/>
                  <a:pt x="593" y="825"/>
                </a:cubicBezTo>
                <a:cubicBezTo>
                  <a:pt x="594" y="723"/>
                  <a:pt x="657" y="655"/>
                  <a:pt x="658" y="654"/>
                </a:cubicBezTo>
                <a:cubicBezTo>
                  <a:pt x="660" y="653"/>
                  <a:pt x="661" y="652"/>
                  <a:pt x="662" y="650"/>
                </a:cubicBezTo>
                <a:cubicBezTo>
                  <a:pt x="717" y="595"/>
                  <a:pt x="755" y="522"/>
                  <a:pt x="768" y="442"/>
                </a:cubicBezTo>
                <a:cubicBezTo>
                  <a:pt x="750" y="433"/>
                  <a:pt x="720" y="420"/>
                  <a:pt x="702" y="41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37" name="任意多边形: 形状 36">
            <a:extLst>
              <a:ext uri="{FF2B5EF4-FFF2-40B4-BE49-F238E27FC236}">
                <a16:creationId xmlns:a16="http://schemas.microsoft.com/office/drawing/2014/main" id="{1175A03F-584F-42FA-AAB4-34973BABBF54}"/>
              </a:ext>
            </a:extLst>
          </p:cNvPr>
          <p:cNvSpPr/>
          <p:nvPr/>
        </p:nvSpPr>
        <p:spPr bwMode="auto">
          <a:xfrm>
            <a:off x="6427203" y="2290340"/>
            <a:ext cx="512182" cy="470614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608909" h="559493">
                <a:moveTo>
                  <a:pt x="470180" y="272856"/>
                </a:moveTo>
                <a:lnTo>
                  <a:pt x="476019" y="272856"/>
                </a:lnTo>
                <a:lnTo>
                  <a:pt x="481953" y="272856"/>
                </a:lnTo>
                <a:cubicBezTo>
                  <a:pt x="509171" y="272856"/>
                  <a:pt x="531210" y="294963"/>
                  <a:pt x="531210" y="322056"/>
                </a:cubicBezTo>
                <a:lnTo>
                  <a:pt x="531210" y="376617"/>
                </a:lnTo>
                <a:cubicBezTo>
                  <a:pt x="531210" y="385084"/>
                  <a:pt x="526783" y="392609"/>
                  <a:pt x="520096" y="397031"/>
                </a:cubicBezTo>
                <a:lnTo>
                  <a:pt x="520096" y="449711"/>
                </a:lnTo>
                <a:cubicBezTo>
                  <a:pt x="520096" y="450558"/>
                  <a:pt x="520661" y="451498"/>
                  <a:pt x="521509" y="451875"/>
                </a:cubicBezTo>
                <a:cubicBezTo>
                  <a:pt x="528949" y="455450"/>
                  <a:pt x="565492" y="473888"/>
                  <a:pt x="599209" y="501639"/>
                </a:cubicBezTo>
                <a:cubicBezTo>
                  <a:pt x="605425" y="506625"/>
                  <a:pt x="608909" y="514150"/>
                  <a:pt x="608909" y="522052"/>
                </a:cubicBezTo>
                <a:lnTo>
                  <a:pt x="608909" y="559493"/>
                </a:lnTo>
                <a:lnTo>
                  <a:pt x="483083" y="559493"/>
                </a:lnTo>
                <a:lnTo>
                  <a:pt x="483083" y="515561"/>
                </a:lnTo>
                <a:cubicBezTo>
                  <a:pt x="483083" y="499475"/>
                  <a:pt x="476019" y="484424"/>
                  <a:pt x="463587" y="474264"/>
                </a:cubicBezTo>
                <a:cubicBezTo>
                  <a:pt x="453039" y="465609"/>
                  <a:pt x="442302" y="457707"/>
                  <a:pt x="431848" y="450558"/>
                </a:cubicBezTo>
                <a:cubicBezTo>
                  <a:pt x="431848" y="450370"/>
                  <a:pt x="431942" y="450087"/>
                  <a:pt x="431942" y="449711"/>
                </a:cubicBezTo>
                <a:lnTo>
                  <a:pt x="431942" y="397031"/>
                </a:lnTo>
                <a:cubicBezTo>
                  <a:pt x="425350" y="392609"/>
                  <a:pt x="420923" y="385084"/>
                  <a:pt x="420923" y="376617"/>
                </a:cubicBezTo>
                <a:lnTo>
                  <a:pt x="420923" y="322056"/>
                </a:lnTo>
                <a:cubicBezTo>
                  <a:pt x="420923" y="294775"/>
                  <a:pt x="443056" y="272856"/>
                  <a:pt x="470180" y="272856"/>
                </a:cubicBezTo>
                <a:close/>
                <a:moveTo>
                  <a:pt x="127004" y="272856"/>
                </a:moveTo>
                <a:lnTo>
                  <a:pt x="132940" y="272856"/>
                </a:lnTo>
                <a:lnTo>
                  <a:pt x="138781" y="272856"/>
                </a:lnTo>
                <a:cubicBezTo>
                  <a:pt x="166104" y="272856"/>
                  <a:pt x="188057" y="294963"/>
                  <a:pt x="188057" y="322056"/>
                </a:cubicBezTo>
                <a:lnTo>
                  <a:pt x="188057" y="376617"/>
                </a:lnTo>
                <a:cubicBezTo>
                  <a:pt x="188057" y="385084"/>
                  <a:pt x="183629" y="392609"/>
                  <a:pt x="177033" y="397031"/>
                </a:cubicBezTo>
                <a:lnTo>
                  <a:pt x="177033" y="449711"/>
                </a:lnTo>
                <a:cubicBezTo>
                  <a:pt x="177033" y="449993"/>
                  <a:pt x="177128" y="450370"/>
                  <a:pt x="177128" y="450558"/>
                </a:cubicBezTo>
                <a:cubicBezTo>
                  <a:pt x="166670" y="457613"/>
                  <a:pt x="155929" y="465609"/>
                  <a:pt x="145376" y="474264"/>
                </a:cubicBezTo>
                <a:cubicBezTo>
                  <a:pt x="133034" y="484424"/>
                  <a:pt x="125874" y="499475"/>
                  <a:pt x="125874" y="515561"/>
                </a:cubicBezTo>
                <a:lnTo>
                  <a:pt x="125874" y="559493"/>
                </a:lnTo>
                <a:lnTo>
                  <a:pt x="0" y="559493"/>
                </a:lnTo>
                <a:lnTo>
                  <a:pt x="0" y="522052"/>
                </a:lnTo>
                <a:cubicBezTo>
                  <a:pt x="0" y="514150"/>
                  <a:pt x="3486" y="506625"/>
                  <a:pt x="9704" y="501639"/>
                </a:cubicBezTo>
                <a:cubicBezTo>
                  <a:pt x="43434" y="473888"/>
                  <a:pt x="79990" y="455450"/>
                  <a:pt x="87433" y="451875"/>
                </a:cubicBezTo>
                <a:cubicBezTo>
                  <a:pt x="88281" y="451498"/>
                  <a:pt x="88846" y="450558"/>
                  <a:pt x="88846" y="449711"/>
                </a:cubicBezTo>
                <a:lnTo>
                  <a:pt x="88846" y="397031"/>
                </a:lnTo>
                <a:cubicBezTo>
                  <a:pt x="82157" y="392609"/>
                  <a:pt x="77729" y="385084"/>
                  <a:pt x="77729" y="376617"/>
                </a:cubicBezTo>
                <a:lnTo>
                  <a:pt x="77729" y="322056"/>
                </a:lnTo>
                <a:cubicBezTo>
                  <a:pt x="77729" y="294775"/>
                  <a:pt x="99870" y="272856"/>
                  <a:pt x="127004" y="272856"/>
                </a:cubicBezTo>
                <a:close/>
                <a:moveTo>
                  <a:pt x="297600" y="222543"/>
                </a:moveTo>
                <a:lnTo>
                  <a:pt x="304477" y="222543"/>
                </a:lnTo>
                <a:lnTo>
                  <a:pt x="311260" y="222543"/>
                </a:lnTo>
                <a:cubicBezTo>
                  <a:pt x="343291" y="222543"/>
                  <a:pt x="369198" y="248506"/>
                  <a:pt x="369198" y="280395"/>
                </a:cubicBezTo>
                <a:lnTo>
                  <a:pt x="369198" y="344455"/>
                </a:lnTo>
                <a:cubicBezTo>
                  <a:pt x="369198" y="354520"/>
                  <a:pt x="364017" y="363456"/>
                  <a:pt x="356198" y="368536"/>
                </a:cubicBezTo>
                <a:lnTo>
                  <a:pt x="356198" y="430432"/>
                </a:lnTo>
                <a:cubicBezTo>
                  <a:pt x="356198" y="431561"/>
                  <a:pt x="356857" y="432502"/>
                  <a:pt x="357893" y="433066"/>
                </a:cubicBezTo>
                <a:cubicBezTo>
                  <a:pt x="366655" y="437299"/>
                  <a:pt x="409520" y="459029"/>
                  <a:pt x="449275" y="491576"/>
                </a:cubicBezTo>
                <a:cubicBezTo>
                  <a:pt x="456435" y="497502"/>
                  <a:pt x="460580" y="506251"/>
                  <a:pt x="460580" y="515563"/>
                </a:cubicBezTo>
                <a:lnTo>
                  <a:pt x="460580" y="559493"/>
                </a:lnTo>
                <a:lnTo>
                  <a:pt x="304477" y="559493"/>
                </a:lnTo>
                <a:lnTo>
                  <a:pt x="148187" y="559493"/>
                </a:lnTo>
                <a:lnTo>
                  <a:pt x="148187" y="515563"/>
                </a:lnTo>
                <a:cubicBezTo>
                  <a:pt x="148187" y="506251"/>
                  <a:pt x="152332" y="497502"/>
                  <a:pt x="159492" y="491576"/>
                </a:cubicBezTo>
                <a:cubicBezTo>
                  <a:pt x="199342" y="459029"/>
                  <a:pt x="242206" y="437299"/>
                  <a:pt x="250967" y="433066"/>
                </a:cubicBezTo>
                <a:cubicBezTo>
                  <a:pt x="252004" y="432502"/>
                  <a:pt x="252569" y="431561"/>
                  <a:pt x="252569" y="430432"/>
                </a:cubicBezTo>
                <a:lnTo>
                  <a:pt x="252569" y="368536"/>
                </a:lnTo>
                <a:cubicBezTo>
                  <a:pt x="244844" y="363456"/>
                  <a:pt x="239663" y="354520"/>
                  <a:pt x="239663" y="344455"/>
                </a:cubicBezTo>
                <a:lnTo>
                  <a:pt x="239663" y="280395"/>
                </a:lnTo>
                <a:cubicBezTo>
                  <a:pt x="239663" y="248412"/>
                  <a:pt x="265664" y="222543"/>
                  <a:pt x="297600" y="222543"/>
                </a:cubicBezTo>
                <a:close/>
                <a:moveTo>
                  <a:pt x="492495" y="40775"/>
                </a:moveTo>
                <a:cubicBezTo>
                  <a:pt x="488350" y="40775"/>
                  <a:pt x="487596" y="41528"/>
                  <a:pt x="487502" y="45854"/>
                </a:cubicBezTo>
                <a:lnTo>
                  <a:pt x="487502" y="51498"/>
                </a:lnTo>
                <a:cubicBezTo>
                  <a:pt x="487502" y="57142"/>
                  <a:pt x="487502" y="56953"/>
                  <a:pt x="482038" y="59023"/>
                </a:cubicBezTo>
                <a:cubicBezTo>
                  <a:pt x="469036" y="63726"/>
                  <a:pt x="460934" y="72661"/>
                  <a:pt x="460086" y="86864"/>
                </a:cubicBezTo>
                <a:cubicBezTo>
                  <a:pt x="459332" y="99374"/>
                  <a:pt x="465833" y="107934"/>
                  <a:pt x="476196" y="114048"/>
                </a:cubicBezTo>
                <a:cubicBezTo>
                  <a:pt x="482414" y="117810"/>
                  <a:pt x="489480" y="120068"/>
                  <a:pt x="496264" y="123078"/>
                </a:cubicBezTo>
                <a:cubicBezTo>
                  <a:pt x="498902" y="124206"/>
                  <a:pt x="501445" y="125617"/>
                  <a:pt x="503706" y="127310"/>
                </a:cubicBezTo>
                <a:cubicBezTo>
                  <a:pt x="510207" y="132578"/>
                  <a:pt x="508982" y="141513"/>
                  <a:pt x="501257" y="144900"/>
                </a:cubicBezTo>
                <a:cubicBezTo>
                  <a:pt x="497112" y="146781"/>
                  <a:pt x="492778" y="147157"/>
                  <a:pt x="488350" y="146687"/>
                </a:cubicBezTo>
                <a:cubicBezTo>
                  <a:pt x="481472" y="145746"/>
                  <a:pt x="474783" y="144053"/>
                  <a:pt x="468659" y="140761"/>
                </a:cubicBezTo>
                <a:cubicBezTo>
                  <a:pt x="464985" y="138880"/>
                  <a:pt x="463949" y="139350"/>
                  <a:pt x="462724" y="143301"/>
                </a:cubicBezTo>
                <a:cubicBezTo>
                  <a:pt x="461593" y="146687"/>
                  <a:pt x="460557" y="150167"/>
                  <a:pt x="459709" y="153553"/>
                </a:cubicBezTo>
                <a:cubicBezTo>
                  <a:pt x="458484" y="158162"/>
                  <a:pt x="458861" y="159291"/>
                  <a:pt x="463572" y="161548"/>
                </a:cubicBezTo>
                <a:cubicBezTo>
                  <a:pt x="469130" y="164370"/>
                  <a:pt x="475160" y="165687"/>
                  <a:pt x="481284" y="166722"/>
                </a:cubicBezTo>
                <a:cubicBezTo>
                  <a:pt x="486089" y="167474"/>
                  <a:pt x="486371" y="167568"/>
                  <a:pt x="486371" y="172647"/>
                </a:cubicBezTo>
                <a:lnTo>
                  <a:pt x="486371" y="179420"/>
                </a:lnTo>
                <a:cubicBezTo>
                  <a:pt x="486371" y="182147"/>
                  <a:pt x="487690" y="183934"/>
                  <a:pt x="490611" y="183934"/>
                </a:cubicBezTo>
                <a:cubicBezTo>
                  <a:pt x="493908" y="184029"/>
                  <a:pt x="497300" y="184029"/>
                  <a:pt x="500503" y="183934"/>
                </a:cubicBezTo>
                <a:cubicBezTo>
                  <a:pt x="503330" y="183934"/>
                  <a:pt x="504649" y="182430"/>
                  <a:pt x="504649" y="179608"/>
                </a:cubicBezTo>
                <a:cubicBezTo>
                  <a:pt x="504649" y="176504"/>
                  <a:pt x="504837" y="173494"/>
                  <a:pt x="504649" y="170390"/>
                </a:cubicBezTo>
                <a:cubicBezTo>
                  <a:pt x="504554" y="167192"/>
                  <a:pt x="505968" y="165687"/>
                  <a:pt x="508982" y="164840"/>
                </a:cubicBezTo>
                <a:cubicBezTo>
                  <a:pt x="515860" y="162959"/>
                  <a:pt x="521889" y="159197"/>
                  <a:pt x="526412" y="153647"/>
                </a:cubicBezTo>
                <a:cubicBezTo>
                  <a:pt x="538942" y="138221"/>
                  <a:pt x="534231" y="115835"/>
                  <a:pt x="516237" y="105865"/>
                </a:cubicBezTo>
                <a:cubicBezTo>
                  <a:pt x="510584" y="102761"/>
                  <a:pt x="504554" y="100503"/>
                  <a:pt x="498619" y="97964"/>
                </a:cubicBezTo>
                <a:cubicBezTo>
                  <a:pt x="495227" y="96647"/>
                  <a:pt x="492024" y="94860"/>
                  <a:pt x="489104" y="92602"/>
                </a:cubicBezTo>
                <a:cubicBezTo>
                  <a:pt x="483451" y="88087"/>
                  <a:pt x="484581" y="80657"/>
                  <a:pt x="491270" y="77835"/>
                </a:cubicBezTo>
                <a:cubicBezTo>
                  <a:pt x="493155" y="76894"/>
                  <a:pt x="495133" y="76706"/>
                  <a:pt x="497112" y="76518"/>
                </a:cubicBezTo>
                <a:cubicBezTo>
                  <a:pt x="504931" y="76142"/>
                  <a:pt x="512186" y="77553"/>
                  <a:pt x="519252" y="80939"/>
                </a:cubicBezTo>
                <a:cubicBezTo>
                  <a:pt x="522643" y="82538"/>
                  <a:pt x="523868" y="82067"/>
                  <a:pt x="524998" y="78399"/>
                </a:cubicBezTo>
                <a:cubicBezTo>
                  <a:pt x="526317" y="74543"/>
                  <a:pt x="527260" y="70686"/>
                  <a:pt x="528390" y="66736"/>
                </a:cubicBezTo>
                <a:cubicBezTo>
                  <a:pt x="529144" y="64102"/>
                  <a:pt x="528296" y="62503"/>
                  <a:pt x="525752" y="61374"/>
                </a:cubicBezTo>
                <a:cubicBezTo>
                  <a:pt x="521230" y="59399"/>
                  <a:pt x="516708" y="57988"/>
                  <a:pt x="511809" y="57236"/>
                </a:cubicBezTo>
                <a:cubicBezTo>
                  <a:pt x="505402" y="56201"/>
                  <a:pt x="505402" y="56201"/>
                  <a:pt x="505402" y="49805"/>
                </a:cubicBezTo>
                <a:cubicBezTo>
                  <a:pt x="505402" y="40775"/>
                  <a:pt x="505402" y="40775"/>
                  <a:pt x="496358" y="40775"/>
                </a:cubicBezTo>
                <a:close/>
                <a:moveTo>
                  <a:pt x="496111" y="0"/>
                </a:moveTo>
                <a:cubicBezTo>
                  <a:pt x="524951" y="0"/>
                  <a:pt x="553781" y="10958"/>
                  <a:pt x="575779" y="32874"/>
                </a:cubicBezTo>
                <a:cubicBezTo>
                  <a:pt x="619776" y="76894"/>
                  <a:pt x="619776" y="148192"/>
                  <a:pt x="575779" y="192024"/>
                </a:cubicBezTo>
                <a:cubicBezTo>
                  <a:pt x="538754" y="229083"/>
                  <a:pt x="482226" y="234821"/>
                  <a:pt x="438982" y="209519"/>
                </a:cubicBezTo>
                <a:lnTo>
                  <a:pt x="438700" y="209237"/>
                </a:lnTo>
                <a:cubicBezTo>
                  <a:pt x="421742" y="222029"/>
                  <a:pt x="403559" y="224286"/>
                  <a:pt x="390840" y="222311"/>
                </a:cubicBezTo>
                <a:cubicBezTo>
                  <a:pt x="386600" y="221653"/>
                  <a:pt x="385752" y="215915"/>
                  <a:pt x="389615" y="214034"/>
                </a:cubicBezTo>
                <a:cubicBezTo>
                  <a:pt x="401297" y="208202"/>
                  <a:pt x="408552" y="196915"/>
                  <a:pt x="412886" y="187791"/>
                </a:cubicBezTo>
                <a:lnTo>
                  <a:pt x="411567" y="187038"/>
                </a:lnTo>
                <a:cubicBezTo>
                  <a:pt x="372374" y="142736"/>
                  <a:pt x="374070" y="75201"/>
                  <a:pt x="416371" y="32874"/>
                </a:cubicBezTo>
                <a:cubicBezTo>
                  <a:pt x="438417" y="10958"/>
                  <a:pt x="467270" y="0"/>
                  <a:pt x="49611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/>
          </a:p>
        </p:txBody>
      </p:sp>
      <p:sp>
        <p:nvSpPr>
          <p:cNvPr id="38" name="任意多边形: 形状 37">
            <a:extLst>
              <a:ext uri="{FF2B5EF4-FFF2-40B4-BE49-F238E27FC236}">
                <a16:creationId xmlns:a16="http://schemas.microsoft.com/office/drawing/2014/main" id="{1175A03F-584F-42FA-AAB4-34973BABBF54}"/>
              </a:ext>
            </a:extLst>
          </p:cNvPr>
          <p:cNvSpPr/>
          <p:nvPr/>
        </p:nvSpPr>
        <p:spPr bwMode="auto">
          <a:xfrm>
            <a:off x="7254003" y="3611493"/>
            <a:ext cx="323603" cy="354830"/>
          </a:xfrm>
          <a:custGeom>
            <a:avLst/>
            <a:gdLst>
              <a:gd name="connsiteX0" fmla="*/ 257952 w 552598"/>
              <a:gd name="connsiteY0" fmla="*/ 238897 h 605921"/>
              <a:gd name="connsiteX1" fmla="*/ 252845 w 552598"/>
              <a:gd name="connsiteY1" fmla="*/ 243996 h 605921"/>
              <a:gd name="connsiteX2" fmla="*/ 252845 w 552598"/>
              <a:gd name="connsiteY2" fmla="*/ 308986 h 605921"/>
              <a:gd name="connsiteX3" fmla="*/ 228056 w 552598"/>
              <a:gd name="connsiteY3" fmla="*/ 308986 h 605921"/>
              <a:gd name="connsiteX4" fmla="*/ 225642 w 552598"/>
              <a:gd name="connsiteY4" fmla="*/ 314085 h 605921"/>
              <a:gd name="connsiteX5" fmla="*/ 273271 w 552598"/>
              <a:gd name="connsiteY5" fmla="*/ 372123 h 605921"/>
              <a:gd name="connsiteX6" fmla="*/ 279306 w 552598"/>
              <a:gd name="connsiteY6" fmla="*/ 372123 h 605921"/>
              <a:gd name="connsiteX7" fmla="*/ 327027 w 552598"/>
              <a:gd name="connsiteY7" fmla="*/ 314085 h 605921"/>
              <a:gd name="connsiteX8" fmla="*/ 324520 w 552598"/>
              <a:gd name="connsiteY8" fmla="*/ 308986 h 605921"/>
              <a:gd name="connsiteX9" fmla="*/ 299731 w 552598"/>
              <a:gd name="connsiteY9" fmla="*/ 308986 h 605921"/>
              <a:gd name="connsiteX10" fmla="*/ 299731 w 552598"/>
              <a:gd name="connsiteY10" fmla="*/ 243996 h 605921"/>
              <a:gd name="connsiteX11" fmla="*/ 294718 w 552598"/>
              <a:gd name="connsiteY11" fmla="*/ 238897 h 605921"/>
              <a:gd name="connsiteX12" fmla="*/ 260737 w 552598"/>
              <a:gd name="connsiteY12" fmla="*/ 130146 h 605921"/>
              <a:gd name="connsiteX13" fmla="*/ 291932 w 552598"/>
              <a:gd name="connsiteY13" fmla="*/ 130146 h 605921"/>
              <a:gd name="connsiteX14" fmla="*/ 303445 w 552598"/>
              <a:gd name="connsiteY14" fmla="*/ 141642 h 605921"/>
              <a:gd name="connsiteX15" fmla="*/ 303445 w 552598"/>
              <a:gd name="connsiteY15" fmla="*/ 167602 h 605921"/>
              <a:gd name="connsiteX16" fmla="*/ 353580 w 552598"/>
              <a:gd name="connsiteY16" fmla="*/ 188369 h 605921"/>
              <a:gd name="connsiteX17" fmla="*/ 371963 w 552598"/>
              <a:gd name="connsiteY17" fmla="*/ 170012 h 605921"/>
              <a:gd name="connsiteX18" fmla="*/ 388118 w 552598"/>
              <a:gd name="connsiteY18" fmla="*/ 170012 h 605921"/>
              <a:gd name="connsiteX19" fmla="*/ 410215 w 552598"/>
              <a:gd name="connsiteY19" fmla="*/ 192077 h 605921"/>
              <a:gd name="connsiteX20" fmla="*/ 410215 w 552598"/>
              <a:gd name="connsiteY20" fmla="*/ 208209 h 605921"/>
              <a:gd name="connsiteX21" fmla="*/ 391832 w 552598"/>
              <a:gd name="connsiteY21" fmla="*/ 226566 h 605921"/>
              <a:gd name="connsiteX22" fmla="*/ 412628 w 552598"/>
              <a:gd name="connsiteY22" fmla="*/ 276630 h 605921"/>
              <a:gd name="connsiteX23" fmla="*/ 438625 w 552598"/>
              <a:gd name="connsiteY23" fmla="*/ 276630 h 605921"/>
              <a:gd name="connsiteX24" fmla="*/ 450137 w 552598"/>
              <a:gd name="connsiteY24" fmla="*/ 288126 h 605921"/>
              <a:gd name="connsiteX25" fmla="*/ 450137 w 552598"/>
              <a:gd name="connsiteY25" fmla="*/ 319277 h 605921"/>
              <a:gd name="connsiteX26" fmla="*/ 438625 w 552598"/>
              <a:gd name="connsiteY26" fmla="*/ 330773 h 605921"/>
              <a:gd name="connsiteX27" fmla="*/ 412628 w 552598"/>
              <a:gd name="connsiteY27" fmla="*/ 330773 h 605921"/>
              <a:gd name="connsiteX28" fmla="*/ 391832 w 552598"/>
              <a:gd name="connsiteY28" fmla="*/ 380838 h 605921"/>
              <a:gd name="connsiteX29" fmla="*/ 410215 w 552598"/>
              <a:gd name="connsiteY29" fmla="*/ 399102 h 605921"/>
              <a:gd name="connsiteX30" fmla="*/ 410215 w 552598"/>
              <a:gd name="connsiteY30" fmla="*/ 415326 h 605921"/>
              <a:gd name="connsiteX31" fmla="*/ 388118 w 552598"/>
              <a:gd name="connsiteY31" fmla="*/ 437299 h 605921"/>
              <a:gd name="connsiteX32" fmla="*/ 371963 w 552598"/>
              <a:gd name="connsiteY32" fmla="*/ 437299 h 605921"/>
              <a:gd name="connsiteX33" fmla="*/ 353580 w 552598"/>
              <a:gd name="connsiteY33" fmla="*/ 419035 h 605921"/>
              <a:gd name="connsiteX34" fmla="*/ 303445 w 552598"/>
              <a:gd name="connsiteY34" fmla="*/ 439802 h 605921"/>
              <a:gd name="connsiteX35" fmla="*/ 303445 w 552598"/>
              <a:gd name="connsiteY35" fmla="*/ 465761 h 605921"/>
              <a:gd name="connsiteX36" fmla="*/ 291932 w 552598"/>
              <a:gd name="connsiteY36" fmla="*/ 477257 h 605921"/>
              <a:gd name="connsiteX37" fmla="*/ 260737 w 552598"/>
              <a:gd name="connsiteY37" fmla="*/ 477257 h 605921"/>
              <a:gd name="connsiteX38" fmla="*/ 249224 w 552598"/>
              <a:gd name="connsiteY38" fmla="*/ 465761 h 605921"/>
              <a:gd name="connsiteX39" fmla="*/ 249224 w 552598"/>
              <a:gd name="connsiteY39" fmla="*/ 439802 h 605921"/>
              <a:gd name="connsiteX40" fmla="*/ 199089 w 552598"/>
              <a:gd name="connsiteY40" fmla="*/ 419035 h 605921"/>
              <a:gd name="connsiteX41" fmla="*/ 180799 w 552598"/>
              <a:gd name="connsiteY41" fmla="*/ 437299 h 605921"/>
              <a:gd name="connsiteX42" fmla="*/ 164551 w 552598"/>
              <a:gd name="connsiteY42" fmla="*/ 437299 h 605921"/>
              <a:gd name="connsiteX43" fmla="*/ 142547 w 552598"/>
              <a:gd name="connsiteY43" fmla="*/ 415326 h 605921"/>
              <a:gd name="connsiteX44" fmla="*/ 142547 w 552598"/>
              <a:gd name="connsiteY44" fmla="*/ 399102 h 605921"/>
              <a:gd name="connsiteX45" fmla="*/ 160837 w 552598"/>
              <a:gd name="connsiteY45" fmla="*/ 380838 h 605921"/>
              <a:gd name="connsiteX46" fmla="*/ 140041 w 552598"/>
              <a:gd name="connsiteY46" fmla="*/ 330773 h 605921"/>
              <a:gd name="connsiteX47" fmla="*/ 114044 w 552598"/>
              <a:gd name="connsiteY47" fmla="*/ 330773 h 605921"/>
              <a:gd name="connsiteX48" fmla="*/ 102532 w 552598"/>
              <a:gd name="connsiteY48" fmla="*/ 319277 h 605921"/>
              <a:gd name="connsiteX49" fmla="*/ 102532 w 552598"/>
              <a:gd name="connsiteY49" fmla="*/ 288126 h 605921"/>
              <a:gd name="connsiteX50" fmla="*/ 114044 w 552598"/>
              <a:gd name="connsiteY50" fmla="*/ 276630 h 605921"/>
              <a:gd name="connsiteX51" fmla="*/ 140041 w 552598"/>
              <a:gd name="connsiteY51" fmla="*/ 276630 h 605921"/>
              <a:gd name="connsiteX52" fmla="*/ 160837 w 552598"/>
              <a:gd name="connsiteY52" fmla="*/ 226566 h 605921"/>
              <a:gd name="connsiteX53" fmla="*/ 142547 w 552598"/>
              <a:gd name="connsiteY53" fmla="*/ 208209 h 605921"/>
              <a:gd name="connsiteX54" fmla="*/ 142547 w 552598"/>
              <a:gd name="connsiteY54" fmla="*/ 192077 h 605921"/>
              <a:gd name="connsiteX55" fmla="*/ 164551 w 552598"/>
              <a:gd name="connsiteY55" fmla="*/ 170012 h 605921"/>
              <a:gd name="connsiteX56" fmla="*/ 180799 w 552598"/>
              <a:gd name="connsiteY56" fmla="*/ 170012 h 605921"/>
              <a:gd name="connsiteX57" fmla="*/ 199089 w 552598"/>
              <a:gd name="connsiteY57" fmla="*/ 188369 h 605921"/>
              <a:gd name="connsiteX58" fmla="*/ 249224 w 552598"/>
              <a:gd name="connsiteY58" fmla="*/ 167602 h 605921"/>
              <a:gd name="connsiteX59" fmla="*/ 249224 w 552598"/>
              <a:gd name="connsiteY59" fmla="*/ 141642 h 605921"/>
              <a:gd name="connsiteX60" fmla="*/ 260737 w 552598"/>
              <a:gd name="connsiteY60" fmla="*/ 130146 h 605921"/>
              <a:gd name="connsiteX61" fmla="*/ 438507 w 552598"/>
              <a:gd name="connsiteY61" fmla="*/ 79551 h 605921"/>
              <a:gd name="connsiteX62" fmla="*/ 552598 w 552598"/>
              <a:gd name="connsiteY62" fmla="*/ 302952 h 605921"/>
              <a:gd name="connsiteX63" fmla="*/ 276329 w 552598"/>
              <a:gd name="connsiteY63" fmla="*/ 578821 h 605921"/>
              <a:gd name="connsiteX64" fmla="*/ 276329 w 552598"/>
              <a:gd name="connsiteY64" fmla="*/ 602737 h 605921"/>
              <a:gd name="connsiteX65" fmla="*/ 271316 w 552598"/>
              <a:gd name="connsiteY65" fmla="*/ 605332 h 605921"/>
              <a:gd name="connsiteX66" fmla="*/ 206426 w 552598"/>
              <a:gd name="connsiteY66" fmla="*/ 560837 h 605921"/>
              <a:gd name="connsiteX67" fmla="*/ 206426 w 552598"/>
              <a:gd name="connsiteY67" fmla="*/ 555553 h 605921"/>
              <a:gd name="connsiteX68" fmla="*/ 271316 w 552598"/>
              <a:gd name="connsiteY68" fmla="*/ 511059 h 605921"/>
              <a:gd name="connsiteX69" fmla="*/ 276329 w 552598"/>
              <a:gd name="connsiteY69" fmla="*/ 513654 h 605921"/>
              <a:gd name="connsiteX70" fmla="*/ 276329 w 552598"/>
              <a:gd name="connsiteY70" fmla="*/ 537663 h 605921"/>
              <a:gd name="connsiteX71" fmla="*/ 511381 w 552598"/>
              <a:gd name="connsiteY71" fmla="*/ 302952 h 605921"/>
              <a:gd name="connsiteX72" fmla="*/ 414278 w 552598"/>
              <a:gd name="connsiteY72" fmla="*/ 112830 h 605921"/>
              <a:gd name="connsiteX73" fmla="*/ 281414 w 552598"/>
              <a:gd name="connsiteY73" fmla="*/ 589 h 605921"/>
              <a:gd name="connsiteX74" fmla="*/ 346313 w 552598"/>
              <a:gd name="connsiteY74" fmla="*/ 45086 h 605921"/>
              <a:gd name="connsiteX75" fmla="*/ 346313 w 552598"/>
              <a:gd name="connsiteY75" fmla="*/ 50277 h 605921"/>
              <a:gd name="connsiteX76" fmla="*/ 281414 w 552598"/>
              <a:gd name="connsiteY76" fmla="*/ 94775 h 605921"/>
              <a:gd name="connsiteX77" fmla="*/ 276308 w 552598"/>
              <a:gd name="connsiteY77" fmla="*/ 92179 h 605921"/>
              <a:gd name="connsiteX78" fmla="*/ 276308 w 552598"/>
              <a:gd name="connsiteY78" fmla="*/ 68262 h 605921"/>
              <a:gd name="connsiteX79" fmla="*/ 41223 w 552598"/>
              <a:gd name="connsiteY79" fmla="*/ 303077 h 605921"/>
              <a:gd name="connsiteX80" fmla="*/ 138432 w 552598"/>
              <a:gd name="connsiteY80" fmla="*/ 493302 h 605921"/>
              <a:gd name="connsiteX81" fmla="*/ 114200 w 552598"/>
              <a:gd name="connsiteY81" fmla="*/ 526582 h 605921"/>
              <a:gd name="connsiteX82" fmla="*/ 0 w 552598"/>
              <a:gd name="connsiteY82" fmla="*/ 303077 h 605921"/>
              <a:gd name="connsiteX83" fmla="*/ 276308 w 552598"/>
              <a:gd name="connsiteY83" fmla="*/ 27195 h 605921"/>
              <a:gd name="connsiteX84" fmla="*/ 276308 w 552598"/>
              <a:gd name="connsiteY84" fmla="*/ 3185 h 605921"/>
              <a:gd name="connsiteX85" fmla="*/ 281414 w 552598"/>
              <a:gd name="connsiteY85" fmla="*/ 589 h 605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552598" h="605921">
                <a:moveTo>
                  <a:pt x="257952" y="238897"/>
                </a:moveTo>
                <a:cubicBezTo>
                  <a:pt x="255074" y="238897"/>
                  <a:pt x="252845" y="241122"/>
                  <a:pt x="252845" y="243996"/>
                </a:cubicBezTo>
                <a:lnTo>
                  <a:pt x="252845" y="308986"/>
                </a:lnTo>
                <a:lnTo>
                  <a:pt x="228056" y="308986"/>
                </a:lnTo>
                <a:cubicBezTo>
                  <a:pt x="225364" y="308986"/>
                  <a:pt x="223878" y="311953"/>
                  <a:pt x="225642" y="314085"/>
                </a:cubicBezTo>
                <a:lnTo>
                  <a:pt x="273271" y="372123"/>
                </a:lnTo>
                <a:cubicBezTo>
                  <a:pt x="274849" y="373977"/>
                  <a:pt x="277727" y="373977"/>
                  <a:pt x="279306" y="372123"/>
                </a:cubicBezTo>
                <a:lnTo>
                  <a:pt x="327027" y="314085"/>
                </a:lnTo>
                <a:cubicBezTo>
                  <a:pt x="328605" y="311953"/>
                  <a:pt x="327213" y="308894"/>
                  <a:pt x="324520" y="308986"/>
                </a:cubicBezTo>
                <a:lnTo>
                  <a:pt x="299731" y="308986"/>
                </a:lnTo>
                <a:lnTo>
                  <a:pt x="299731" y="243996"/>
                </a:lnTo>
                <a:cubicBezTo>
                  <a:pt x="299731" y="241122"/>
                  <a:pt x="297503" y="238897"/>
                  <a:pt x="294718" y="238897"/>
                </a:cubicBezTo>
                <a:close/>
                <a:moveTo>
                  <a:pt x="260737" y="130146"/>
                </a:moveTo>
                <a:lnTo>
                  <a:pt x="291932" y="130146"/>
                </a:lnTo>
                <a:cubicBezTo>
                  <a:pt x="298431" y="130146"/>
                  <a:pt x="303445" y="135338"/>
                  <a:pt x="303445" y="141642"/>
                </a:cubicBezTo>
                <a:lnTo>
                  <a:pt x="303445" y="167602"/>
                </a:lnTo>
                <a:cubicBezTo>
                  <a:pt x="321642" y="171125"/>
                  <a:pt x="338632" y="178356"/>
                  <a:pt x="353580" y="188369"/>
                </a:cubicBezTo>
                <a:lnTo>
                  <a:pt x="371963" y="170012"/>
                </a:lnTo>
                <a:cubicBezTo>
                  <a:pt x="376420" y="165562"/>
                  <a:pt x="383661" y="165562"/>
                  <a:pt x="388118" y="170012"/>
                </a:cubicBezTo>
                <a:lnTo>
                  <a:pt x="410215" y="192077"/>
                </a:lnTo>
                <a:cubicBezTo>
                  <a:pt x="414671" y="196528"/>
                  <a:pt x="414671" y="203759"/>
                  <a:pt x="410215" y="208209"/>
                </a:cubicBezTo>
                <a:lnTo>
                  <a:pt x="391832" y="226566"/>
                </a:lnTo>
                <a:cubicBezTo>
                  <a:pt x="401859" y="241400"/>
                  <a:pt x="409100" y="258459"/>
                  <a:pt x="412628" y="276630"/>
                </a:cubicBezTo>
                <a:lnTo>
                  <a:pt x="438625" y="276630"/>
                </a:lnTo>
                <a:cubicBezTo>
                  <a:pt x="445124" y="276630"/>
                  <a:pt x="450137" y="281822"/>
                  <a:pt x="450137" y="288126"/>
                </a:cubicBezTo>
                <a:lnTo>
                  <a:pt x="450137" y="319277"/>
                </a:lnTo>
                <a:cubicBezTo>
                  <a:pt x="450137" y="325674"/>
                  <a:pt x="444938" y="330773"/>
                  <a:pt x="438625" y="330773"/>
                </a:cubicBezTo>
                <a:lnTo>
                  <a:pt x="412628" y="330773"/>
                </a:lnTo>
                <a:cubicBezTo>
                  <a:pt x="409100" y="348945"/>
                  <a:pt x="401859" y="365818"/>
                  <a:pt x="391832" y="380838"/>
                </a:cubicBezTo>
                <a:lnTo>
                  <a:pt x="410215" y="399102"/>
                </a:lnTo>
                <a:cubicBezTo>
                  <a:pt x="414671" y="403552"/>
                  <a:pt x="414671" y="410876"/>
                  <a:pt x="410215" y="415326"/>
                </a:cubicBezTo>
                <a:lnTo>
                  <a:pt x="388118" y="437299"/>
                </a:lnTo>
                <a:cubicBezTo>
                  <a:pt x="383661" y="441749"/>
                  <a:pt x="376420" y="441749"/>
                  <a:pt x="371963" y="437299"/>
                </a:cubicBezTo>
                <a:lnTo>
                  <a:pt x="353580" y="419035"/>
                </a:lnTo>
                <a:cubicBezTo>
                  <a:pt x="338725" y="429047"/>
                  <a:pt x="321642" y="436186"/>
                  <a:pt x="303445" y="439802"/>
                </a:cubicBezTo>
                <a:lnTo>
                  <a:pt x="303445" y="465761"/>
                </a:lnTo>
                <a:cubicBezTo>
                  <a:pt x="303445" y="472158"/>
                  <a:pt x="298246" y="477257"/>
                  <a:pt x="291932" y="477257"/>
                </a:cubicBezTo>
                <a:lnTo>
                  <a:pt x="260737" y="477257"/>
                </a:lnTo>
                <a:cubicBezTo>
                  <a:pt x="254331" y="477257"/>
                  <a:pt x="249224" y="472065"/>
                  <a:pt x="249224" y="465761"/>
                </a:cubicBezTo>
                <a:lnTo>
                  <a:pt x="249224" y="439802"/>
                </a:lnTo>
                <a:cubicBezTo>
                  <a:pt x="231027" y="436186"/>
                  <a:pt x="214130" y="429047"/>
                  <a:pt x="199089" y="419035"/>
                </a:cubicBezTo>
                <a:lnTo>
                  <a:pt x="180799" y="437299"/>
                </a:lnTo>
                <a:cubicBezTo>
                  <a:pt x="176342" y="441749"/>
                  <a:pt x="169008" y="441749"/>
                  <a:pt x="164551" y="437299"/>
                </a:cubicBezTo>
                <a:lnTo>
                  <a:pt x="142547" y="415326"/>
                </a:lnTo>
                <a:cubicBezTo>
                  <a:pt x="138091" y="410876"/>
                  <a:pt x="138091" y="403552"/>
                  <a:pt x="142547" y="399102"/>
                </a:cubicBezTo>
                <a:lnTo>
                  <a:pt x="160837" y="380838"/>
                </a:lnTo>
                <a:cubicBezTo>
                  <a:pt x="150810" y="366004"/>
                  <a:pt x="143661" y="348945"/>
                  <a:pt x="140041" y="330773"/>
                </a:cubicBezTo>
                <a:lnTo>
                  <a:pt x="114044" y="330773"/>
                </a:lnTo>
                <a:cubicBezTo>
                  <a:pt x="107638" y="330773"/>
                  <a:pt x="102532" y="325582"/>
                  <a:pt x="102532" y="319277"/>
                </a:cubicBezTo>
                <a:lnTo>
                  <a:pt x="102532" y="288126"/>
                </a:lnTo>
                <a:cubicBezTo>
                  <a:pt x="102532" y="281636"/>
                  <a:pt x="107731" y="276630"/>
                  <a:pt x="114044" y="276630"/>
                </a:cubicBezTo>
                <a:lnTo>
                  <a:pt x="140041" y="276630"/>
                </a:lnTo>
                <a:cubicBezTo>
                  <a:pt x="143661" y="258459"/>
                  <a:pt x="150810" y="241492"/>
                  <a:pt x="160837" y="226566"/>
                </a:cubicBezTo>
                <a:lnTo>
                  <a:pt x="142547" y="208209"/>
                </a:lnTo>
                <a:cubicBezTo>
                  <a:pt x="138091" y="203759"/>
                  <a:pt x="138091" y="196528"/>
                  <a:pt x="142547" y="192077"/>
                </a:cubicBezTo>
                <a:lnTo>
                  <a:pt x="164551" y="170012"/>
                </a:lnTo>
                <a:cubicBezTo>
                  <a:pt x="169008" y="165562"/>
                  <a:pt x="176342" y="165562"/>
                  <a:pt x="180799" y="170012"/>
                </a:cubicBezTo>
                <a:lnTo>
                  <a:pt x="199089" y="188369"/>
                </a:lnTo>
                <a:cubicBezTo>
                  <a:pt x="213944" y="178356"/>
                  <a:pt x="231027" y="171125"/>
                  <a:pt x="249224" y="167602"/>
                </a:cubicBezTo>
                <a:lnTo>
                  <a:pt x="249224" y="141642"/>
                </a:lnTo>
                <a:cubicBezTo>
                  <a:pt x="249224" y="135153"/>
                  <a:pt x="254424" y="130146"/>
                  <a:pt x="260737" y="130146"/>
                </a:cubicBezTo>
                <a:close/>
                <a:moveTo>
                  <a:pt x="438507" y="79551"/>
                </a:moveTo>
                <a:cubicBezTo>
                  <a:pt x="510081" y="131462"/>
                  <a:pt x="552598" y="214890"/>
                  <a:pt x="552598" y="302952"/>
                </a:cubicBezTo>
                <a:cubicBezTo>
                  <a:pt x="552598" y="455069"/>
                  <a:pt x="428760" y="578821"/>
                  <a:pt x="276329" y="578821"/>
                </a:cubicBezTo>
                <a:lnTo>
                  <a:pt x="276329" y="602737"/>
                </a:lnTo>
                <a:cubicBezTo>
                  <a:pt x="276329" y="605332"/>
                  <a:pt x="273358" y="606815"/>
                  <a:pt x="271316" y="605332"/>
                </a:cubicBezTo>
                <a:lnTo>
                  <a:pt x="206426" y="560837"/>
                </a:lnTo>
                <a:cubicBezTo>
                  <a:pt x="204569" y="559539"/>
                  <a:pt x="204569" y="556759"/>
                  <a:pt x="206426" y="555553"/>
                </a:cubicBezTo>
                <a:lnTo>
                  <a:pt x="271316" y="511059"/>
                </a:lnTo>
                <a:cubicBezTo>
                  <a:pt x="273544" y="509575"/>
                  <a:pt x="276329" y="511059"/>
                  <a:pt x="276329" y="513654"/>
                </a:cubicBezTo>
                <a:lnTo>
                  <a:pt x="276329" y="537663"/>
                </a:lnTo>
                <a:cubicBezTo>
                  <a:pt x="405923" y="537663"/>
                  <a:pt x="511381" y="432358"/>
                  <a:pt x="511381" y="302952"/>
                </a:cubicBezTo>
                <a:cubicBezTo>
                  <a:pt x="511381" y="228053"/>
                  <a:pt x="475176" y="156954"/>
                  <a:pt x="414278" y="112830"/>
                </a:cubicBezTo>
                <a:close/>
                <a:moveTo>
                  <a:pt x="281414" y="589"/>
                </a:moveTo>
                <a:lnTo>
                  <a:pt x="346313" y="45086"/>
                </a:lnTo>
                <a:cubicBezTo>
                  <a:pt x="348170" y="46384"/>
                  <a:pt x="348170" y="49072"/>
                  <a:pt x="346313" y="50277"/>
                </a:cubicBezTo>
                <a:lnTo>
                  <a:pt x="281414" y="94775"/>
                </a:lnTo>
                <a:cubicBezTo>
                  <a:pt x="279186" y="96258"/>
                  <a:pt x="276308" y="94775"/>
                  <a:pt x="276308" y="92179"/>
                </a:cubicBezTo>
                <a:lnTo>
                  <a:pt x="276308" y="68262"/>
                </a:lnTo>
                <a:cubicBezTo>
                  <a:pt x="146695" y="68262"/>
                  <a:pt x="41223" y="173665"/>
                  <a:pt x="41223" y="303077"/>
                </a:cubicBezTo>
                <a:cubicBezTo>
                  <a:pt x="41223" y="377980"/>
                  <a:pt x="77526" y="449176"/>
                  <a:pt x="138432" y="493302"/>
                </a:cubicBezTo>
                <a:lnTo>
                  <a:pt x="114200" y="526582"/>
                </a:lnTo>
                <a:cubicBezTo>
                  <a:pt x="42709" y="474762"/>
                  <a:pt x="0" y="391237"/>
                  <a:pt x="0" y="303077"/>
                </a:cubicBezTo>
                <a:cubicBezTo>
                  <a:pt x="0" y="150953"/>
                  <a:pt x="123948" y="27195"/>
                  <a:pt x="276308" y="27195"/>
                </a:cubicBezTo>
                <a:lnTo>
                  <a:pt x="276308" y="3185"/>
                </a:lnTo>
                <a:cubicBezTo>
                  <a:pt x="276308" y="589"/>
                  <a:pt x="279279" y="-894"/>
                  <a:pt x="281414" y="589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wrap="square" lIns="91440" tIns="45720" rIns="91440" bIns="45720">
            <a:normAutofit lnSpcReduction="10000"/>
          </a:bodyPr>
          <a:lstStyle/>
          <a:p>
            <a:endParaRPr lang="zh-CN" altLang="en-US"/>
          </a:p>
        </p:txBody>
      </p:sp>
      <p:sp>
        <p:nvSpPr>
          <p:cNvPr id="39" name="任意多边形: 形状 38"/>
          <p:cNvSpPr/>
          <p:nvPr/>
        </p:nvSpPr>
        <p:spPr bwMode="auto">
          <a:xfrm>
            <a:off x="5797091" y="3888659"/>
            <a:ext cx="459028" cy="488032"/>
          </a:xfrm>
          <a:custGeom>
            <a:avLst/>
            <a:gdLst>
              <a:gd name="connsiteX0" fmla="*/ 133148 w 570667"/>
              <a:gd name="connsiteY0" fmla="*/ 372716 h 606722"/>
              <a:gd name="connsiteX1" fmla="*/ 98615 w 570667"/>
              <a:gd name="connsiteY1" fmla="*/ 385336 h 606722"/>
              <a:gd name="connsiteX2" fmla="*/ 157624 w 570667"/>
              <a:gd name="connsiteY2" fmla="*/ 426037 h 606722"/>
              <a:gd name="connsiteX3" fmla="*/ 133148 w 570667"/>
              <a:gd name="connsiteY3" fmla="*/ 372716 h 606722"/>
              <a:gd name="connsiteX4" fmla="*/ 222418 w 570667"/>
              <a:gd name="connsiteY4" fmla="*/ 358586 h 606722"/>
              <a:gd name="connsiteX5" fmla="*/ 170885 w 570667"/>
              <a:gd name="connsiteY5" fmla="*/ 364096 h 606722"/>
              <a:gd name="connsiteX6" fmla="*/ 222418 w 570667"/>
              <a:gd name="connsiteY6" fmla="*/ 439368 h 606722"/>
              <a:gd name="connsiteX7" fmla="*/ 152195 w 570667"/>
              <a:gd name="connsiteY7" fmla="*/ 260564 h 606722"/>
              <a:gd name="connsiteX8" fmla="*/ 160472 w 570667"/>
              <a:gd name="connsiteY8" fmla="*/ 326949 h 606722"/>
              <a:gd name="connsiteX9" fmla="*/ 222418 w 570667"/>
              <a:gd name="connsiteY9" fmla="*/ 320195 h 606722"/>
              <a:gd name="connsiteX10" fmla="*/ 222418 w 570667"/>
              <a:gd name="connsiteY10" fmla="*/ 260564 h 606722"/>
              <a:gd name="connsiteX11" fmla="*/ 39339 w 570667"/>
              <a:gd name="connsiteY11" fmla="*/ 260564 h 606722"/>
              <a:gd name="connsiteX12" fmla="*/ 73338 w 570667"/>
              <a:gd name="connsiteY12" fmla="*/ 354854 h 606722"/>
              <a:gd name="connsiteX13" fmla="*/ 123091 w 570667"/>
              <a:gd name="connsiteY13" fmla="*/ 335658 h 606722"/>
              <a:gd name="connsiteX14" fmla="*/ 113657 w 570667"/>
              <a:gd name="connsiteY14" fmla="*/ 260564 h 606722"/>
              <a:gd name="connsiteX15" fmla="*/ 435071 w 570667"/>
              <a:gd name="connsiteY15" fmla="*/ 190994 h 606722"/>
              <a:gd name="connsiteX16" fmla="*/ 449493 w 570667"/>
              <a:gd name="connsiteY16" fmla="*/ 199593 h 606722"/>
              <a:gd name="connsiteX17" fmla="*/ 568250 w 570667"/>
              <a:gd name="connsiteY17" fmla="*/ 420443 h 606722"/>
              <a:gd name="connsiteX18" fmla="*/ 550445 w 570667"/>
              <a:gd name="connsiteY18" fmla="*/ 450127 h 606722"/>
              <a:gd name="connsiteX19" fmla="*/ 488574 w 570667"/>
              <a:gd name="connsiteY19" fmla="*/ 450127 h 606722"/>
              <a:gd name="connsiteX20" fmla="*/ 488574 w 570667"/>
              <a:gd name="connsiteY20" fmla="*/ 590370 h 606722"/>
              <a:gd name="connsiteX21" fmla="*/ 472194 w 570667"/>
              <a:gd name="connsiteY21" fmla="*/ 606722 h 606722"/>
              <a:gd name="connsiteX22" fmla="*/ 397948 w 570667"/>
              <a:gd name="connsiteY22" fmla="*/ 606722 h 606722"/>
              <a:gd name="connsiteX23" fmla="*/ 381568 w 570667"/>
              <a:gd name="connsiteY23" fmla="*/ 590370 h 606722"/>
              <a:gd name="connsiteX24" fmla="*/ 381568 w 570667"/>
              <a:gd name="connsiteY24" fmla="*/ 450127 h 606722"/>
              <a:gd name="connsiteX25" fmla="*/ 319697 w 570667"/>
              <a:gd name="connsiteY25" fmla="*/ 450127 h 606722"/>
              <a:gd name="connsiteX26" fmla="*/ 301892 w 570667"/>
              <a:gd name="connsiteY26" fmla="*/ 420443 h 606722"/>
              <a:gd name="connsiteX27" fmla="*/ 420649 w 570667"/>
              <a:gd name="connsiteY27" fmla="*/ 199593 h 606722"/>
              <a:gd name="connsiteX28" fmla="*/ 435071 w 570667"/>
              <a:gd name="connsiteY28" fmla="*/ 190994 h 606722"/>
              <a:gd name="connsiteX29" fmla="*/ 322724 w 570667"/>
              <a:gd name="connsiteY29" fmla="*/ 155254 h 606722"/>
              <a:gd name="connsiteX30" fmla="*/ 260956 w 570667"/>
              <a:gd name="connsiteY30" fmla="*/ 162008 h 606722"/>
              <a:gd name="connsiteX31" fmla="*/ 260956 w 570667"/>
              <a:gd name="connsiteY31" fmla="*/ 222083 h 606722"/>
              <a:gd name="connsiteX32" fmla="*/ 331180 w 570667"/>
              <a:gd name="connsiteY32" fmla="*/ 222083 h 606722"/>
              <a:gd name="connsiteX33" fmla="*/ 322724 w 570667"/>
              <a:gd name="connsiteY33" fmla="*/ 155254 h 606722"/>
              <a:gd name="connsiteX34" fmla="*/ 160650 w 570667"/>
              <a:gd name="connsiteY34" fmla="*/ 155254 h 606722"/>
              <a:gd name="connsiteX35" fmla="*/ 152195 w 570667"/>
              <a:gd name="connsiteY35" fmla="*/ 222083 h 606722"/>
              <a:gd name="connsiteX36" fmla="*/ 222418 w 570667"/>
              <a:gd name="connsiteY36" fmla="*/ 222083 h 606722"/>
              <a:gd name="connsiteX37" fmla="*/ 222418 w 570667"/>
              <a:gd name="connsiteY37" fmla="*/ 162008 h 606722"/>
              <a:gd name="connsiteX38" fmla="*/ 160650 w 570667"/>
              <a:gd name="connsiteY38" fmla="*/ 155254 h 606722"/>
              <a:gd name="connsiteX39" fmla="*/ 73605 w 570667"/>
              <a:gd name="connsiteY39" fmla="*/ 127438 h 606722"/>
              <a:gd name="connsiteX40" fmla="*/ 39339 w 570667"/>
              <a:gd name="connsiteY40" fmla="*/ 222083 h 606722"/>
              <a:gd name="connsiteX41" fmla="*/ 113746 w 570667"/>
              <a:gd name="connsiteY41" fmla="*/ 222083 h 606722"/>
              <a:gd name="connsiteX42" fmla="*/ 123269 w 570667"/>
              <a:gd name="connsiteY42" fmla="*/ 146544 h 606722"/>
              <a:gd name="connsiteX43" fmla="*/ 73605 w 570667"/>
              <a:gd name="connsiteY43" fmla="*/ 127438 h 606722"/>
              <a:gd name="connsiteX44" fmla="*/ 325305 w 570667"/>
              <a:gd name="connsiteY44" fmla="*/ 56431 h 606722"/>
              <a:gd name="connsiteX45" fmla="*/ 349870 w 570667"/>
              <a:gd name="connsiteY45" fmla="*/ 109575 h 606722"/>
              <a:gd name="connsiteX46" fmla="*/ 384403 w 570667"/>
              <a:gd name="connsiteY46" fmla="*/ 97045 h 606722"/>
              <a:gd name="connsiteX47" fmla="*/ 325305 w 570667"/>
              <a:gd name="connsiteY47" fmla="*/ 56431 h 606722"/>
              <a:gd name="connsiteX48" fmla="*/ 158069 w 570667"/>
              <a:gd name="connsiteY48" fmla="*/ 56431 h 606722"/>
              <a:gd name="connsiteX49" fmla="*/ 98971 w 570667"/>
              <a:gd name="connsiteY49" fmla="*/ 97045 h 606722"/>
              <a:gd name="connsiteX50" fmla="*/ 133504 w 570667"/>
              <a:gd name="connsiteY50" fmla="*/ 109575 h 606722"/>
              <a:gd name="connsiteX51" fmla="*/ 158069 w 570667"/>
              <a:gd name="connsiteY51" fmla="*/ 56431 h 606722"/>
              <a:gd name="connsiteX52" fmla="*/ 260956 w 570667"/>
              <a:gd name="connsiteY52" fmla="*/ 43723 h 606722"/>
              <a:gd name="connsiteX53" fmla="*/ 260956 w 570667"/>
              <a:gd name="connsiteY53" fmla="*/ 123616 h 606722"/>
              <a:gd name="connsiteX54" fmla="*/ 312222 w 570667"/>
              <a:gd name="connsiteY54" fmla="*/ 118195 h 606722"/>
              <a:gd name="connsiteX55" fmla="*/ 260956 w 570667"/>
              <a:gd name="connsiteY55" fmla="*/ 43723 h 606722"/>
              <a:gd name="connsiteX56" fmla="*/ 222418 w 570667"/>
              <a:gd name="connsiteY56" fmla="*/ 43723 h 606722"/>
              <a:gd name="connsiteX57" fmla="*/ 171152 w 570667"/>
              <a:gd name="connsiteY57" fmla="*/ 118195 h 606722"/>
              <a:gd name="connsiteX58" fmla="*/ 222418 w 570667"/>
              <a:gd name="connsiteY58" fmla="*/ 123616 h 606722"/>
              <a:gd name="connsiteX59" fmla="*/ 241643 w 570667"/>
              <a:gd name="connsiteY59" fmla="*/ 0 h 606722"/>
              <a:gd name="connsiteX60" fmla="*/ 471448 w 570667"/>
              <a:gd name="connsiteY60" fmla="*/ 166362 h 606722"/>
              <a:gd name="connsiteX61" fmla="*/ 424900 w 570667"/>
              <a:gd name="connsiteY61" fmla="*/ 153565 h 606722"/>
              <a:gd name="connsiteX62" fmla="*/ 409769 w 570667"/>
              <a:gd name="connsiteY62" fmla="*/ 127438 h 606722"/>
              <a:gd name="connsiteX63" fmla="*/ 360105 w 570667"/>
              <a:gd name="connsiteY63" fmla="*/ 146544 h 606722"/>
              <a:gd name="connsiteX64" fmla="*/ 369273 w 570667"/>
              <a:gd name="connsiteY64" fmla="*/ 213996 h 606722"/>
              <a:gd name="connsiteX65" fmla="*/ 329043 w 570667"/>
              <a:gd name="connsiteY65" fmla="*/ 288824 h 606722"/>
              <a:gd name="connsiteX66" fmla="*/ 331180 w 570667"/>
              <a:gd name="connsiteY66" fmla="*/ 260564 h 606722"/>
              <a:gd name="connsiteX67" fmla="*/ 260956 w 570667"/>
              <a:gd name="connsiteY67" fmla="*/ 260564 h 606722"/>
              <a:gd name="connsiteX68" fmla="*/ 260956 w 570667"/>
              <a:gd name="connsiteY68" fmla="*/ 320195 h 606722"/>
              <a:gd name="connsiteX69" fmla="*/ 309730 w 570667"/>
              <a:gd name="connsiteY69" fmla="*/ 324727 h 606722"/>
              <a:gd name="connsiteX70" fmla="*/ 290238 w 570667"/>
              <a:gd name="connsiteY70" fmla="*/ 360897 h 606722"/>
              <a:gd name="connsiteX71" fmla="*/ 260956 w 570667"/>
              <a:gd name="connsiteY71" fmla="*/ 358586 h 606722"/>
              <a:gd name="connsiteX72" fmla="*/ 260956 w 570667"/>
              <a:gd name="connsiteY72" fmla="*/ 439368 h 606722"/>
              <a:gd name="connsiteX73" fmla="*/ 261757 w 570667"/>
              <a:gd name="connsiteY73" fmla="*/ 438835 h 606722"/>
              <a:gd name="connsiteX74" fmla="*/ 287212 w 570667"/>
              <a:gd name="connsiteY74" fmla="*/ 478648 h 606722"/>
              <a:gd name="connsiteX75" fmla="*/ 241643 w 570667"/>
              <a:gd name="connsiteY75" fmla="*/ 483091 h 606722"/>
              <a:gd name="connsiteX76" fmla="*/ 0 w 570667"/>
              <a:gd name="connsiteY76" fmla="*/ 241368 h 606722"/>
              <a:gd name="connsiteX77" fmla="*/ 241643 w 570667"/>
              <a:gd name="connsiteY77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70667" h="606722">
                <a:moveTo>
                  <a:pt x="133148" y="372716"/>
                </a:moveTo>
                <a:cubicBezTo>
                  <a:pt x="120866" y="376271"/>
                  <a:pt x="109295" y="380537"/>
                  <a:pt x="98615" y="385336"/>
                </a:cubicBezTo>
                <a:cubicBezTo>
                  <a:pt x="115615" y="402132"/>
                  <a:pt x="135551" y="415995"/>
                  <a:pt x="157624" y="426037"/>
                </a:cubicBezTo>
                <a:cubicBezTo>
                  <a:pt x="147478" y="409597"/>
                  <a:pt x="139467" y="391379"/>
                  <a:pt x="133148" y="372716"/>
                </a:cubicBezTo>
                <a:close/>
                <a:moveTo>
                  <a:pt x="222418" y="358586"/>
                </a:moveTo>
                <a:cubicBezTo>
                  <a:pt x="204618" y="359386"/>
                  <a:pt x="187351" y="361252"/>
                  <a:pt x="170885" y="364096"/>
                </a:cubicBezTo>
                <a:cubicBezTo>
                  <a:pt x="180320" y="391023"/>
                  <a:pt x="197586" y="425682"/>
                  <a:pt x="222418" y="439368"/>
                </a:cubicBezTo>
                <a:close/>
                <a:moveTo>
                  <a:pt x="152195" y="260564"/>
                </a:moveTo>
                <a:cubicBezTo>
                  <a:pt x="153174" y="283758"/>
                  <a:pt x="156022" y="306153"/>
                  <a:pt x="160472" y="326949"/>
                </a:cubicBezTo>
                <a:cubicBezTo>
                  <a:pt x="180320" y="323305"/>
                  <a:pt x="201057" y="320994"/>
                  <a:pt x="222418" y="320195"/>
                </a:cubicBezTo>
                <a:lnTo>
                  <a:pt x="222418" y="260564"/>
                </a:lnTo>
                <a:close/>
                <a:moveTo>
                  <a:pt x="39339" y="260564"/>
                </a:moveTo>
                <a:cubicBezTo>
                  <a:pt x="42632" y="295223"/>
                  <a:pt x="54737" y="327482"/>
                  <a:pt x="73338" y="354854"/>
                </a:cubicBezTo>
                <a:cubicBezTo>
                  <a:pt x="88291" y="347389"/>
                  <a:pt x="105023" y="340901"/>
                  <a:pt x="123091" y="335658"/>
                </a:cubicBezTo>
                <a:cubicBezTo>
                  <a:pt x="117929" y="312019"/>
                  <a:pt x="114725" y="286691"/>
                  <a:pt x="113657" y="260564"/>
                </a:cubicBezTo>
                <a:close/>
                <a:moveTo>
                  <a:pt x="435071" y="190994"/>
                </a:moveTo>
                <a:cubicBezTo>
                  <a:pt x="440746" y="190994"/>
                  <a:pt x="446422" y="193861"/>
                  <a:pt x="449493" y="199593"/>
                </a:cubicBezTo>
                <a:lnTo>
                  <a:pt x="568250" y="420443"/>
                </a:lnTo>
                <a:cubicBezTo>
                  <a:pt x="575461" y="433863"/>
                  <a:pt x="565668" y="450127"/>
                  <a:pt x="550445" y="450127"/>
                </a:cubicBezTo>
                <a:lnTo>
                  <a:pt x="488574" y="450127"/>
                </a:lnTo>
                <a:lnTo>
                  <a:pt x="488574" y="590370"/>
                </a:lnTo>
                <a:cubicBezTo>
                  <a:pt x="488574" y="599346"/>
                  <a:pt x="481274" y="606722"/>
                  <a:pt x="472194" y="606722"/>
                </a:cubicBezTo>
                <a:lnTo>
                  <a:pt x="397948" y="606722"/>
                </a:lnTo>
                <a:cubicBezTo>
                  <a:pt x="388868" y="606722"/>
                  <a:pt x="381568" y="599346"/>
                  <a:pt x="381568" y="590370"/>
                </a:cubicBezTo>
                <a:lnTo>
                  <a:pt x="381568" y="450127"/>
                </a:lnTo>
                <a:lnTo>
                  <a:pt x="319697" y="450127"/>
                </a:lnTo>
                <a:cubicBezTo>
                  <a:pt x="304474" y="450127"/>
                  <a:pt x="294681" y="433863"/>
                  <a:pt x="301892" y="420443"/>
                </a:cubicBezTo>
                <a:lnTo>
                  <a:pt x="420649" y="199593"/>
                </a:lnTo>
                <a:cubicBezTo>
                  <a:pt x="423720" y="193861"/>
                  <a:pt x="429396" y="190994"/>
                  <a:pt x="435071" y="190994"/>
                </a:cubicBezTo>
                <a:close/>
                <a:moveTo>
                  <a:pt x="322724" y="155254"/>
                </a:moveTo>
                <a:cubicBezTo>
                  <a:pt x="302966" y="158897"/>
                  <a:pt x="282228" y="161208"/>
                  <a:pt x="260956" y="162008"/>
                </a:cubicBezTo>
                <a:lnTo>
                  <a:pt x="260956" y="222083"/>
                </a:lnTo>
                <a:lnTo>
                  <a:pt x="331180" y="222083"/>
                </a:lnTo>
                <a:cubicBezTo>
                  <a:pt x="330112" y="198711"/>
                  <a:pt x="327263" y="176227"/>
                  <a:pt x="322724" y="155254"/>
                </a:cubicBezTo>
                <a:close/>
                <a:moveTo>
                  <a:pt x="160650" y="155254"/>
                </a:moveTo>
                <a:cubicBezTo>
                  <a:pt x="156111" y="176227"/>
                  <a:pt x="153263" y="198711"/>
                  <a:pt x="152195" y="222083"/>
                </a:cubicBezTo>
                <a:lnTo>
                  <a:pt x="222418" y="222083"/>
                </a:lnTo>
                <a:lnTo>
                  <a:pt x="222418" y="162008"/>
                </a:lnTo>
                <a:cubicBezTo>
                  <a:pt x="201146" y="161119"/>
                  <a:pt x="180409" y="158897"/>
                  <a:pt x="160650" y="155254"/>
                </a:cubicBezTo>
                <a:close/>
                <a:moveTo>
                  <a:pt x="73605" y="127438"/>
                </a:moveTo>
                <a:cubicBezTo>
                  <a:pt x="54826" y="154898"/>
                  <a:pt x="42632" y="187246"/>
                  <a:pt x="39339" y="222083"/>
                </a:cubicBezTo>
                <a:lnTo>
                  <a:pt x="113746" y="222083"/>
                </a:lnTo>
                <a:cubicBezTo>
                  <a:pt x="114814" y="195778"/>
                  <a:pt x="118018" y="170361"/>
                  <a:pt x="123269" y="146544"/>
                </a:cubicBezTo>
                <a:cubicBezTo>
                  <a:pt x="105201" y="141390"/>
                  <a:pt x="88558" y="134903"/>
                  <a:pt x="73605" y="127438"/>
                </a:cubicBezTo>
                <a:close/>
                <a:moveTo>
                  <a:pt x="325305" y="56431"/>
                </a:moveTo>
                <a:cubicBezTo>
                  <a:pt x="335719" y="72961"/>
                  <a:pt x="343729" y="91179"/>
                  <a:pt x="349870" y="109575"/>
                </a:cubicBezTo>
                <a:cubicBezTo>
                  <a:pt x="362242" y="106020"/>
                  <a:pt x="373812" y="101843"/>
                  <a:pt x="384403" y="97045"/>
                </a:cubicBezTo>
                <a:cubicBezTo>
                  <a:pt x="367404" y="80248"/>
                  <a:pt x="347378" y="66385"/>
                  <a:pt x="325305" y="56431"/>
                </a:cubicBezTo>
                <a:close/>
                <a:moveTo>
                  <a:pt x="158069" y="56431"/>
                </a:moveTo>
                <a:cubicBezTo>
                  <a:pt x="135996" y="66385"/>
                  <a:pt x="115971" y="80248"/>
                  <a:pt x="98971" y="97045"/>
                </a:cubicBezTo>
                <a:cubicBezTo>
                  <a:pt x="109562" y="101843"/>
                  <a:pt x="121133" y="106020"/>
                  <a:pt x="133504" y="109575"/>
                </a:cubicBezTo>
                <a:cubicBezTo>
                  <a:pt x="139645" y="91179"/>
                  <a:pt x="147656" y="72961"/>
                  <a:pt x="158069" y="56431"/>
                </a:cubicBezTo>
                <a:close/>
                <a:moveTo>
                  <a:pt x="260956" y="43723"/>
                </a:moveTo>
                <a:lnTo>
                  <a:pt x="260956" y="123616"/>
                </a:lnTo>
                <a:cubicBezTo>
                  <a:pt x="278579" y="122816"/>
                  <a:pt x="295845" y="120950"/>
                  <a:pt x="312222" y="118195"/>
                </a:cubicBezTo>
                <a:cubicBezTo>
                  <a:pt x="302699" y="91446"/>
                  <a:pt x="285610" y="57320"/>
                  <a:pt x="260956" y="43723"/>
                </a:cubicBezTo>
                <a:close/>
                <a:moveTo>
                  <a:pt x="222418" y="43723"/>
                </a:moveTo>
                <a:cubicBezTo>
                  <a:pt x="197764" y="57231"/>
                  <a:pt x="180676" y="91446"/>
                  <a:pt x="171152" y="118195"/>
                </a:cubicBezTo>
                <a:cubicBezTo>
                  <a:pt x="187529" y="120950"/>
                  <a:pt x="204707" y="122816"/>
                  <a:pt x="222418" y="123616"/>
                </a:cubicBezTo>
                <a:close/>
                <a:moveTo>
                  <a:pt x="241643" y="0"/>
                </a:moveTo>
                <a:cubicBezTo>
                  <a:pt x="348802" y="0"/>
                  <a:pt x="439763" y="69940"/>
                  <a:pt x="471448" y="166362"/>
                </a:cubicBezTo>
                <a:cubicBezTo>
                  <a:pt x="458988" y="155342"/>
                  <a:pt x="441988" y="150366"/>
                  <a:pt x="424900" y="153565"/>
                </a:cubicBezTo>
                <a:cubicBezTo>
                  <a:pt x="420449" y="144500"/>
                  <a:pt x="415465" y="135702"/>
                  <a:pt x="409769" y="127438"/>
                </a:cubicBezTo>
                <a:cubicBezTo>
                  <a:pt x="394817" y="134903"/>
                  <a:pt x="378173" y="141390"/>
                  <a:pt x="360105" y="146544"/>
                </a:cubicBezTo>
                <a:cubicBezTo>
                  <a:pt x="364823" y="167873"/>
                  <a:pt x="367849" y="190535"/>
                  <a:pt x="369273" y="213996"/>
                </a:cubicBezTo>
                <a:lnTo>
                  <a:pt x="329043" y="288824"/>
                </a:lnTo>
                <a:cubicBezTo>
                  <a:pt x="330022" y="279582"/>
                  <a:pt x="330735" y="270162"/>
                  <a:pt x="331180" y="260564"/>
                </a:cubicBezTo>
                <a:lnTo>
                  <a:pt x="260956" y="260564"/>
                </a:lnTo>
                <a:lnTo>
                  <a:pt x="260956" y="320195"/>
                </a:lnTo>
                <a:cubicBezTo>
                  <a:pt x="277600" y="320817"/>
                  <a:pt x="293887" y="322416"/>
                  <a:pt x="309730" y="324727"/>
                </a:cubicBezTo>
                <a:lnTo>
                  <a:pt x="290238" y="360897"/>
                </a:lnTo>
                <a:cubicBezTo>
                  <a:pt x="280715" y="359830"/>
                  <a:pt x="270925" y="359030"/>
                  <a:pt x="260956" y="358586"/>
                </a:cubicBezTo>
                <a:lnTo>
                  <a:pt x="260956" y="439368"/>
                </a:lnTo>
                <a:cubicBezTo>
                  <a:pt x="261223" y="439190"/>
                  <a:pt x="261490" y="439012"/>
                  <a:pt x="261757" y="438835"/>
                </a:cubicBezTo>
                <a:cubicBezTo>
                  <a:pt x="264249" y="455186"/>
                  <a:pt x="273417" y="469494"/>
                  <a:pt x="287212" y="478648"/>
                </a:cubicBezTo>
                <a:cubicBezTo>
                  <a:pt x="272438" y="481580"/>
                  <a:pt x="257218" y="483091"/>
                  <a:pt x="241643" y="483091"/>
                </a:cubicBezTo>
                <a:cubicBezTo>
                  <a:pt x="112233" y="483091"/>
                  <a:pt x="0" y="377337"/>
                  <a:pt x="0" y="241368"/>
                </a:cubicBezTo>
                <a:cubicBezTo>
                  <a:pt x="0" y="108242"/>
                  <a:pt x="108405" y="0"/>
                  <a:pt x="24164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7911214" y="2077283"/>
            <a:ext cx="3607687" cy="892875"/>
            <a:chOff x="7911214" y="2077283"/>
            <a:chExt cx="3607687" cy="892875"/>
          </a:xfrm>
        </p:grpSpPr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7911214" y="2464881"/>
              <a:ext cx="3607687" cy="505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51" name="文本框 50">
              <a:extLst>
                <a:ext uri="{FF2B5EF4-FFF2-40B4-BE49-F238E27FC236}">
                  <a16:creationId xmlns:a16="http://schemas.microsoft.com/office/drawing/2014/main" id="{3495B739-E5A7-4F4A-95FD-24BDFE4B18B1}"/>
                </a:ext>
              </a:extLst>
            </p:cNvPr>
            <p:cNvSpPr txBox="1"/>
            <p:nvPr/>
          </p:nvSpPr>
          <p:spPr bwMode="auto">
            <a:xfrm>
              <a:off x="7911214" y="2077283"/>
              <a:ext cx="3607687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 b="1" dirty="0"/>
                <a:t>Text here</a:t>
              </a:r>
            </a:p>
          </p:txBody>
        </p:sp>
      </p:grpSp>
      <p:grpSp>
        <p:nvGrpSpPr>
          <p:cNvPr id="41" name="组合 40"/>
          <p:cNvGrpSpPr/>
          <p:nvPr/>
        </p:nvGrpSpPr>
        <p:grpSpPr>
          <a:xfrm>
            <a:off x="673100" y="3686237"/>
            <a:ext cx="3333961" cy="892875"/>
            <a:chOff x="673100" y="3686237"/>
            <a:chExt cx="3333961" cy="892875"/>
          </a:xfrm>
        </p:grpSpPr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673100" y="4073835"/>
              <a:ext cx="3333961" cy="505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49" name="文本框 48">
              <a:extLst>
                <a:ext uri="{FF2B5EF4-FFF2-40B4-BE49-F238E27FC236}">
                  <a16:creationId xmlns:a16="http://schemas.microsoft.com/office/drawing/2014/main" id="{3495B739-E5A7-4F4A-95FD-24BDFE4B18B1}"/>
                </a:ext>
              </a:extLst>
            </p:cNvPr>
            <p:cNvSpPr txBox="1"/>
            <p:nvPr/>
          </p:nvSpPr>
          <p:spPr bwMode="auto">
            <a:xfrm>
              <a:off x="673100" y="3686237"/>
              <a:ext cx="3333961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 b="1" dirty="0"/>
                <a:t>Text here</a:t>
              </a:r>
            </a:p>
          </p:txBody>
        </p:sp>
      </p:grpSp>
      <p:grpSp>
        <p:nvGrpSpPr>
          <p:cNvPr id="42" name="组合 41"/>
          <p:cNvGrpSpPr/>
          <p:nvPr/>
        </p:nvGrpSpPr>
        <p:grpSpPr>
          <a:xfrm>
            <a:off x="8173378" y="3342472"/>
            <a:ext cx="3345521" cy="892875"/>
            <a:chOff x="8173378" y="3301210"/>
            <a:chExt cx="3345521" cy="892875"/>
          </a:xfrm>
        </p:grpSpPr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8173378" y="3688808"/>
              <a:ext cx="3345521" cy="5052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47" name="文本框 46">
              <a:extLst>
                <a:ext uri="{FF2B5EF4-FFF2-40B4-BE49-F238E27FC236}">
                  <a16:creationId xmlns:a16="http://schemas.microsoft.com/office/drawing/2014/main" id="{3495B739-E5A7-4F4A-95FD-24BDFE4B18B1}"/>
                </a:ext>
              </a:extLst>
            </p:cNvPr>
            <p:cNvSpPr txBox="1"/>
            <p:nvPr/>
          </p:nvSpPr>
          <p:spPr bwMode="auto">
            <a:xfrm>
              <a:off x="8173378" y="3301210"/>
              <a:ext cx="3345521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2000" b="1" dirty="0"/>
                <a:t>Text here</a:t>
              </a:r>
            </a:p>
          </p:txBody>
        </p:sp>
      </p:grpSp>
      <p:cxnSp>
        <p:nvCxnSpPr>
          <p:cNvPr id="43" name="直接连接符 42"/>
          <p:cNvCxnSpPr/>
          <p:nvPr/>
        </p:nvCxnSpPr>
        <p:spPr>
          <a:xfrm>
            <a:off x="8033297" y="3121369"/>
            <a:ext cx="348560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接连接符 43"/>
          <p:cNvCxnSpPr/>
          <p:nvPr/>
        </p:nvCxnSpPr>
        <p:spPr>
          <a:xfrm>
            <a:off x="8282866" y="4380687"/>
            <a:ext cx="323762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直接连接符 44"/>
          <p:cNvCxnSpPr/>
          <p:nvPr/>
        </p:nvCxnSpPr>
        <p:spPr>
          <a:xfrm>
            <a:off x="673100" y="4725924"/>
            <a:ext cx="323762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50642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7C59FE9-9642-446B-820F-15A9490D7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7540666-D674-40EB-A93F-FB0914FAAB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447AF29-ECA5-4D5F-9B7E-A4F02EC9AB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91BF25E5-972A-4210-B849-04C38153562E}"/>
              </a:ext>
            </a:extLst>
          </p:cNvPr>
          <p:cNvSpPr/>
          <p:nvPr/>
        </p:nvSpPr>
        <p:spPr bwMode="auto">
          <a:xfrm>
            <a:off x="5424753" y="2152188"/>
            <a:ext cx="1275969" cy="322652"/>
          </a:xfrm>
          <a:custGeom>
            <a:avLst/>
            <a:gdLst>
              <a:gd name="T0" fmla="*/ 2931 w 3137"/>
              <a:gd name="T1" fmla="*/ 793 h 793"/>
              <a:gd name="T2" fmla="*/ 1569 w 3137"/>
              <a:gd name="T3" fmla="*/ 501 h 793"/>
              <a:gd name="T4" fmla="*/ 206 w 3137"/>
              <a:gd name="T5" fmla="*/ 793 h 793"/>
              <a:gd name="T6" fmla="*/ 0 w 3137"/>
              <a:gd name="T7" fmla="*/ 336 h 793"/>
              <a:gd name="T8" fmla="*/ 1569 w 3137"/>
              <a:gd name="T9" fmla="*/ 0 h 793"/>
              <a:gd name="T10" fmla="*/ 3137 w 3137"/>
              <a:gd name="T11" fmla="*/ 336 h 793"/>
              <a:gd name="T12" fmla="*/ 2931 w 3137"/>
              <a:gd name="T13" fmla="*/ 793 h 7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37" h="793">
                <a:moveTo>
                  <a:pt x="2931" y="793"/>
                </a:moveTo>
                <a:cubicBezTo>
                  <a:pt x="2502" y="599"/>
                  <a:pt x="2044" y="501"/>
                  <a:pt x="1569" y="501"/>
                </a:cubicBezTo>
                <a:cubicBezTo>
                  <a:pt x="1094" y="501"/>
                  <a:pt x="635" y="599"/>
                  <a:pt x="206" y="793"/>
                </a:cubicBezTo>
                <a:cubicBezTo>
                  <a:pt x="0" y="336"/>
                  <a:pt x="0" y="336"/>
                  <a:pt x="0" y="336"/>
                </a:cubicBezTo>
                <a:cubicBezTo>
                  <a:pt x="495" y="113"/>
                  <a:pt x="1022" y="0"/>
                  <a:pt x="1569" y="0"/>
                </a:cubicBezTo>
                <a:cubicBezTo>
                  <a:pt x="2115" y="0"/>
                  <a:pt x="2643" y="113"/>
                  <a:pt x="3137" y="336"/>
                </a:cubicBezTo>
                <a:lnTo>
                  <a:pt x="2931" y="793"/>
                </a:lnTo>
                <a:close/>
              </a:path>
            </a:pathLst>
          </a:custGeom>
          <a:solidFill>
            <a:schemeClr val="accent3"/>
          </a:solidFill>
          <a:ln w="3175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/>
          <a:p>
            <a:endParaRPr lang="en-US"/>
          </a:p>
        </p:txBody>
      </p:sp>
      <p:sp>
        <p:nvSpPr>
          <p:cNvPr id="52" name="任意多边形: 形状 51">
            <a:extLst>
              <a:ext uri="{FF2B5EF4-FFF2-40B4-BE49-F238E27FC236}">
                <a16:creationId xmlns:a16="http://schemas.microsoft.com/office/drawing/2014/main" id="{71B0B680-3492-4D3F-9459-C128C7C59954}"/>
              </a:ext>
            </a:extLst>
          </p:cNvPr>
          <p:cNvSpPr/>
          <p:nvPr/>
        </p:nvSpPr>
        <p:spPr bwMode="auto">
          <a:xfrm>
            <a:off x="5424753" y="4937043"/>
            <a:ext cx="1275969" cy="322652"/>
          </a:xfrm>
          <a:custGeom>
            <a:avLst/>
            <a:gdLst>
              <a:gd name="T0" fmla="*/ 1569 w 3137"/>
              <a:gd name="T1" fmla="*/ 793 h 793"/>
              <a:gd name="T2" fmla="*/ 0 w 3137"/>
              <a:gd name="T3" fmla="*/ 457 h 793"/>
              <a:gd name="T4" fmla="*/ 206 w 3137"/>
              <a:gd name="T5" fmla="*/ 0 h 793"/>
              <a:gd name="T6" fmla="*/ 1569 w 3137"/>
              <a:gd name="T7" fmla="*/ 292 h 793"/>
              <a:gd name="T8" fmla="*/ 2931 w 3137"/>
              <a:gd name="T9" fmla="*/ 0 h 793"/>
              <a:gd name="T10" fmla="*/ 3137 w 3137"/>
              <a:gd name="T11" fmla="*/ 457 h 793"/>
              <a:gd name="T12" fmla="*/ 1569 w 3137"/>
              <a:gd name="T13" fmla="*/ 793 h 7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137" h="793">
                <a:moveTo>
                  <a:pt x="1569" y="793"/>
                </a:moveTo>
                <a:cubicBezTo>
                  <a:pt x="1022" y="793"/>
                  <a:pt x="495" y="680"/>
                  <a:pt x="0" y="457"/>
                </a:cubicBezTo>
                <a:cubicBezTo>
                  <a:pt x="206" y="0"/>
                  <a:pt x="206" y="0"/>
                  <a:pt x="206" y="0"/>
                </a:cubicBezTo>
                <a:cubicBezTo>
                  <a:pt x="635" y="194"/>
                  <a:pt x="1094" y="292"/>
                  <a:pt x="1569" y="292"/>
                </a:cubicBezTo>
                <a:cubicBezTo>
                  <a:pt x="2044" y="292"/>
                  <a:pt x="2502" y="194"/>
                  <a:pt x="2931" y="0"/>
                </a:cubicBezTo>
                <a:cubicBezTo>
                  <a:pt x="3137" y="457"/>
                  <a:pt x="3137" y="457"/>
                  <a:pt x="3137" y="457"/>
                </a:cubicBezTo>
                <a:cubicBezTo>
                  <a:pt x="2643" y="680"/>
                  <a:pt x="2115" y="793"/>
                  <a:pt x="1569" y="793"/>
                </a:cubicBezTo>
                <a:close/>
              </a:path>
            </a:pathLst>
          </a:custGeom>
          <a:solidFill>
            <a:schemeClr val="accent6"/>
          </a:solidFill>
          <a:ln w="3175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/>
          <a:p>
            <a:endParaRPr lang="en-US"/>
          </a:p>
        </p:txBody>
      </p:sp>
      <p:sp>
        <p:nvSpPr>
          <p:cNvPr id="53" name="任意多边形: 形状 52">
            <a:extLst>
              <a:ext uri="{FF2B5EF4-FFF2-40B4-BE49-F238E27FC236}">
                <a16:creationId xmlns:a16="http://schemas.microsoft.com/office/drawing/2014/main" id="{CE65C1C2-73BE-4916-9DE8-9BF1DF6ACA73}"/>
              </a:ext>
            </a:extLst>
          </p:cNvPr>
          <p:cNvSpPr/>
          <p:nvPr/>
        </p:nvSpPr>
        <p:spPr bwMode="auto">
          <a:xfrm>
            <a:off x="6828637" y="3869176"/>
            <a:ext cx="776400" cy="1116233"/>
          </a:xfrm>
          <a:custGeom>
            <a:avLst/>
            <a:gdLst>
              <a:gd name="T0" fmla="*/ 284 w 1909"/>
              <a:gd name="T1" fmla="*/ 2744 h 2744"/>
              <a:gd name="T2" fmla="*/ 0 w 1909"/>
              <a:gd name="T3" fmla="*/ 2331 h 2744"/>
              <a:gd name="T4" fmla="*/ 955 w 1909"/>
              <a:gd name="T5" fmla="*/ 1317 h 2744"/>
              <a:gd name="T6" fmla="*/ 1411 w 1909"/>
              <a:gd name="T7" fmla="*/ 0 h 2744"/>
              <a:gd name="T8" fmla="*/ 1909 w 1909"/>
              <a:gd name="T9" fmla="*/ 60 h 2744"/>
              <a:gd name="T10" fmla="*/ 1384 w 1909"/>
              <a:gd name="T11" fmla="*/ 1576 h 2744"/>
              <a:gd name="T12" fmla="*/ 284 w 1909"/>
              <a:gd name="T13" fmla="*/ 2744 h 27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9" h="2744">
                <a:moveTo>
                  <a:pt x="284" y="2744"/>
                </a:moveTo>
                <a:cubicBezTo>
                  <a:pt x="0" y="2331"/>
                  <a:pt x="0" y="2331"/>
                  <a:pt x="0" y="2331"/>
                </a:cubicBezTo>
                <a:cubicBezTo>
                  <a:pt x="388" y="2064"/>
                  <a:pt x="709" y="1723"/>
                  <a:pt x="955" y="1317"/>
                </a:cubicBezTo>
                <a:cubicBezTo>
                  <a:pt x="1201" y="911"/>
                  <a:pt x="1355" y="468"/>
                  <a:pt x="1411" y="0"/>
                </a:cubicBezTo>
                <a:cubicBezTo>
                  <a:pt x="1909" y="60"/>
                  <a:pt x="1909" y="60"/>
                  <a:pt x="1909" y="60"/>
                </a:cubicBezTo>
                <a:cubicBezTo>
                  <a:pt x="1844" y="599"/>
                  <a:pt x="1667" y="1109"/>
                  <a:pt x="1384" y="1576"/>
                </a:cubicBezTo>
                <a:cubicBezTo>
                  <a:pt x="1101" y="2044"/>
                  <a:pt x="731" y="2437"/>
                  <a:pt x="284" y="2744"/>
                </a:cubicBezTo>
                <a:close/>
              </a:path>
            </a:pathLst>
          </a:custGeom>
          <a:solidFill>
            <a:schemeClr val="accent5"/>
          </a:solidFill>
          <a:ln w="3175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/>
          </a:p>
        </p:txBody>
      </p:sp>
      <p:sp>
        <p:nvSpPr>
          <p:cNvPr id="54" name="任意多边形: 形状 53">
            <a:extLst>
              <a:ext uri="{FF2B5EF4-FFF2-40B4-BE49-F238E27FC236}">
                <a16:creationId xmlns:a16="http://schemas.microsoft.com/office/drawing/2014/main" id="{C017F7BF-B045-4D1E-BF2E-FB9935ED3F92}"/>
              </a:ext>
            </a:extLst>
          </p:cNvPr>
          <p:cNvSpPr/>
          <p:nvPr/>
        </p:nvSpPr>
        <p:spPr bwMode="auto">
          <a:xfrm>
            <a:off x="4520439" y="2425837"/>
            <a:ext cx="777037" cy="1116869"/>
          </a:xfrm>
          <a:custGeom>
            <a:avLst/>
            <a:gdLst>
              <a:gd name="T0" fmla="*/ 497 w 1909"/>
              <a:gd name="T1" fmla="*/ 2744 h 2744"/>
              <a:gd name="T2" fmla="*/ 0 w 1909"/>
              <a:gd name="T3" fmla="*/ 2684 h 2744"/>
              <a:gd name="T4" fmla="*/ 525 w 1909"/>
              <a:gd name="T5" fmla="*/ 1168 h 2744"/>
              <a:gd name="T6" fmla="*/ 1625 w 1909"/>
              <a:gd name="T7" fmla="*/ 0 h 2744"/>
              <a:gd name="T8" fmla="*/ 1909 w 1909"/>
              <a:gd name="T9" fmla="*/ 413 h 2744"/>
              <a:gd name="T10" fmla="*/ 953 w 1909"/>
              <a:gd name="T11" fmla="*/ 1428 h 2744"/>
              <a:gd name="T12" fmla="*/ 497 w 1909"/>
              <a:gd name="T13" fmla="*/ 2744 h 27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909" h="2744">
                <a:moveTo>
                  <a:pt x="497" y="2744"/>
                </a:moveTo>
                <a:cubicBezTo>
                  <a:pt x="0" y="2684"/>
                  <a:pt x="0" y="2684"/>
                  <a:pt x="0" y="2684"/>
                </a:cubicBezTo>
                <a:cubicBezTo>
                  <a:pt x="65" y="2146"/>
                  <a:pt x="242" y="1636"/>
                  <a:pt x="525" y="1168"/>
                </a:cubicBezTo>
                <a:cubicBezTo>
                  <a:pt x="808" y="701"/>
                  <a:pt x="1178" y="308"/>
                  <a:pt x="1625" y="0"/>
                </a:cubicBezTo>
                <a:cubicBezTo>
                  <a:pt x="1909" y="413"/>
                  <a:pt x="1909" y="413"/>
                  <a:pt x="1909" y="413"/>
                </a:cubicBezTo>
                <a:cubicBezTo>
                  <a:pt x="1521" y="680"/>
                  <a:pt x="1199" y="1021"/>
                  <a:pt x="953" y="1428"/>
                </a:cubicBezTo>
                <a:cubicBezTo>
                  <a:pt x="707" y="1834"/>
                  <a:pt x="554" y="2277"/>
                  <a:pt x="497" y="2744"/>
                </a:cubicBez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/>
          </a:p>
        </p:txBody>
      </p:sp>
      <p:sp>
        <p:nvSpPr>
          <p:cNvPr id="55" name="任意多边形: 形状 54">
            <a:extLst>
              <a:ext uri="{FF2B5EF4-FFF2-40B4-BE49-F238E27FC236}">
                <a16:creationId xmlns:a16="http://schemas.microsoft.com/office/drawing/2014/main" id="{47823FBB-D508-4A10-9140-6DE10F55D642}"/>
              </a:ext>
            </a:extLst>
          </p:cNvPr>
          <p:cNvSpPr/>
          <p:nvPr/>
        </p:nvSpPr>
        <p:spPr bwMode="auto">
          <a:xfrm>
            <a:off x="6849002" y="2443019"/>
            <a:ext cx="759854" cy="1124506"/>
          </a:xfrm>
          <a:custGeom>
            <a:avLst/>
            <a:gdLst>
              <a:gd name="T0" fmla="*/ 1368 w 1867"/>
              <a:gd name="T1" fmla="*/ 2764 h 2764"/>
              <a:gd name="T2" fmla="*/ 937 w 1867"/>
              <a:gd name="T3" fmla="*/ 1439 h 2764"/>
              <a:gd name="T4" fmla="*/ 0 w 1867"/>
              <a:gd name="T5" fmla="*/ 407 h 2764"/>
              <a:gd name="T6" fmla="*/ 292 w 1867"/>
              <a:gd name="T7" fmla="*/ 0 h 2764"/>
              <a:gd name="T8" fmla="*/ 1370 w 1867"/>
              <a:gd name="T9" fmla="*/ 1188 h 2764"/>
              <a:gd name="T10" fmla="*/ 1867 w 1867"/>
              <a:gd name="T11" fmla="*/ 2713 h 2764"/>
              <a:gd name="T12" fmla="*/ 1368 w 1867"/>
              <a:gd name="T13" fmla="*/ 2764 h 27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67" h="2764">
                <a:moveTo>
                  <a:pt x="1368" y="2764"/>
                </a:moveTo>
                <a:cubicBezTo>
                  <a:pt x="1320" y="2296"/>
                  <a:pt x="1175" y="1850"/>
                  <a:pt x="937" y="1439"/>
                </a:cubicBezTo>
                <a:cubicBezTo>
                  <a:pt x="698" y="1028"/>
                  <a:pt x="383" y="681"/>
                  <a:pt x="0" y="407"/>
                </a:cubicBezTo>
                <a:cubicBezTo>
                  <a:pt x="292" y="0"/>
                  <a:pt x="292" y="0"/>
                  <a:pt x="292" y="0"/>
                </a:cubicBezTo>
                <a:cubicBezTo>
                  <a:pt x="733" y="315"/>
                  <a:pt x="1096" y="715"/>
                  <a:pt x="1370" y="1188"/>
                </a:cubicBezTo>
                <a:cubicBezTo>
                  <a:pt x="1644" y="1660"/>
                  <a:pt x="1811" y="2173"/>
                  <a:pt x="1867" y="2713"/>
                </a:cubicBezTo>
                <a:lnTo>
                  <a:pt x="1368" y="2764"/>
                </a:lnTo>
                <a:close/>
              </a:path>
            </a:pathLst>
          </a:custGeom>
          <a:solidFill>
            <a:schemeClr val="accent4"/>
          </a:solidFill>
          <a:ln w="3175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/>
          </a:p>
        </p:txBody>
      </p:sp>
      <p:sp>
        <p:nvSpPr>
          <p:cNvPr id="56" name="任意多边形: 形状 55">
            <a:extLst>
              <a:ext uri="{FF2B5EF4-FFF2-40B4-BE49-F238E27FC236}">
                <a16:creationId xmlns:a16="http://schemas.microsoft.com/office/drawing/2014/main" id="{04843874-3123-4774-BDE5-73D2ABE905D1}"/>
              </a:ext>
            </a:extLst>
          </p:cNvPr>
          <p:cNvSpPr/>
          <p:nvPr/>
        </p:nvSpPr>
        <p:spPr bwMode="auto">
          <a:xfrm>
            <a:off x="4517257" y="3844357"/>
            <a:ext cx="759217" cy="1125143"/>
          </a:xfrm>
          <a:custGeom>
            <a:avLst/>
            <a:gdLst>
              <a:gd name="T0" fmla="*/ 1575 w 1866"/>
              <a:gd name="T1" fmla="*/ 2765 h 2765"/>
              <a:gd name="T2" fmla="*/ 497 w 1866"/>
              <a:gd name="T3" fmla="*/ 1577 h 2765"/>
              <a:gd name="T4" fmla="*/ 0 w 1866"/>
              <a:gd name="T5" fmla="*/ 51 h 2765"/>
              <a:gd name="T6" fmla="*/ 499 w 1866"/>
              <a:gd name="T7" fmla="*/ 0 h 2765"/>
              <a:gd name="T8" fmla="*/ 930 w 1866"/>
              <a:gd name="T9" fmla="*/ 1325 h 2765"/>
              <a:gd name="T10" fmla="*/ 1866 w 1866"/>
              <a:gd name="T11" fmla="*/ 2357 h 2765"/>
              <a:gd name="T12" fmla="*/ 1575 w 1866"/>
              <a:gd name="T13" fmla="*/ 2765 h 27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66" h="2765">
                <a:moveTo>
                  <a:pt x="1575" y="2765"/>
                </a:moveTo>
                <a:cubicBezTo>
                  <a:pt x="1134" y="2449"/>
                  <a:pt x="771" y="2049"/>
                  <a:pt x="497" y="1577"/>
                </a:cubicBezTo>
                <a:cubicBezTo>
                  <a:pt x="222" y="1104"/>
                  <a:pt x="55" y="591"/>
                  <a:pt x="0" y="51"/>
                </a:cubicBezTo>
                <a:cubicBezTo>
                  <a:pt x="499" y="0"/>
                  <a:pt x="499" y="0"/>
                  <a:pt x="499" y="0"/>
                </a:cubicBezTo>
                <a:cubicBezTo>
                  <a:pt x="546" y="469"/>
                  <a:pt x="692" y="914"/>
                  <a:pt x="930" y="1325"/>
                </a:cubicBezTo>
                <a:cubicBezTo>
                  <a:pt x="1168" y="1736"/>
                  <a:pt x="1483" y="2083"/>
                  <a:pt x="1866" y="2357"/>
                </a:cubicBezTo>
                <a:lnTo>
                  <a:pt x="1575" y="2765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/>
          </a:p>
        </p:txBody>
      </p:sp>
      <p:cxnSp>
        <p:nvCxnSpPr>
          <p:cNvPr id="57" name="直接连接符 56">
            <a:extLst>
              <a:ext uri="{FF2B5EF4-FFF2-40B4-BE49-F238E27FC236}">
                <a16:creationId xmlns:a16="http://schemas.microsoft.com/office/drawing/2014/main" id="{E66DFD1B-8342-478B-90A4-90B23194CA22}"/>
              </a:ext>
            </a:extLst>
          </p:cNvPr>
          <p:cNvCxnSpPr>
            <a:endCxn id="51" idx="2"/>
          </p:cNvCxnSpPr>
          <p:nvPr/>
        </p:nvCxnSpPr>
        <p:spPr>
          <a:xfrm>
            <a:off x="5339794" y="2094916"/>
            <a:ext cx="168749" cy="379923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9A7F47B2-BCD0-4456-A15A-5C101DA4ED59}"/>
              </a:ext>
            </a:extLst>
          </p:cNvPr>
          <p:cNvCxnSpPr>
            <a:endCxn id="55" idx="2"/>
          </p:cNvCxnSpPr>
          <p:nvPr/>
        </p:nvCxnSpPr>
        <p:spPr>
          <a:xfrm flipH="1">
            <a:off x="6849002" y="2271833"/>
            <a:ext cx="242147" cy="336771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27A7BDFF-449F-4513-AB86-4F2E9F05F242}"/>
              </a:ext>
            </a:extLst>
          </p:cNvPr>
          <p:cNvCxnSpPr>
            <a:endCxn id="53" idx="3"/>
          </p:cNvCxnSpPr>
          <p:nvPr/>
        </p:nvCxnSpPr>
        <p:spPr>
          <a:xfrm flipH="1" flipV="1">
            <a:off x="7402498" y="3869176"/>
            <a:ext cx="410957" cy="47733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直接连接符 59">
            <a:extLst>
              <a:ext uri="{FF2B5EF4-FFF2-40B4-BE49-F238E27FC236}">
                <a16:creationId xmlns:a16="http://schemas.microsoft.com/office/drawing/2014/main" id="{0A22592E-FA3A-46FE-B4E8-7DA8B4E2FE50}"/>
              </a:ext>
            </a:extLst>
          </p:cNvPr>
          <p:cNvCxnSpPr>
            <a:endCxn id="52" idx="4"/>
          </p:cNvCxnSpPr>
          <p:nvPr/>
        </p:nvCxnSpPr>
        <p:spPr>
          <a:xfrm flipH="1" flipV="1">
            <a:off x="6616932" y="4937043"/>
            <a:ext cx="170657" cy="377385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4D39A4D4-472A-48F6-B33F-DD7B31652E06}"/>
              </a:ext>
            </a:extLst>
          </p:cNvPr>
          <p:cNvCxnSpPr>
            <a:endCxn id="56" idx="5"/>
          </p:cNvCxnSpPr>
          <p:nvPr/>
        </p:nvCxnSpPr>
        <p:spPr>
          <a:xfrm flipV="1">
            <a:off x="5039204" y="4803475"/>
            <a:ext cx="237270" cy="333113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id="{0F6DA386-4DD0-42C8-8856-AB1B86C5CB60}"/>
              </a:ext>
            </a:extLst>
          </p:cNvPr>
          <p:cNvCxnSpPr>
            <a:endCxn id="54" idx="0"/>
          </p:cNvCxnSpPr>
          <p:nvPr/>
        </p:nvCxnSpPr>
        <p:spPr>
          <a:xfrm>
            <a:off x="4308718" y="3489889"/>
            <a:ext cx="414019" cy="52817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任意多边形: 形状 62">
            <a:extLst>
              <a:ext uri="{FF2B5EF4-FFF2-40B4-BE49-F238E27FC236}">
                <a16:creationId xmlns:a16="http://schemas.microsoft.com/office/drawing/2014/main" id="{BC64B5A8-6E47-4BD0-839B-F6D5944D20BB}"/>
              </a:ext>
            </a:extLst>
          </p:cNvPr>
          <p:cNvSpPr/>
          <p:nvPr/>
        </p:nvSpPr>
        <p:spPr bwMode="auto">
          <a:xfrm>
            <a:off x="4996690" y="1676311"/>
            <a:ext cx="400829" cy="350137"/>
          </a:xfrm>
          <a:custGeom>
            <a:avLst/>
            <a:gdLst>
              <a:gd name="connsiteX0" fmla="*/ 360731 w 607639"/>
              <a:gd name="connsiteY0" fmla="*/ 398130 h 530793"/>
              <a:gd name="connsiteX1" fmla="*/ 398731 w 607639"/>
              <a:gd name="connsiteY1" fmla="*/ 398130 h 530793"/>
              <a:gd name="connsiteX2" fmla="*/ 398731 w 607639"/>
              <a:gd name="connsiteY2" fmla="*/ 455027 h 530793"/>
              <a:gd name="connsiteX3" fmla="*/ 417686 w 607639"/>
              <a:gd name="connsiteY3" fmla="*/ 455027 h 530793"/>
              <a:gd name="connsiteX4" fmla="*/ 436730 w 607639"/>
              <a:gd name="connsiteY4" fmla="*/ 473963 h 530793"/>
              <a:gd name="connsiteX5" fmla="*/ 417686 w 607639"/>
              <a:gd name="connsiteY5" fmla="*/ 492899 h 530793"/>
              <a:gd name="connsiteX6" fmla="*/ 379775 w 607639"/>
              <a:gd name="connsiteY6" fmla="*/ 492899 h 530793"/>
              <a:gd name="connsiteX7" fmla="*/ 360731 w 607639"/>
              <a:gd name="connsiteY7" fmla="*/ 473963 h 530793"/>
              <a:gd name="connsiteX8" fmla="*/ 284802 w 607639"/>
              <a:gd name="connsiteY8" fmla="*/ 398130 h 530793"/>
              <a:gd name="connsiteX9" fmla="*/ 322837 w 607639"/>
              <a:gd name="connsiteY9" fmla="*/ 398130 h 530793"/>
              <a:gd name="connsiteX10" fmla="*/ 322837 w 607639"/>
              <a:gd name="connsiteY10" fmla="*/ 511867 h 530793"/>
              <a:gd name="connsiteX11" fmla="*/ 303775 w 607639"/>
              <a:gd name="connsiteY11" fmla="*/ 530793 h 530793"/>
              <a:gd name="connsiteX12" fmla="*/ 284802 w 607639"/>
              <a:gd name="connsiteY12" fmla="*/ 511867 h 530793"/>
              <a:gd name="connsiteX13" fmla="*/ 208917 w 607639"/>
              <a:gd name="connsiteY13" fmla="*/ 398130 h 530793"/>
              <a:gd name="connsiteX14" fmla="*/ 246837 w 607639"/>
              <a:gd name="connsiteY14" fmla="*/ 398130 h 530793"/>
              <a:gd name="connsiteX15" fmla="*/ 246837 w 607639"/>
              <a:gd name="connsiteY15" fmla="*/ 473963 h 530793"/>
              <a:gd name="connsiteX16" fmla="*/ 227877 w 607639"/>
              <a:gd name="connsiteY16" fmla="*/ 492899 h 530793"/>
              <a:gd name="connsiteX17" fmla="*/ 189868 w 607639"/>
              <a:gd name="connsiteY17" fmla="*/ 492899 h 530793"/>
              <a:gd name="connsiteX18" fmla="*/ 170909 w 607639"/>
              <a:gd name="connsiteY18" fmla="*/ 473963 h 530793"/>
              <a:gd name="connsiteX19" fmla="*/ 189868 w 607639"/>
              <a:gd name="connsiteY19" fmla="*/ 455027 h 530793"/>
              <a:gd name="connsiteX20" fmla="*/ 208917 w 607639"/>
              <a:gd name="connsiteY20" fmla="*/ 455027 h 530793"/>
              <a:gd name="connsiteX21" fmla="*/ 379786 w 607639"/>
              <a:gd name="connsiteY21" fmla="*/ 56873 h 530793"/>
              <a:gd name="connsiteX22" fmla="*/ 360739 w 607639"/>
              <a:gd name="connsiteY22" fmla="*/ 75801 h 530793"/>
              <a:gd name="connsiteX23" fmla="*/ 379786 w 607639"/>
              <a:gd name="connsiteY23" fmla="*/ 94729 h 530793"/>
              <a:gd name="connsiteX24" fmla="*/ 436749 w 607639"/>
              <a:gd name="connsiteY24" fmla="*/ 151602 h 530793"/>
              <a:gd name="connsiteX25" fmla="*/ 455707 w 607639"/>
              <a:gd name="connsiteY25" fmla="*/ 170619 h 530793"/>
              <a:gd name="connsiteX26" fmla="*/ 474665 w 607639"/>
              <a:gd name="connsiteY26" fmla="*/ 151602 h 530793"/>
              <a:gd name="connsiteX27" fmla="*/ 379786 w 607639"/>
              <a:gd name="connsiteY27" fmla="*/ 56873 h 530793"/>
              <a:gd name="connsiteX28" fmla="*/ 379786 w 607639"/>
              <a:gd name="connsiteY28" fmla="*/ 0 h 530793"/>
              <a:gd name="connsiteX29" fmla="*/ 531006 w 607639"/>
              <a:gd name="connsiteY29" fmla="*/ 139072 h 530793"/>
              <a:gd name="connsiteX30" fmla="*/ 607639 w 607639"/>
              <a:gd name="connsiteY30" fmla="*/ 246420 h 530793"/>
              <a:gd name="connsiteX31" fmla="*/ 493712 w 607639"/>
              <a:gd name="connsiteY31" fmla="*/ 360166 h 530793"/>
              <a:gd name="connsiteX32" fmla="*/ 113927 w 607639"/>
              <a:gd name="connsiteY32" fmla="*/ 360166 h 530793"/>
              <a:gd name="connsiteX33" fmla="*/ 0 w 607639"/>
              <a:gd name="connsiteY33" fmla="*/ 246420 h 530793"/>
              <a:gd name="connsiteX34" fmla="*/ 113927 w 607639"/>
              <a:gd name="connsiteY34" fmla="*/ 132674 h 530793"/>
              <a:gd name="connsiteX35" fmla="*/ 139738 w 607639"/>
              <a:gd name="connsiteY35" fmla="*/ 135695 h 530793"/>
              <a:gd name="connsiteX36" fmla="*/ 227853 w 607639"/>
              <a:gd name="connsiteY36" fmla="*/ 75801 h 530793"/>
              <a:gd name="connsiteX37" fmla="*/ 247167 w 607639"/>
              <a:gd name="connsiteY37" fmla="*/ 77756 h 530793"/>
              <a:gd name="connsiteX38" fmla="*/ 379786 w 607639"/>
              <a:gd name="connsiteY38" fmla="*/ 0 h 530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607639" h="530793">
                <a:moveTo>
                  <a:pt x="360731" y="398130"/>
                </a:moveTo>
                <a:lnTo>
                  <a:pt x="398731" y="398130"/>
                </a:lnTo>
                <a:lnTo>
                  <a:pt x="398731" y="455027"/>
                </a:lnTo>
                <a:lnTo>
                  <a:pt x="417686" y="455027"/>
                </a:lnTo>
                <a:cubicBezTo>
                  <a:pt x="428187" y="455027"/>
                  <a:pt x="436730" y="463473"/>
                  <a:pt x="436730" y="473963"/>
                </a:cubicBezTo>
                <a:cubicBezTo>
                  <a:pt x="436730" y="484453"/>
                  <a:pt x="428187" y="492899"/>
                  <a:pt x="417686" y="492899"/>
                </a:cubicBezTo>
                <a:lnTo>
                  <a:pt x="379775" y="492899"/>
                </a:lnTo>
                <a:cubicBezTo>
                  <a:pt x="369274" y="492899"/>
                  <a:pt x="360731" y="484453"/>
                  <a:pt x="360731" y="473963"/>
                </a:cubicBezTo>
                <a:close/>
                <a:moveTo>
                  <a:pt x="284802" y="398130"/>
                </a:moveTo>
                <a:lnTo>
                  <a:pt x="322837" y="398130"/>
                </a:lnTo>
                <a:lnTo>
                  <a:pt x="322837" y="511867"/>
                </a:lnTo>
                <a:cubicBezTo>
                  <a:pt x="322837" y="522352"/>
                  <a:pt x="314286" y="530793"/>
                  <a:pt x="303775" y="530793"/>
                </a:cubicBezTo>
                <a:cubicBezTo>
                  <a:pt x="293353" y="530793"/>
                  <a:pt x="284802" y="522352"/>
                  <a:pt x="284802" y="511867"/>
                </a:cubicBezTo>
                <a:close/>
                <a:moveTo>
                  <a:pt x="208917" y="398130"/>
                </a:moveTo>
                <a:lnTo>
                  <a:pt x="246837" y="398130"/>
                </a:lnTo>
                <a:lnTo>
                  <a:pt x="246837" y="473963"/>
                </a:lnTo>
                <a:cubicBezTo>
                  <a:pt x="246837" y="484453"/>
                  <a:pt x="238381" y="492899"/>
                  <a:pt x="227877" y="492899"/>
                </a:cubicBezTo>
                <a:lnTo>
                  <a:pt x="189868" y="492899"/>
                </a:lnTo>
                <a:cubicBezTo>
                  <a:pt x="179454" y="492899"/>
                  <a:pt x="170909" y="484453"/>
                  <a:pt x="170909" y="473963"/>
                </a:cubicBezTo>
                <a:cubicBezTo>
                  <a:pt x="170909" y="463473"/>
                  <a:pt x="179454" y="455027"/>
                  <a:pt x="189868" y="455027"/>
                </a:cubicBezTo>
                <a:lnTo>
                  <a:pt x="208917" y="455027"/>
                </a:lnTo>
                <a:close/>
                <a:moveTo>
                  <a:pt x="379786" y="56873"/>
                </a:moveTo>
                <a:cubicBezTo>
                  <a:pt x="369283" y="56873"/>
                  <a:pt x="360739" y="65315"/>
                  <a:pt x="360739" y="75801"/>
                </a:cubicBezTo>
                <a:cubicBezTo>
                  <a:pt x="360739" y="86287"/>
                  <a:pt x="369283" y="94729"/>
                  <a:pt x="379786" y="94729"/>
                </a:cubicBezTo>
                <a:cubicBezTo>
                  <a:pt x="411205" y="94729"/>
                  <a:pt x="436749" y="120233"/>
                  <a:pt x="436749" y="151602"/>
                </a:cubicBezTo>
                <a:cubicBezTo>
                  <a:pt x="436749" y="162088"/>
                  <a:pt x="445205" y="170619"/>
                  <a:pt x="455707" y="170619"/>
                </a:cubicBezTo>
                <a:cubicBezTo>
                  <a:pt x="466210" y="170619"/>
                  <a:pt x="474665" y="162088"/>
                  <a:pt x="474665" y="151602"/>
                </a:cubicBezTo>
                <a:cubicBezTo>
                  <a:pt x="474665" y="99350"/>
                  <a:pt x="432121" y="56873"/>
                  <a:pt x="379786" y="56873"/>
                </a:cubicBezTo>
                <a:close/>
                <a:moveTo>
                  <a:pt x="379786" y="0"/>
                </a:moveTo>
                <a:cubicBezTo>
                  <a:pt x="459356" y="0"/>
                  <a:pt x="524597" y="61227"/>
                  <a:pt x="531006" y="139072"/>
                </a:cubicBezTo>
                <a:cubicBezTo>
                  <a:pt x="575597" y="154534"/>
                  <a:pt x="607639" y="196656"/>
                  <a:pt x="607639" y="246420"/>
                </a:cubicBezTo>
                <a:cubicBezTo>
                  <a:pt x="607639" y="309247"/>
                  <a:pt x="556639" y="360166"/>
                  <a:pt x="493712" y="360166"/>
                </a:cubicBezTo>
                <a:lnTo>
                  <a:pt x="113927" y="360166"/>
                </a:lnTo>
                <a:cubicBezTo>
                  <a:pt x="51000" y="360166"/>
                  <a:pt x="0" y="309247"/>
                  <a:pt x="0" y="246420"/>
                </a:cubicBezTo>
                <a:cubicBezTo>
                  <a:pt x="0" y="183593"/>
                  <a:pt x="51000" y="132674"/>
                  <a:pt x="113927" y="132674"/>
                </a:cubicBezTo>
                <a:cubicBezTo>
                  <a:pt x="122827" y="132674"/>
                  <a:pt x="131461" y="133829"/>
                  <a:pt x="139738" y="135695"/>
                </a:cubicBezTo>
                <a:cubicBezTo>
                  <a:pt x="153712" y="100683"/>
                  <a:pt x="187801" y="75801"/>
                  <a:pt x="227853" y="75801"/>
                </a:cubicBezTo>
                <a:cubicBezTo>
                  <a:pt x="234440" y="75801"/>
                  <a:pt x="240937" y="76512"/>
                  <a:pt x="247167" y="77756"/>
                </a:cubicBezTo>
                <a:cubicBezTo>
                  <a:pt x="273157" y="31369"/>
                  <a:pt x="322733" y="0"/>
                  <a:pt x="379786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64" name="任意多边形: 形状 63">
            <a:extLst>
              <a:ext uri="{FF2B5EF4-FFF2-40B4-BE49-F238E27FC236}">
                <a16:creationId xmlns:a16="http://schemas.microsoft.com/office/drawing/2014/main" id="{987165DA-1C79-4022-A72C-8580680EDD4B}"/>
              </a:ext>
            </a:extLst>
          </p:cNvPr>
          <p:cNvSpPr/>
          <p:nvPr/>
        </p:nvSpPr>
        <p:spPr bwMode="auto">
          <a:xfrm>
            <a:off x="7990679" y="3721469"/>
            <a:ext cx="376436" cy="390879"/>
          </a:xfrm>
          <a:custGeom>
            <a:avLst/>
            <a:gdLst>
              <a:gd name="connsiteX0" fmla="*/ 166523 w 579276"/>
              <a:gd name="connsiteY0" fmla="*/ 387263 h 601500"/>
              <a:gd name="connsiteX1" fmla="*/ 415364 w 579276"/>
              <a:gd name="connsiteY1" fmla="*/ 387263 h 601500"/>
              <a:gd name="connsiteX2" fmla="*/ 448234 w 579276"/>
              <a:gd name="connsiteY2" fmla="*/ 420077 h 601500"/>
              <a:gd name="connsiteX3" fmla="*/ 448234 w 579276"/>
              <a:gd name="connsiteY3" fmla="*/ 421486 h 601500"/>
              <a:gd name="connsiteX4" fmla="*/ 415364 w 579276"/>
              <a:gd name="connsiteY4" fmla="*/ 454300 h 601500"/>
              <a:gd name="connsiteX5" fmla="*/ 166523 w 579276"/>
              <a:gd name="connsiteY5" fmla="*/ 454300 h 601500"/>
              <a:gd name="connsiteX6" fmla="*/ 133653 w 579276"/>
              <a:gd name="connsiteY6" fmla="*/ 421486 h 601500"/>
              <a:gd name="connsiteX7" fmla="*/ 133653 w 579276"/>
              <a:gd name="connsiteY7" fmla="*/ 420077 h 601500"/>
              <a:gd name="connsiteX8" fmla="*/ 166523 w 579276"/>
              <a:gd name="connsiteY8" fmla="*/ 387263 h 601500"/>
              <a:gd name="connsiteX9" fmla="*/ 166523 w 579276"/>
              <a:gd name="connsiteY9" fmla="*/ 279721 h 601500"/>
              <a:gd name="connsiteX10" fmla="*/ 415364 w 579276"/>
              <a:gd name="connsiteY10" fmla="*/ 279721 h 601500"/>
              <a:gd name="connsiteX11" fmla="*/ 448234 w 579276"/>
              <a:gd name="connsiteY11" fmla="*/ 312540 h 601500"/>
              <a:gd name="connsiteX12" fmla="*/ 448234 w 579276"/>
              <a:gd name="connsiteY12" fmla="*/ 313950 h 601500"/>
              <a:gd name="connsiteX13" fmla="*/ 415364 w 579276"/>
              <a:gd name="connsiteY13" fmla="*/ 346970 h 601500"/>
              <a:gd name="connsiteX14" fmla="*/ 166523 w 579276"/>
              <a:gd name="connsiteY14" fmla="*/ 346970 h 601500"/>
              <a:gd name="connsiteX15" fmla="*/ 133653 w 579276"/>
              <a:gd name="connsiteY15" fmla="*/ 313950 h 601500"/>
              <a:gd name="connsiteX16" fmla="*/ 133653 w 579276"/>
              <a:gd name="connsiteY16" fmla="*/ 312540 h 601500"/>
              <a:gd name="connsiteX17" fmla="*/ 166523 w 579276"/>
              <a:gd name="connsiteY17" fmla="*/ 279721 h 601500"/>
              <a:gd name="connsiteX18" fmla="*/ 101388 w 579276"/>
              <a:gd name="connsiteY18" fmla="*/ 142773 h 601500"/>
              <a:gd name="connsiteX19" fmla="*/ 101388 w 579276"/>
              <a:gd name="connsiteY19" fmla="*/ 497189 h 601500"/>
              <a:gd name="connsiteX20" fmla="*/ 477888 w 579276"/>
              <a:gd name="connsiteY20" fmla="*/ 497189 h 601500"/>
              <a:gd name="connsiteX21" fmla="*/ 477888 w 579276"/>
              <a:gd name="connsiteY21" fmla="*/ 142773 h 601500"/>
              <a:gd name="connsiteX22" fmla="*/ 262716 w 579276"/>
              <a:gd name="connsiteY22" fmla="*/ 142773 h 601500"/>
              <a:gd name="connsiteX23" fmla="*/ 262716 w 579276"/>
              <a:gd name="connsiteY23" fmla="*/ 190700 h 601500"/>
              <a:gd name="connsiteX24" fmla="*/ 268968 w 579276"/>
              <a:gd name="connsiteY24" fmla="*/ 203386 h 601500"/>
              <a:gd name="connsiteX25" fmla="*/ 282681 w 579276"/>
              <a:gd name="connsiteY25" fmla="*/ 208622 h 601500"/>
              <a:gd name="connsiteX26" fmla="*/ 295385 w 579276"/>
              <a:gd name="connsiteY26" fmla="*/ 203386 h 601500"/>
              <a:gd name="connsiteX27" fmla="*/ 300629 w 579276"/>
              <a:gd name="connsiteY27" fmla="*/ 190700 h 601500"/>
              <a:gd name="connsiteX28" fmla="*/ 300830 w 579276"/>
              <a:gd name="connsiteY28" fmla="*/ 168750 h 601500"/>
              <a:gd name="connsiteX29" fmla="*/ 319988 w 579276"/>
              <a:gd name="connsiteY29" fmla="*/ 151231 h 601500"/>
              <a:gd name="connsiteX30" fmla="*/ 339146 w 579276"/>
              <a:gd name="connsiteY30" fmla="*/ 168750 h 601500"/>
              <a:gd name="connsiteX31" fmla="*/ 339549 w 579276"/>
              <a:gd name="connsiteY31" fmla="*/ 190700 h 601500"/>
              <a:gd name="connsiteX32" fmla="*/ 322610 w 579276"/>
              <a:gd name="connsiteY32" fmla="*/ 231176 h 601500"/>
              <a:gd name="connsiteX33" fmla="*/ 281673 w 579276"/>
              <a:gd name="connsiteY33" fmla="*/ 247890 h 601500"/>
              <a:gd name="connsiteX34" fmla="*/ 241744 w 579276"/>
              <a:gd name="connsiteY34" fmla="*/ 230974 h 601500"/>
              <a:gd name="connsiteX35" fmla="*/ 225611 w 579276"/>
              <a:gd name="connsiteY35" fmla="*/ 195331 h 601500"/>
              <a:gd name="connsiteX36" fmla="*/ 225611 w 579276"/>
              <a:gd name="connsiteY36" fmla="*/ 194325 h 601500"/>
              <a:gd name="connsiteX37" fmla="*/ 225611 w 579276"/>
              <a:gd name="connsiteY37" fmla="*/ 142773 h 601500"/>
              <a:gd name="connsiteX38" fmla="*/ 306477 w 579276"/>
              <a:gd name="connsiteY38" fmla="*/ 39066 h 601500"/>
              <a:gd name="connsiteX39" fmla="*/ 276631 w 579276"/>
              <a:gd name="connsiteY39" fmla="*/ 51350 h 601500"/>
              <a:gd name="connsiteX40" fmla="*/ 264531 w 579276"/>
              <a:gd name="connsiteY40" fmla="*/ 72897 h 601500"/>
              <a:gd name="connsiteX41" fmla="*/ 313737 w 579276"/>
              <a:gd name="connsiteY41" fmla="*/ 86389 h 601500"/>
              <a:gd name="connsiteX42" fmla="*/ 348624 w 579276"/>
              <a:gd name="connsiteY42" fmla="*/ 86389 h 601500"/>
              <a:gd name="connsiteX43" fmla="*/ 348624 w 579276"/>
              <a:gd name="connsiteY43" fmla="*/ 80348 h 601500"/>
              <a:gd name="connsiteX44" fmla="*/ 336323 w 579276"/>
              <a:gd name="connsiteY44" fmla="*/ 51551 h 601500"/>
              <a:gd name="connsiteX45" fmla="*/ 306477 w 579276"/>
              <a:gd name="connsiteY45" fmla="*/ 39066 h 601500"/>
              <a:gd name="connsiteX46" fmla="*/ 306275 w 579276"/>
              <a:gd name="connsiteY46" fmla="*/ 0 h 601500"/>
              <a:gd name="connsiteX47" fmla="*/ 363345 w 579276"/>
              <a:gd name="connsiteY47" fmla="*/ 23762 h 601500"/>
              <a:gd name="connsiteX48" fmla="*/ 386536 w 579276"/>
              <a:gd name="connsiteY48" fmla="*/ 81153 h 601500"/>
              <a:gd name="connsiteX49" fmla="*/ 386536 w 579276"/>
              <a:gd name="connsiteY49" fmla="*/ 86389 h 601500"/>
              <a:gd name="connsiteX50" fmla="*/ 483736 w 579276"/>
              <a:gd name="connsiteY50" fmla="*/ 86389 h 601500"/>
              <a:gd name="connsiteX51" fmla="*/ 534353 w 579276"/>
              <a:gd name="connsiteY51" fmla="*/ 139954 h 601500"/>
              <a:gd name="connsiteX52" fmla="*/ 534353 w 579276"/>
              <a:gd name="connsiteY52" fmla="*/ 151029 h 601500"/>
              <a:gd name="connsiteX53" fmla="*/ 554318 w 579276"/>
              <a:gd name="connsiteY53" fmla="*/ 156467 h 601500"/>
              <a:gd name="connsiteX54" fmla="*/ 577912 w 579276"/>
              <a:gd name="connsiteY54" fmla="*/ 199762 h 601500"/>
              <a:gd name="connsiteX55" fmla="*/ 534353 w 579276"/>
              <a:gd name="connsiteY55" fmla="*/ 350187 h 601500"/>
              <a:gd name="connsiteX56" fmla="*/ 534353 w 579276"/>
              <a:gd name="connsiteY56" fmla="*/ 501821 h 601500"/>
              <a:gd name="connsiteX57" fmla="*/ 483736 w 579276"/>
              <a:gd name="connsiteY57" fmla="*/ 553573 h 601500"/>
              <a:gd name="connsiteX58" fmla="*/ 477283 w 579276"/>
              <a:gd name="connsiteY58" fmla="*/ 553573 h 601500"/>
              <a:gd name="connsiteX59" fmla="*/ 470830 w 579276"/>
              <a:gd name="connsiteY59" fmla="*/ 575926 h 601500"/>
              <a:gd name="connsiteX60" fmla="*/ 437153 w 579276"/>
              <a:gd name="connsiteY60" fmla="*/ 601500 h 601500"/>
              <a:gd name="connsiteX61" fmla="*/ 427675 w 579276"/>
              <a:gd name="connsiteY61" fmla="*/ 600292 h 601500"/>
              <a:gd name="connsiteX62" fmla="*/ 264733 w 579276"/>
              <a:gd name="connsiteY62" fmla="*/ 553573 h 601500"/>
              <a:gd name="connsiteX63" fmla="*/ 97959 w 579276"/>
              <a:gd name="connsiteY63" fmla="*/ 553573 h 601500"/>
              <a:gd name="connsiteX64" fmla="*/ 44923 w 579276"/>
              <a:gd name="connsiteY64" fmla="*/ 501821 h 601500"/>
              <a:gd name="connsiteX65" fmla="*/ 44923 w 579276"/>
              <a:gd name="connsiteY65" fmla="*/ 490946 h 601500"/>
              <a:gd name="connsiteX66" fmla="*/ 24958 w 579276"/>
              <a:gd name="connsiteY66" fmla="*/ 485308 h 601500"/>
              <a:gd name="connsiteX67" fmla="*/ 1364 w 579276"/>
              <a:gd name="connsiteY67" fmla="*/ 442013 h 601500"/>
              <a:gd name="connsiteX68" fmla="*/ 44923 w 579276"/>
              <a:gd name="connsiteY68" fmla="*/ 288366 h 601500"/>
              <a:gd name="connsiteX69" fmla="*/ 44923 w 579276"/>
              <a:gd name="connsiteY69" fmla="*/ 139954 h 601500"/>
              <a:gd name="connsiteX70" fmla="*/ 97959 w 579276"/>
              <a:gd name="connsiteY70" fmla="*/ 86389 h 601500"/>
              <a:gd name="connsiteX71" fmla="*/ 104009 w 579276"/>
              <a:gd name="connsiteY71" fmla="*/ 86389 h 601500"/>
              <a:gd name="connsiteX72" fmla="*/ 110261 w 579276"/>
              <a:gd name="connsiteY72" fmla="*/ 65043 h 601500"/>
              <a:gd name="connsiteX73" fmla="*/ 143938 w 579276"/>
              <a:gd name="connsiteY73" fmla="*/ 40275 h 601500"/>
              <a:gd name="connsiteX74" fmla="*/ 153416 w 579276"/>
              <a:gd name="connsiteY74" fmla="*/ 41684 h 601500"/>
              <a:gd name="connsiteX75" fmla="*/ 227426 w 579276"/>
              <a:gd name="connsiteY75" fmla="*/ 63030 h 601500"/>
              <a:gd name="connsiteX76" fmla="*/ 249205 w 579276"/>
              <a:gd name="connsiteY76" fmla="*/ 23762 h 601500"/>
              <a:gd name="connsiteX77" fmla="*/ 306275 w 579276"/>
              <a:gd name="connsiteY77" fmla="*/ 0 h 601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79276" h="601500">
                <a:moveTo>
                  <a:pt x="166523" y="387263"/>
                </a:moveTo>
                <a:lnTo>
                  <a:pt x="415364" y="387263"/>
                </a:lnTo>
                <a:cubicBezTo>
                  <a:pt x="433513" y="387263"/>
                  <a:pt x="448234" y="401959"/>
                  <a:pt x="448234" y="420077"/>
                </a:cubicBezTo>
                <a:lnTo>
                  <a:pt x="448234" y="421486"/>
                </a:lnTo>
                <a:cubicBezTo>
                  <a:pt x="448234" y="439604"/>
                  <a:pt x="433513" y="454300"/>
                  <a:pt x="415364" y="454300"/>
                </a:cubicBezTo>
                <a:lnTo>
                  <a:pt x="166523" y="454300"/>
                </a:lnTo>
                <a:cubicBezTo>
                  <a:pt x="148374" y="454300"/>
                  <a:pt x="133653" y="439604"/>
                  <a:pt x="133653" y="421486"/>
                </a:cubicBezTo>
                <a:lnTo>
                  <a:pt x="133653" y="420077"/>
                </a:lnTo>
                <a:cubicBezTo>
                  <a:pt x="133653" y="401959"/>
                  <a:pt x="148374" y="387263"/>
                  <a:pt x="166523" y="387263"/>
                </a:cubicBezTo>
                <a:close/>
                <a:moveTo>
                  <a:pt x="166523" y="279721"/>
                </a:moveTo>
                <a:lnTo>
                  <a:pt x="415364" y="279721"/>
                </a:lnTo>
                <a:cubicBezTo>
                  <a:pt x="433513" y="279721"/>
                  <a:pt x="448234" y="294419"/>
                  <a:pt x="448234" y="312540"/>
                </a:cubicBezTo>
                <a:lnTo>
                  <a:pt x="448234" y="313950"/>
                </a:lnTo>
                <a:cubicBezTo>
                  <a:pt x="448234" y="332272"/>
                  <a:pt x="433513" y="346970"/>
                  <a:pt x="415364" y="346970"/>
                </a:cubicBezTo>
                <a:lnTo>
                  <a:pt x="166523" y="346970"/>
                </a:lnTo>
                <a:cubicBezTo>
                  <a:pt x="148374" y="346970"/>
                  <a:pt x="133653" y="332272"/>
                  <a:pt x="133653" y="313950"/>
                </a:cubicBezTo>
                <a:lnTo>
                  <a:pt x="133653" y="312540"/>
                </a:lnTo>
                <a:cubicBezTo>
                  <a:pt x="133653" y="294419"/>
                  <a:pt x="148374" y="279721"/>
                  <a:pt x="166523" y="279721"/>
                </a:cubicBezTo>
                <a:close/>
                <a:moveTo>
                  <a:pt x="101388" y="142773"/>
                </a:moveTo>
                <a:lnTo>
                  <a:pt x="101388" y="497189"/>
                </a:lnTo>
                <a:lnTo>
                  <a:pt x="477888" y="497189"/>
                </a:lnTo>
                <a:lnTo>
                  <a:pt x="477888" y="142773"/>
                </a:lnTo>
                <a:lnTo>
                  <a:pt x="262716" y="142773"/>
                </a:lnTo>
                <a:lnTo>
                  <a:pt x="262716" y="190700"/>
                </a:lnTo>
                <a:cubicBezTo>
                  <a:pt x="262716" y="195130"/>
                  <a:pt x="265338" y="199560"/>
                  <a:pt x="268968" y="203386"/>
                </a:cubicBezTo>
                <a:cubicBezTo>
                  <a:pt x="272396" y="206608"/>
                  <a:pt x="277639" y="208622"/>
                  <a:pt x="282681" y="208622"/>
                </a:cubicBezTo>
                <a:cubicBezTo>
                  <a:pt x="287521" y="208622"/>
                  <a:pt x="291957" y="206810"/>
                  <a:pt x="295385" y="203386"/>
                </a:cubicBezTo>
                <a:cubicBezTo>
                  <a:pt x="298612" y="199963"/>
                  <a:pt x="300629" y="195533"/>
                  <a:pt x="300629" y="190700"/>
                </a:cubicBezTo>
                <a:cubicBezTo>
                  <a:pt x="300225" y="174791"/>
                  <a:pt x="300427" y="170361"/>
                  <a:pt x="300830" y="168750"/>
                </a:cubicBezTo>
                <a:cubicBezTo>
                  <a:pt x="301839" y="158682"/>
                  <a:pt x="309905" y="151231"/>
                  <a:pt x="319988" y="151231"/>
                </a:cubicBezTo>
                <a:cubicBezTo>
                  <a:pt x="329869" y="151231"/>
                  <a:pt x="338138" y="158682"/>
                  <a:pt x="339146" y="168750"/>
                </a:cubicBezTo>
                <a:cubicBezTo>
                  <a:pt x="339347" y="170361"/>
                  <a:pt x="339549" y="174791"/>
                  <a:pt x="339549" y="190700"/>
                </a:cubicBezTo>
                <a:cubicBezTo>
                  <a:pt x="339549" y="206004"/>
                  <a:pt x="333298" y="220302"/>
                  <a:pt x="322610" y="231176"/>
                </a:cubicBezTo>
                <a:cubicBezTo>
                  <a:pt x="311720" y="241849"/>
                  <a:pt x="297805" y="247890"/>
                  <a:pt x="281673" y="247890"/>
                </a:cubicBezTo>
                <a:cubicBezTo>
                  <a:pt x="265540" y="247890"/>
                  <a:pt x="252432" y="241849"/>
                  <a:pt x="241744" y="230974"/>
                </a:cubicBezTo>
                <a:cubicBezTo>
                  <a:pt x="232064" y="221510"/>
                  <a:pt x="226821" y="208622"/>
                  <a:pt x="225611" y="195331"/>
                </a:cubicBezTo>
                <a:lnTo>
                  <a:pt x="225611" y="194325"/>
                </a:lnTo>
                <a:lnTo>
                  <a:pt x="225611" y="142773"/>
                </a:lnTo>
                <a:close/>
                <a:moveTo>
                  <a:pt x="306477" y="39066"/>
                </a:moveTo>
                <a:cubicBezTo>
                  <a:pt x="295184" y="39066"/>
                  <a:pt x="284496" y="43295"/>
                  <a:pt x="276631" y="51350"/>
                </a:cubicBezTo>
                <a:cubicBezTo>
                  <a:pt x="270178" y="57593"/>
                  <a:pt x="266145" y="64842"/>
                  <a:pt x="264531" y="72897"/>
                </a:cubicBezTo>
                <a:lnTo>
                  <a:pt x="313737" y="86389"/>
                </a:lnTo>
                <a:lnTo>
                  <a:pt x="348624" y="86389"/>
                </a:lnTo>
                <a:lnTo>
                  <a:pt x="348624" y="80348"/>
                </a:lnTo>
                <a:cubicBezTo>
                  <a:pt x="348624" y="69071"/>
                  <a:pt x="344389" y="59606"/>
                  <a:pt x="336323" y="51551"/>
                </a:cubicBezTo>
                <a:cubicBezTo>
                  <a:pt x="328256" y="43496"/>
                  <a:pt x="317770" y="39066"/>
                  <a:pt x="306477" y="39066"/>
                </a:cubicBezTo>
                <a:close/>
                <a:moveTo>
                  <a:pt x="306275" y="0"/>
                </a:moveTo>
                <a:cubicBezTo>
                  <a:pt x="327853" y="0"/>
                  <a:pt x="348019" y="8458"/>
                  <a:pt x="363345" y="23762"/>
                </a:cubicBezTo>
                <a:cubicBezTo>
                  <a:pt x="378470" y="38865"/>
                  <a:pt x="386536" y="59204"/>
                  <a:pt x="386536" y="81153"/>
                </a:cubicBezTo>
                <a:lnTo>
                  <a:pt x="386536" y="86389"/>
                </a:lnTo>
                <a:lnTo>
                  <a:pt x="483736" y="86389"/>
                </a:lnTo>
                <a:cubicBezTo>
                  <a:pt x="512574" y="86389"/>
                  <a:pt x="534353" y="111158"/>
                  <a:pt x="534353" y="139954"/>
                </a:cubicBezTo>
                <a:lnTo>
                  <a:pt x="534353" y="151029"/>
                </a:lnTo>
                <a:lnTo>
                  <a:pt x="554318" y="156467"/>
                </a:lnTo>
                <a:cubicBezTo>
                  <a:pt x="572870" y="161904"/>
                  <a:pt x="583155" y="181235"/>
                  <a:pt x="577912" y="199762"/>
                </a:cubicBezTo>
                <a:lnTo>
                  <a:pt x="534353" y="350187"/>
                </a:lnTo>
                <a:lnTo>
                  <a:pt x="534353" y="501821"/>
                </a:lnTo>
                <a:cubicBezTo>
                  <a:pt x="534353" y="530617"/>
                  <a:pt x="512574" y="553573"/>
                  <a:pt x="483736" y="553573"/>
                </a:cubicBezTo>
                <a:lnTo>
                  <a:pt x="477283" y="553573"/>
                </a:lnTo>
                <a:lnTo>
                  <a:pt x="470830" y="575926"/>
                </a:lnTo>
                <a:cubicBezTo>
                  <a:pt x="466595" y="590827"/>
                  <a:pt x="452681" y="601500"/>
                  <a:pt x="437153" y="601500"/>
                </a:cubicBezTo>
                <a:cubicBezTo>
                  <a:pt x="433926" y="601500"/>
                  <a:pt x="430700" y="601097"/>
                  <a:pt x="427675" y="600292"/>
                </a:cubicBezTo>
                <a:lnTo>
                  <a:pt x="264733" y="553573"/>
                </a:lnTo>
                <a:lnTo>
                  <a:pt x="97959" y="553573"/>
                </a:lnTo>
                <a:cubicBezTo>
                  <a:pt x="69122" y="553573"/>
                  <a:pt x="44923" y="530617"/>
                  <a:pt x="44923" y="501821"/>
                </a:cubicBezTo>
                <a:lnTo>
                  <a:pt x="44923" y="490946"/>
                </a:lnTo>
                <a:lnTo>
                  <a:pt x="24958" y="485308"/>
                </a:lnTo>
                <a:cubicBezTo>
                  <a:pt x="6406" y="479871"/>
                  <a:pt x="-3879" y="460539"/>
                  <a:pt x="1364" y="442013"/>
                </a:cubicBezTo>
                <a:lnTo>
                  <a:pt x="44923" y="288366"/>
                </a:lnTo>
                <a:lnTo>
                  <a:pt x="44923" y="139954"/>
                </a:lnTo>
                <a:cubicBezTo>
                  <a:pt x="44923" y="111158"/>
                  <a:pt x="69122" y="86389"/>
                  <a:pt x="97959" y="86389"/>
                </a:cubicBezTo>
                <a:lnTo>
                  <a:pt x="104009" y="86389"/>
                </a:lnTo>
                <a:lnTo>
                  <a:pt x="110261" y="65043"/>
                </a:lnTo>
                <a:cubicBezTo>
                  <a:pt x="114496" y="50142"/>
                  <a:pt x="128410" y="40275"/>
                  <a:pt x="143938" y="40275"/>
                </a:cubicBezTo>
                <a:cubicBezTo>
                  <a:pt x="147165" y="40275"/>
                  <a:pt x="150391" y="40879"/>
                  <a:pt x="153416" y="41684"/>
                </a:cubicBezTo>
                <a:lnTo>
                  <a:pt x="227426" y="63030"/>
                </a:lnTo>
                <a:cubicBezTo>
                  <a:pt x="230854" y="48128"/>
                  <a:pt x="238114" y="34636"/>
                  <a:pt x="249205" y="23762"/>
                </a:cubicBezTo>
                <a:cubicBezTo>
                  <a:pt x="264531" y="8458"/>
                  <a:pt x="284697" y="0"/>
                  <a:pt x="306275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65" name="任意多边形: 形状 64">
            <a:extLst>
              <a:ext uri="{FF2B5EF4-FFF2-40B4-BE49-F238E27FC236}">
                <a16:creationId xmlns:a16="http://schemas.microsoft.com/office/drawing/2014/main" id="{0139F03D-6B85-4FFB-B97D-5D57AE92F0F6}"/>
              </a:ext>
            </a:extLst>
          </p:cNvPr>
          <p:cNvSpPr/>
          <p:nvPr/>
        </p:nvSpPr>
        <p:spPr bwMode="auto">
          <a:xfrm>
            <a:off x="6861564" y="5245455"/>
            <a:ext cx="365755" cy="390879"/>
          </a:xfrm>
          <a:custGeom>
            <a:avLst/>
            <a:gdLst>
              <a:gd name="T0" fmla="*/ 2833 w 2933"/>
              <a:gd name="T1" fmla="*/ 3139 h 3139"/>
              <a:gd name="T2" fmla="*/ 0 w 2933"/>
              <a:gd name="T3" fmla="*/ 3039 h 3139"/>
              <a:gd name="T4" fmla="*/ 100 w 2933"/>
              <a:gd name="T5" fmla="*/ 2726 h 3139"/>
              <a:gd name="T6" fmla="*/ 2933 w 2933"/>
              <a:gd name="T7" fmla="*/ 2826 h 3139"/>
              <a:gd name="T8" fmla="*/ 2824 w 2933"/>
              <a:gd name="T9" fmla="*/ 1404 h 3139"/>
              <a:gd name="T10" fmla="*/ 2526 w 2933"/>
              <a:gd name="T11" fmla="*/ 1770 h 3139"/>
              <a:gd name="T12" fmla="*/ 2440 w 2933"/>
              <a:gd name="T13" fmla="*/ 1749 h 3139"/>
              <a:gd name="T14" fmla="*/ 2370 w 2933"/>
              <a:gd name="T15" fmla="*/ 754 h 3139"/>
              <a:gd name="T16" fmla="*/ 2008 w 2933"/>
              <a:gd name="T17" fmla="*/ 1196 h 3139"/>
              <a:gd name="T18" fmla="*/ 1871 w 2933"/>
              <a:gd name="T19" fmla="*/ 1946 h 3139"/>
              <a:gd name="T20" fmla="*/ 1070 w 2933"/>
              <a:gd name="T21" fmla="*/ 1946 h 3139"/>
              <a:gd name="T22" fmla="*/ 932 w 2933"/>
              <a:gd name="T23" fmla="*/ 1206 h 3139"/>
              <a:gd name="T24" fmla="*/ 563 w 2933"/>
              <a:gd name="T25" fmla="*/ 754 h 3139"/>
              <a:gd name="T26" fmla="*/ 497 w 2933"/>
              <a:gd name="T27" fmla="*/ 1748 h 3139"/>
              <a:gd name="T28" fmla="*/ 453 w 2933"/>
              <a:gd name="T29" fmla="*/ 1792 h 3139"/>
              <a:gd name="T30" fmla="*/ 410 w 2933"/>
              <a:gd name="T31" fmla="*/ 1770 h 3139"/>
              <a:gd name="T32" fmla="*/ 119 w 2933"/>
              <a:gd name="T33" fmla="*/ 1404 h 3139"/>
              <a:gd name="T34" fmla="*/ 38 w 2933"/>
              <a:gd name="T35" fmla="*/ 2372 h 3139"/>
              <a:gd name="T36" fmla="*/ 138 w 2933"/>
              <a:gd name="T37" fmla="*/ 2472 h 3139"/>
              <a:gd name="T38" fmla="*/ 2891 w 2933"/>
              <a:gd name="T39" fmla="*/ 2373 h 3139"/>
              <a:gd name="T40" fmla="*/ 2824 w 2933"/>
              <a:gd name="T41" fmla="*/ 1404 h 3139"/>
              <a:gd name="T42" fmla="*/ 1609 w 2933"/>
              <a:gd name="T43" fmla="*/ 566 h 3139"/>
              <a:gd name="T44" fmla="*/ 1656 w 2933"/>
              <a:gd name="T45" fmla="*/ 504 h 3139"/>
              <a:gd name="T46" fmla="*/ 1670 w 2933"/>
              <a:gd name="T47" fmla="*/ 465 h 3139"/>
              <a:gd name="T48" fmla="*/ 1678 w 2933"/>
              <a:gd name="T49" fmla="*/ 416 h 3139"/>
              <a:gd name="T50" fmla="*/ 1471 w 2933"/>
              <a:gd name="T51" fmla="*/ 0 h 3139"/>
              <a:gd name="T52" fmla="*/ 1264 w 2933"/>
              <a:gd name="T53" fmla="*/ 416 h 3139"/>
              <a:gd name="T54" fmla="*/ 1271 w 2933"/>
              <a:gd name="T55" fmla="*/ 465 h 3139"/>
              <a:gd name="T56" fmla="*/ 1286 w 2933"/>
              <a:gd name="T57" fmla="*/ 504 h 3139"/>
              <a:gd name="T58" fmla="*/ 1333 w 2933"/>
              <a:gd name="T59" fmla="*/ 566 h 3139"/>
              <a:gd name="T60" fmla="*/ 1131 w 2933"/>
              <a:gd name="T61" fmla="*/ 1279 h 3139"/>
              <a:gd name="T62" fmla="*/ 1811 w 2933"/>
              <a:gd name="T63" fmla="*/ 1279 h 31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933" h="3139">
                <a:moveTo>
                  <a:pt x="2933" y="3039"/>
                </a:moveTo>
                <a:cubicBezTo>
                  <a:pt x="2933" y="3094"/>
                  <a:pt x="2888" y="3139"/>
                  <a:pt x="2833" y="3139"/>
                </a:cubicBezTo>
                <a:lnTo>
                  <a:pt x="100" y="3139"/>
                </a:lnTo>
                <a:cubicBezTo>
                  <a:pt x="45" y="3139"/>
                  <a:pt x="0" y="3094"/>
                  <a:pt x="0" y="3039"/>
                </a:cubicBezTo>
                <a:lnTo>
                  <a:pt x="0" y="2826"/>
                </a:lnTo>
                <a:cubicBezTo>
                  <a:pt x="0" y="2770"/>
                  <a:pt x="45" y="2726"/>
                  <a:pt x="100" y="2726"/>
                </a:cubicBezTo>
                <a:lnTo>
                  <a:pt x="2833" y="2726"/>
                </a:lnTo>
                <a:cubicBezTo>
                  <a:pt x="2888" y="2726"/>
                  <a:pt x="2933" y="2770"/>
                  <a:pt x="2933" y="2826"/>
                </a:cubicBezTo>
                <a:lnTo>
                  <a:pt x="2933" y="3039"/>
                </a:lnTo>
                <a:close/>
                <a:moveTo>
                  <a:pt x="2824" y="1404"/>
                </a:moveTo>
                <a:cubicBezTo>
                  <a:pt x="2780" y="1393"/>
                  <a:pt x="2734" y="1412"/>
                  <a:pt x="2711" y="1451"/>
                </a:cubicBezTo>
                <a:lnTo>
                  <a:pt x="2526" y="1770"/>
                </a:lnTo>
                <a:cubicBezTo>
                  <a:pt x="2518" y="1784"/>
                  <a:pt x="2501" y="1792"/>
                  <a:pt x="2486" y="1792"/>
                </a:cubicBezTo>
                <a:cubicBezTo>
                  <a:pt x="2462" y="1792"/>
                  <a:pt x="2440" y="1773"/>
                  <a:pt x="2440" y="1749"/>
                </a:cubicBezTo>
                <a:lnTo>
                  <a:pt x="2440" y="850"/>
                </a:lnTo>
                <a:cubicBezTo>
                  <a:pt x="2440" y="805"/>
                  <a:pt x="2413" y="766"/>
                  <a:pt x="2370" y="754"/>
                </a:cubicBezTo>
                <a:cubicBezTo>
                  <a:pt x="2327" y="741"/>
                  <a:pt x="2282" y="759"/>
                  <a:pt x="2258" y="797"/>
                </a:cubicBezTo>
                <a:lnTo>
                  <a:pt x="2008" y="1196"/>
                </a:lnTo>
                <a:cubicBezTo>
                  <a:pt x="2010" y="1224"/>
                  <a:pt x="2011" y="1251"/>
                  <a:pt x="2011" y="1279"/>
                </a:cubicBezTo>
                <a:cubicBezTo>
                  <a:pt x="2011" y="1529"/>
                  <a:pt x="1961" y="1766"/>
                  <a:pt x="1871" y="1946"/>
                </a:cubicBezTo>
                <a:cubicBezTo>
                  <a:pt x="1770" y="2148"/>
                  <a:pt x="1628" y="2259"/>
                  <a:pt x="1471" y="2259"/>
                </a:cubicBezTo>
                <a:cubicBezTo>
                  <a:pt x="1313" y="2259"/>
                  <a:pt x="1171" y="2148"/>
                  <a:pt x="1070" y="1946"/>
                </a:cubicBezTo>
                <a:cubicBezTo>
                  <a:pt x="980" y="1766"/>
                  <a:pt x="931" y="1529"/>
                  <a:pt x="931" y="1279"/>
                </a:cubicBezTo>
                <a:cubicBezTo>
                  <a:pt x="931" y="1255"/>
                  <a:pt x="931" y="1230"/>
                  <a:pt x="932" y="1206"/>
                </a:cubicBezTo>
                <a:lnTo>
                  <a:pt x="676" y="797"/>
                </a:lnTo>
                <a:cubicBezTo>
                  <a:pt x="652" y="759"/>
                  <a:pt x="606" y="741"/>
                  <a:pt x="563" y="754"/>
                </a:cubicBezTo>
                <a:cubicBezTo>
                  <a:pt x="520" y="766"/>
                  <a:pt x="491" y="806"/>
                  <a:pt x="491" y="850"/>
                </a:cubicBezTo>
                <a:lnTo>
                  <a:pt x="497" y="1748"/>
                </a:lnTo>
                <a:cubicBezTo>
                  <a:pt x="497" y="1764"/>
                  <a:pt x="489" y="1775"/>
                  <a:pt x="484" y="1779"/>
                </a:cubicBezTo>
                <a:cubicBezTo>
                  <a:pt x="479" y="1784"/>
                  <a:pt x="469" y="1792"/>
                  <a:pt x="453" y="1792"/>
                </a:cubicBezTo>
                <a:lnTo>
                  <a:pt x="448" y="1792"/>
                </a:lnTo>
                <a:cubicBezTo>
                  <a:pt x="433" y="1792"/>
                  <a:pt x="418" y="1784"/>
                  <a:pt x="410" y="1770"/>
                </a:cubicBezTo>
                <a:lnTo>
                  <a:pt x="231" y="1452"/>
                </a:lnTo>
                <a:cubicBezTo>
                  <a:pt x="209" y="1412"/>
                  <a:pt x="163" y="1393"/>
                  <a:pt x="119" y="1404"/>
                </a:cubicBezTo>
                <a:cubicBezTo>
                  <a:pt x="75" y="1415"/>
                  <a:pt x="45" y="1455"/>
                  <a:pt x="44" y="1500"/>
                </a:cubicBezTo>
                <a:lnTo>
                  <a:pt x="38" y="2372"/>
                </a:lnTo>
                <a:cubicBezTo>
                  <a:pt x="37" y="2398"/>
                  <a:pt x="48" y="2424"/>
                  <a:pt x="67" y="2443"/>
                </a:cubicBezTo>
                <a:cubicBezTo>
                  <a:pt x="85" y="2462"/>
                  <a:pt x="111" y="2472"/>
                  <a:pt x="138" y="2472"/>
                </a:cubicBezTo>
                <a:lnTo>
                  <a:pt x="2791" y="2472"/>
                </a:lnTo>
                <a:cubicBezTo>
                  <a:pt x="2846" y="2472"/>
                  <a:pt x="2890" y="2428"/>
                  <a:pt x="2891" y="2373"/>
                </a:cubicBezTo>
                <a:lnTo>
                  <a:pt x="2898" y="1502"/>
                </a:lnTo>
                <a:cubicBezTo>
                  <a:pt x="2898" y="1456"/>
                  <a:pt x="2868" y="1416"/>
                  <a:pt x="2824" y="1404"/>
                </a:cubicBezTo>
                <a:close/>
                <a:moveTo>
                  <a:pt x="1605" y="569"/>
                </a:moveTo>
                <a:cubicBezTo>
                  <a:pt x="1606" y="568"/>
                  <a:pt x="1608" y="567"/>
                  <a:pt x="1609" y="566"/>
                </a:cubicBezTo>
                <a:cubicBezTo>
                  <a:pt x="1625" y="552"/>
                  <a:pt x="1639" y="535"/>
                  <a:pt x="1650" y="516"/>
                </a:cubicBezTo>
                <a:cubicBezTo>
                  <a:pt x="1652" y="512"/>
                  <a:pt x="1654" y="508"/>
                  <a:pt x="1656" y="504"/>
                </a:cubicBezTo>
                <a:cubicBezTo>
                  <a:pt x="1660" y="497"/>
                  <a:pt x="1663" y="489"/>
                  <a:pt x="1666" y="480"/>
                </a:cubicBezTo>
                <a:cubicBezTo>
                  <a:pt x="1668" y="475"/>
                  <a:pt x="1669" y="470"/>
                  <a:pt x="1670" y="465"/>
                </a:cubicBezTo>
                <a:cubicBezTo>
                  <a:pt x="1672" y="458"/>
                  <a:pt x="1674" y="450"/>
                  <a:pt x="1675" y="442"/>
                </a:cubicBezTo>
                <a:cubicBezTo>
                  <a:pt x="1677" y="434"/>
                  <a:pt x="1677" y="425"/>
                  <a:pt x="1678" y="416"/>
                </a:cubicBezTo>
                <a:cubicBezTo>
                  <a:pt x="1678" y="380"/>
                  <a:pt x="1669" y="344"/>
                  <a:pt x="1650" y="309"/>
                </a:cubicBezTo>
                <a:lnTo>
                  <a:pt x="1471" y="0"/>
                </a:lnTo>
                <a:lnTo>
                  <a:pt x="1292" y="309"/>
                </a:lnTo>
                <a:cubicBezTo>
                  <a:pt x="1272" y="344"/>
                  <a:pt x="1264" y="380"/>
                  <a:pt x="1264" y="416"/>
                </a:cubicBezTo>
                <a:cubicBezTo>
                  <a:pt x="1264" y="425"/>
                  <a:pt x="1265" y="434"/>
                  <a:pt x="1267" y="442"/>
                </a:cubicBezTo>
                <a:cubicBezTo>
                  <a:pt x="1268" y="450"/>
                  <a:pt x="1269" y="458"/>
                  <a:pt x="1271" y="465"/>
                </a:cubicBezTo>
                <a:cubicBezTo>
                  <a:pt x="1273" y="470"/>
                  <a:pt x="1274" y="475"/>
                  <a:pt x="1276" y="480"/>
                </a:cubicBezTo>
                <a:cubicBezTo>
                  <a:pt x="1279" y="489"/>
                  <a:pt x="1282" y="497"/>
                  <a:pt x="1286" y="504"/>
                </a:cubicBezTo>
                <a:cubicBezTo>
                  <a:pt x="1288" y="508"/>
                  <a:pt x="1290" y="512"/>
                  <a:pt x="1292" y="516"/>
                </a:cubicBezTo>
                <a:cubicBezTo>
                  <a:pt x="1303" y="535"/>
                  <a:pt x="1317" y="552"/>
                  <a:pt x="1333" y="566"/>
                </a:cubicBezTo>
                <a:cubicBezTo>
                  <a:pt x="1334" y="567"/>
                  <a:pt x="1336" y="568"/>
                  <a:pt x="1337" y="569"/>
                </a:cubicBezTo>
                <a:cubicBezTo>
                  <a:pt x="1224" y="688"/>
                  <a:pt x="1131" y="947"/>
                  <a:pt x="1131" y="1279"/>
                </a:cubicBezTo>
                <a:cubicBezTo>
                  <a:pt x="1131" y="1739"/>
                  <a:pt x="1310" y="2059"/>
                  <a:pt x="1471" y="2059"/>
                </a:cubicBezTo>
                <a:cubicBezTo>
                  <a:pt x="1632" y="2059"/>
                  <a:pt x="1811" y="1739"/>
                  <a:pt x="1811" y="1279"/>
                </a:cubicBezTo>
                <a:cubicBezTo>
                  <a:pt x="1811" y="947"/>
                  <a:pt x="1718" y="688"/>
                  <a:pt x="1605" y="569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66" name="任意多边形: 形状 65">
            <a:extLst>
              <a:ext uri="{FF2B5EF4-FFF2-40B4-BE49-F238E27FC236}">
                <a16:creationId xmlns:a16="http://schemas.microsoft.com/office/drawing/2014/main" id="{E01DCD9A-428D-4B8A-BD64-93C64EAF962E}"/>
              </a:ext>
            </a:extLst>
          </p:cNvPr>
          <p:cNvSpPr/>
          <p:nvPr/>
        </p:nvSpPr>
        <p:spPr bwMode="auto">
          <a:xfrm>
            <a:off x="3816955" y="3319860"/>
            <a:ext cx="386613" cy="340057"/>
          </a:xfrm>
          <a:custGeom>
            <a:avLst/>
            <a:gdLst>
              <a:gd name="connsiteX0" fmla="*/ 304118 w 608234"/>
              <a:gd name="connsiteY0" fmla="*/ 452712 h 534991"/>
              <a:gd name="connsiteX1" fmla="*/ 396029 w 608234"/>
              <a:gd name="connsiteY1" fmla="*/ 475926 h 534991"/>
              <a:gd name="connsiteX2" fmla="*/ 304118 w 608234"/>
              <a:gd name="connsiteY2" fmla="*/ 534991 h 534991"/>
              <a:gd name="connsiteX3" fmla="*/ 212206 w 608234"/>
              <a:gd name="connsiteY3" fmla="*/ 475926 h 534991"/>
              <a:gd name="connsiteX4" fmla="*/ 304118 w 608234"/>
              <a:gd name="connsiteY4" fmla="*/ 452712 h 534991"/>
              <a:gd name="connsiteX5" fmla="*/ 460557 w 608234"/>
              <a:gd name="connsiteY5" fmla="*/ 371837 h 534991"/>
              <a:gd name="connsiteX6" fmla="*/ 439647 w 608234"/>
              <a:gd name="connsiteY6" fmla="*/ 392716 h 534991"/>
              <a:gd name="connsiteX7" fmla="*/ 460557 w 608234"/>
              <a:gd name="connsiteY7" fmla="*/ 413853 h 534991"/>
              <a:gd name="connsiteX8" fmla="*/ 481467 w 608234"/>
              <a:gd name="connsiteY8" fmla="*/ 392716 h 534991"/>
              <a:gd name="connsiteX9" fmla="*/ 460557 w 608234"/>
              <a:gd name="connsiteY9" fmla="*/ 371837 h 534991"/>
              <a:gd name="connsiteX10" fmla="*/ 507282 w 608234"/>
              <a:gd name="connsiteY10" fmla="*/ 325181 h 534991"/>
              <a:gd name="connsiteX11" fmla="*/ 486372 w 608234"/>
              <a:gd name="connsiteY11" fmla="*/ 346060 h 534991"/>
              <a:gd name="connsiteX12" fmla="*/ 507282 w 608234"/>
              <a:gd name="connsiteY12" fmla="*/ 366939 h 534991"/>
              <a:gd name="connsiteX13" fmla="*/ 528193 w 608234"/>
              <a:gd name="connsiteY13" fmla="*/ 346060 h 534991"/>
              <a:gd name="connsiteX14" fmla="*/ 507282 w 608234"/>
              <a:gd name="connsiteY14" fmla="*/ 325181 h 534991"/>
              <a:gd name="connsiteX15" fmla="*/ 413832 w 608234"/>
              <a:gd name="connsiteY15" fmla="*/ 325181 h 534991"/>
              <a:gd name="connsiteX16" fmla="*/ 392922 w 608234"/>
              <a:gd name="connsiteY16" fmla="*/ 346060 h 534991"/>
              <a:gd name="connsiteX17" fmla="*/ 413832 w 608234"/>
              <a:gd name="connsiteY17" fmla="*/ 366939 h 534991"/>
              <a:gd name="connsiteX18" fmla="*/ 434742 w 608234"/>
              <a:gd name="connsiteY18" fmla="*/ 346060 h 534991"/>
              <a:gd name="connsiteX19" fmla="*/ 413832 w 608234"/>
              <a:gd name="connsiteY19" fmla="*/ 325181 h 534991"/>
              <a:gd name="connsiteX20" fmla="*/ 460557 w 608234"/>
              <a:gd name="connsiteY20" fmla="*/ 278525 h 534991"/>
              <a:gd name="connsiteX21" fmla="*/ 439647 w 608234"/>
              <a:gd name="connsiteY21" fmla="*/ 299404 h 534991"/>
              <a:gd name="connsiteX22" fmla="*/ 460557 w 608234"/>
              <a:gd name="connsiteY22" fmla="*/ 320284 h 534991"/>
              <a:gd name="connsiteX23" fmla="*/ 481467 w 608234"/>
              <a:gd name="connsiteY23" fmla="*/ 299404 h 534991"/>
              <a:gd name="connsiteX24" fmla="*/ 460557 w 608234"/>
              <a:gd name="connsiteY24" fmla="*/ 278525 h 534991"/>
              <a:gd name="connsiteX25" fmla="*/ 127285 w 608234"/>
              <a:gd name="connsiteY25" fmla="*/ 278010 h 534991"/>
              <a:gd name="connsiteX26" fmla="*/ 127285 w 608234"/>
              <a:gd name="connsiteY26" fmla="*/ 325181 h 534991"/>
              <a:gd name="connsiteX27" fmla="*/ 80043 w 608234"/>
              <a:gd name="connsiteY27" fmla="*/ 325181 h 534991"/>
              <a:gd name="connsiteX28" fmla="*/ 80043 w 608234"/>
              <a:gd name="connsiteY28" fmla="*/ 366939 h 534991"/>
              <a:gd name="connsiteX29" fmla="*/ 127285 w 608234"/>
              <a:gd name="connsiteY29" fmla="*/ 366939 h 534991"/>
              <a:gd name="connsiteX30" fmla="*/ 127285 w 608234"/>
              <a:gd name="connsiteY30" fmla="*/ 414111 h 534991"/>
              <a:gd name="connsiteX31" fmla="*/ 169105 w 608234"/>
              <a:gd name="connsiteY31" fmla="*/ 414111 h 534991"/>
              <a:gd name="connsiteX32" fmla="*/ 169105 w 608234"/>
              <a:gd name="connsiteY32" fmla="*/ 366939 h 534991"/>
              <a:gd name="connsiteX33" fmla="*/ 216347 w 608234"/>
              <a:gd name="connsiteY33" fmla="*/ 366939 h 534991"/>
              <a:gd name="connsiteX34" fmla="*/ 216347 w 608234"/>
              <a:gd name="connsiteY34" fmla="*/ 325181 h 534991"/>
              <a:gd name="connsiteX35" fmla="*/ 169105 w 608234"/>
              <a:gd name="connsiteY35" fmla="*/ 325181 h 534991"/>
              <a:gd name="connsiteX36" fmla="*/ 169105 w 608234"/>
              <a:gd name="connsiteY36" fmla="*/ 278010 h 534991"/>
              <a:gd name="connsiteX37" fmla="*/ 453719 w 608234"/>
              <a:gd name="connsiteY37" fmla="*/ 165019 h 534991"/>
              <a:gd name="connsiteX38" fmla="*/ 472174 w 608234"/>
              <a:gd name="connsiteY38" fmla="*/ 171294 h 534991"/>
              <a:gd name="connsiteX39" fmla="*/ 608219 w 608234"/>
              <a:gd name="connsiteY39" fmla="*/ 463860 h 534991"/>
              <a:gd name="connsiteX40" fmla="*/ 304118 w 608234"/>
              <a:gd name="connsiteY40" fmla="*/ 413595 h 534991"/>
              <a:gd name="connsiteX41" fmla="*/ 16 w 608234"/>
              <a:gd name="connsiteY41" fmla="*/ 463860 h 534991"/>
              <a:gd name="connsiteX42" fmla="*/ 133996 w 608234"/>
              <a:gd name="connsiteY42" fmla="*/ 172583 h 534991"/>
              <a:gd name="connsiteX43" fmla="*/ 304118 w 608234"/>
              <a:gd name="connsiteY43" fmla="*/ 238829 h 534991"/>
              <a:gd name="connsiteX44" fmla="*/ 453719 w 608234"/>
              <a:gd name="connsiteY44" fmla="*/ 165019 h 534991"/>
              <a:gd name="connsiteX45" fmla="*/ 172270 w 608234"/>
              <a:gd name="connsiteY45" fmla="*/ 579 h 534991"/>
              <a:gd name="connsiteX46" fmla="*/ 304117 w 608234"/>
              <a:gd name="connsiteY46" fmla="*/ 55247 h 534991"/>
              <a:gd name="connsiteX47" fmla="*/ 607169 w 608234"/>
              <a:gd name="connsiteY47" fmla="*/ 141600 h 534991"/>
              <a:gd name="connsiteX48" fmla="*/ 590907 w 608234"/>
              <a:gd name="connsiteY48" fmla="*/ 250895 h 534991"/>
              <a:gd name="connsiteX49" fmla="*/ 494106 w 608234"/>
              <a:gd name="connsiteY49" fmla="*/ 138507 h 534991"/>
              <a:gd name="connsiteX50" fmla="*/ 451771 w 608234"/>
              <a:gd name="connsiteY50" fmla="*/ 125618 h 534991"/>
              <a:gd name="connsiteX51" fmla="*/ 361682 w 608234"/>
              <a:gd name="connsiteY51" fmla="*/ 167635 h 534991"/>
              <a:gd name="connsiteX52" fmla="*/ 304117 w 608234"/>
              <a:gd name="connsiteY52" fmla="*/ 199341 h 534991"/>
              <a:gd name="connsiteX53" fmla="*/ 245520 w 608234"/>
              <a:gd name="connsiteY53" fmla="*/ 167893 h 534991"/>
              <a:gd name="connsiteX54" fmla="*/ 155431 w 608234"/>
              <a:gd name="connsiteY54" fmla="*/ 126649 h 534991"/>
              <a:gd name="connsiteX55" fmla="*/ 112064 w 608234"/>
              <a:gd name="connsiteY55" fmla="*/ 140054 h 534991"/>
              <a:gd name="connsiteX56" fmla="*/ 17328 w 608234"/>
              <a:gd name="connsiteY56" fmla="*/ 250637 h 534991"/>
              <a:gd name="connsiteX57" fmla="*/ 1065 w 608234"/>
              <a:gd name="connsiteY57" fmla="*/ 141600 h 534991"/>
              <a:gd name="connsiteX58" fmla="*/ 172270 w 608234"/>
              <a:gd name="connsiteY58" fmla="*/ 579 h 5349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608234" h="534991">
                <a:moveTo>
                  <a:pt x="304118" y="452712"/>
                </a:moveTo>
                <a:cubicBezTo>
                  <a:pt x="335616" y="452712"/>
                  <a:pt x="366597" y="462513"/>
                  <a:pt x="396029" y="475926"/>
                </a:cubicBezTo>
                <a:cubicBezTo>
                  <a:pt x="344910" y="513325"/>
                  <a:pt x="304118" y="534991"/>
                  <a:pt x="304118" y="534991"/>
                </a:cubicBezTo>
                <a:cubicBezTo>
                  <a:pt x="304118" y="534991"/>
                  <a:pt x="263584" y="513325"/>
                  <a:pt x="212206" y="475926"/>
                </a:cubicBezTo>
                <a:cubicBezTo>
                  <a:pt x="241639" y="462513"/>
                  <a:pt x="272620" y="452712"/>
                  <a:pt x="304118" y="452712"/>
                </a:cubicBezTo>
                <a:close/>
                <a:moveTo>
                  <a:pt x="460557" y="371837"/>
                </a:moveTo>
                <a:cubicBezTo>
                  <a:pt x="448940" y="371837"/>
                  <a:pt x="439647" y="381374"/>
                  <a:pt x="439647" y="392716"/>
                </a:cubicBezTo>
                <a:cubicBezTo>
                  <a:pt x="439647" y="404316"/>
                  <a:pt x="448940" y="413853"/>
                  <a:pt x="460557" y="413853"/>
                </a:cubicBezTo>
                <a:cubicBezTo>
                  <a:pt x="472174" y="413853"/>
                  <a:pt x="481467" y="404316"/>
                  <a:pt x="481467" y="392716"/>
                </a:cubicBezTo>
                <a:cubicBezTo>
                  <a:pt x="481467" y="381374"/>
                  <a:pt x="472174" y="371837"/>
                  <a:pt x="460557" y="371837"/>
                </a:cubicBezTo>
                <a:close/>
                <a:moveTo>
                  <a:pt x="507282" y="325181"/>
                </a:moveTo>
                <a:cubicBezTo>
                  <a:pt x="495666" y="325181"/>
                  <a:pt x="486372" y="334461"/>
                  <a:pt x="486372" y="346060"/>
                </a:cubicBezTo>
                <a:cubicBezTo>
                  <a:pt x="486372" y="357660"/>
                  <a:pt x="495666" y="366939"/>
                  <a:pt x="507282" y="366939"/>
                </a:cubicBezTo>
                <a:cubicBezTo>
                  <a:pt x="518899" y="366939"/>
                  <a:pt x="528193" y="357660"/>
                  <a:pt x="528193" y="346060"/>
                </a:cubicBezTo>
                <a:cubicBezTo>
                  <a:pt x="528193" y="334461"/>
                  <a:pt x="518899" y="325181"/>
                  <a:pt x="507282" y="325181"/>
                </a:cubicBezTo>
                <a:close/>
                <a:moveTo>
                  <a:pt x="413832" y="325181"/>
                </a:moveTo>
                <a:cubicBezTo>
                  <a:pt x="402215" y="325181"/>
                  <a:pt x="392922" y="334461"/>
                  <a:pt x="392922" y="346060"/>
                </a:cubicBezTo>
                <a:cubicBezTo>
                  <a:pt x="392922" y="357660"/>
                  <a:pt x="402215" y="366939"/>
                  <a:pt x="413832" y="366939"/>
                </a:cubicBezTo>
                <a:cubicBezTo>
                  <a:pt x="425449" y="366939"/>
                  <a:pt x="434742" y="357660"/>
                  <a:pt x="434742" y="346060"/>
                </a:cubicBezTo>
                <a:cubicBezTo>
                  <a:pt x="434742" y="334461"/>
                  <a:pt x="425449" y="325181"/>
                  <a:pt x="413832" y="325181"/>
                </a:cubicBezTo>
                <a:close/>
                <a:moveTo>
                  <a:pt x="460557" y="278525"/>
                </a:moveTo>
                <a:cubicBezTo>
                  <a:pt x="448940" y="278525"/>
                  <a:pt x="439647" y="288063"/>
                  <a:pt x="439647" y="299404"/>
                </a:cubicBezTo>
                <a:cubicBezTo>
                  <a:pt x="439647" y="311004"/>
                  <a:pt x="448940" y="320284"/>
                  <a:pt x="460557" y="320284"/>
                </a:cubicBezTo>
                <a:cubicBezTo>
                  <a:pt x="472174" y="320284"/>
                  <a:pt x="481467" y="311004"/>
                  <a:pt x="481467" y="299404"/>
                </a:cubicBezTo>
                <a:cubicBezTo>
                  <a:pt x="481467" y="288063"/>
                  <a:pt x="472174" y="278525"/>
                  <a:pt x="460557" y="278525"/>
                </a:cubicBezTo>
                <a:close/>
                <a:moveTo>
                  <a:pt x="127285" y="278010"/>
                </a:moveTo>
                <a:lnTo>
                  <a:pt x="127285" y="325181"/>
                </a:lnTo>
                <a:lnTo>
                  <a:pt x="80043" y="325181"/>
                </a:lnTo>
                <a:lnTo>
                  <a:pt x="80043" y="366939"/>
                </a:lnTo>
                <a:lnTo>
                  <a:pt x="127285" y="366939"/>
                </a:lnTo>
                <a:lnTo>
                  <a:pt x="127285" y="414111"/>
                </a:lnTo>
                <a:lnTo>
                  <a:pt x="169105" y="414111"/>
                </a:lnTo>
                <a:lnTo>
                  <a:pt x="169105" y="366939"/>
                </a:lnTo>
                <a:lnTo>
                  <a:pt x="216347" y="366939"/>
                </a:lnTo>
                <a:lnTo>
                  <a:pt x="216347" y="325181"/>
                </a:lnTo>
                <a:lnTo>
                  <a:pt x="169105" y="325181"/>
                </a:lnTo>
                <a:lnTo>
                  <a:pt x="169105" y="278010"/>
                </a:lnTo>
                <a:close/>
                <a:moveTo>
                  <a:pt x="453719" y="165019"/>
                </a:moveTo>
                <a:cubicBezTo>
                  <a:pt x="460016" y="165357"/>
                  <a:pt x="466172" y="167299"/>
                  <a:pt x="472174" y="171294"/>
                </a:cubicBezTo>
                <a:cubicBezTo>
                  <a:pt x="554266" y="225683"/>
                  <a:pt x="608219" y="358175"/>
                  <a:pt x="608219" y="463860"/>
                </a:cubicBezTo>
                <a:cubicBezTo>
                  <a:pt x="608219" y="631666"/>
                  <a:pt x="472174" y="413595"/>
                  <a:pt x="304118" y="413595"/>
                </a:cubicBezTo>
                <a:cubicBezTo>
                  <a:pt x="136062" y="413595"/>
                  <a:pt x="16" y="631666"/>
                  <a:pt x="16" y="463860"/>
                </a:cubicBezTo>
                <a:cubicBezTo>
                  <a:pt x="16" y="358949"/>
                  <a:pt x="53195" y="227230"/>
                  <a:pt x="133996" y="172583"/>
                </a:cubicBezTo>
                <a:cubicBezTo>
                  <a:pt x="182529" y="139847"/>
                  <a:pt x="241129" y="238829"/>
                  <a:pt x="304118" y="238829"/>
                </a:cubicBezTo>
                <a:cubicBezTo>
                  <a:pt x="358555" y="238829"/>
                  <a:pt x="409633" y="162651"/>
                  <a:pt x="453719" y="165019"/>
                </a:cubicBezTo>
                <a:close/>
                <a:moveTo>
                  <a:pt x="172270" y="579"/>
                </a:moveTo>
                <a:cubicBezTo>
                  <a:pt x="220602" y="4148"/>
                  <a:pt x="269366" y="24024"/>
                  <a:pt x="304117" y="55247"/>
                </a:cubicBezTo>
                <a:cubicBezTo>
                  <a:pt x="396788" y="-28013"/>
                  <a:pt x="589358" y="-30591"/>
                  <a:pt x="607169" y="141600"/>
                </a:cubicBezTo>
                <a:cubicBezTo>
                  <a:pt x="611041" y="179750"/>
                  <a:pt x="604072" y="216354"/>
                  <a:pt x="590907" y="250895"/>
                </a:cubicBezTo>
                <a:cubicBezTo>
                  <a:pt x="566126" y="205270"/>
                  <a:pt x="533858" y="165057"/>
                  <a:pt x="494106" y="138507"/>
                </a:cubicBezTo>
                <a:cubicBezTo>
                  <a:pt x="481199" y="130000"/>
                  <a:pt x="467001" y="125618"/>
                  <a:pt x="451771" y="125618"/>
                </a:cubicBezTo>
                <a:cubicBezTo>
                  <a:pt x="417955" y="125618"/>
                  <a:pt x="389302" y="147013"/>
                  <a:pt x="361682" y="167635"/>
                </a:cubicBezTo>
                <a:cubicBezTo>
                  <a:pt x="341805" y="182586"/>
                  <a:pt x="319089" y="199341"/>
                  <a:pt x="304117" y="199341"/>
                </a:cubicBezTo>
                <a:cubicBezTo>
                  <a:pt x="288629" y="199341"/>
                  <a:pt x="265655" y="182586"/>
                  <a:pt x="245520" y="167893"/>
                </a:cubicBezTo>
                <a:cubicBezTo>
                  <a:pt x="217900" y="147529"/>
                  <a:pt x="189247" y="126649"/>
                  <a:pt x="155431" y="126649"/>
                </a:cubicBezTo>
                <a:cubicBezTo>
                  <a:pt x="139943" y="126649"/>
                  <a:pt x="125229" y="131289"/>
                  <a:pt x="112064" y="140054"/>
                </a:cubicBezTo>
                <a:cubicBezTo>
                  <a:pt x="73085" y="166346"/>
                  <a:pt x="41593" y="206043"/>
                  <a:pt x="17328" y="250637"/>
                </a:cubicBezTo>
                <a:cubicBezTo>
                  <a:pt x="4163" y="216096"/>
                  <a:pt x="-2807" y="179750"/>
                  <a:pt x="1065" y="141600"/>
                </a:cubicBezTo>
                <a:cubicBezTo>
                  <a:pt x="12359" y="33981"/>
                  <a:pt x="91715" y="-5370"/>
                  <a:pt x="172270" y="57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67" name="任意多边形: 形状 66">
            <a:extLst>
              <a:ext uri="{FF2B5EF4-FFF2-40B4-BE49-F238E27FC236}">
                <a16:creationId xmlns:a16="http://schemas.microsoft.com/office/drawing/2014/main" id="{EF7CBDF4-131A-4FD7-8C5B-2808CA59C166}"/>
              </a:ext>
            </a:extLst>
          </p:cNvPr>
          <p:cNvSpPr/>
          <p:nvPr/>
        </p:nvSpPr>
        <p:spPr bwMode="auto">
          <a:xfrm>
            <a:off x="7131569" y="1874363"/>
            <a:ext cx="389457" cy="314149"/>
          </a:xfrm>
          <a:custGeom>
            <a:avLst/>
            <a:gdLst>
              <a:gd name="connsiteX0" fmla="*/ 533315 w 608344"/>
              <a:gd name="connsiteY0" fmla="*/ 120148 h 490712"/>
              <a:gd name="connsiteX1" fmla="*/ 498686 w 608344"/>
              <a:gd name="connsiteY1" fmla="*/ 154728 h 490712"/>
              <a:gd name="connsiteX2" fmla="*/ 533315 w 608344"/>
              <a:gd name="connsiteY2" fmla="*/ 189308 h 490712"/>
              <a:gd name="connsiteX3" fmla="*/ 567944 w 608344"/>
              <a:gd name="connsiteY3" fmla="*/ 154728 h 490712"/>
              <a:gd name="connsiteX4" fmla="*/ 533315 w 608344"/>
              <a:gd name="connsiteY4" fmla="*/ 120148 h 490712"/>
              <a:gd name="connsiteX5" fmla="*/ 436403 w 608344"/>
              <a:gd name="connsiteY5" fmla="*/ 120148 h 490712"/>
              <a:gd name="connsiteX6" fmla="*/ 401774 w 608344"/>
              <a:gd name="connsiteY6" fmla="*/ 154728 h 490712"/>
              <a:gd name="connsiteX7" fmla="*/ 436403 w 608344"/>
              <a:gd name="connsiteY7" fmla="*/ 189308 h 490712"/>
              <a:gd name="connsiteX8" fmla="*/ 438246 w 608344"/>
              <a:gd name="connsiteY8" fmla="*/ 189228 h 490712"/>
              <a:gd name="connsiteX9" fmla="*/ 470951 w 608344"/>
              <a:gd name="connsiteY9" fmla="*/ 154728 h 490712"/>
              <a:gd name="connsiteX10" fmla="*/ 438246 w 608344"/>
              <a:gd name="connsiteY10" fmla="*/ 120309 h 490712"/>
              <a:gd name="connsiteX11" fmla="*/ 436403 w 608344"/>
              <a:gd name="connsiteY11" fmla="*/ 120148 h 490712"/>
              <a:gd name="connsiteX12" fmla="*/ 339410 w 608344"/>
              <a:gd name="connsiteY12" fmla="*/ 120148 h 490712"/>
              <a:gd name="connsiteX13" fmla="*/ 304862 w 608344"/>
              <a:gd name="connsiteY13" fmla="*/ 154728 h 490712"/>
              <a:gd name="connsiteX14" fmla="*/ 339410 w 608344"/>
              <a:gd name="connsiteY14" fmla="*/ 189308 h 490712"/>
              <a:gd name="connsiteX15" fmla="*/ 374039 w 608344"/>
              <a:gd name="connsiteY15" fmla="*/ 154728 h 490712"/>
              <a:gd name="connsiteX16" fmla="*/ 339410 w 608344"/>
              <a:gd name="connsiteY16" fmla="*/ 120148 h 490712"/>
              <a:gd name="connsiteX17" fmla="*/ 242498 w 608344"/>
              <a:gd name="connsiteY17" fmla="*/ 120148 h 490712"/>
              <a:gd name="connsiteX18" fmla="*/ 207869 w 608344"/>
              <a:gd name="connsiteY18" fmla="*/ 154728 h 490712"/>
              <a:gd name="connsiteX19" fmla="*/ 242498 w 608344"/>
              <a:gd name="connsiteY19" fmla="*/ 189308 h 490712"/>
              <a:gd name="connsiteX20" fmla="*/ 277127 w 608344"/>
              <a:gd name="connsiteY20" fmla="*/ 154728 h 490712"/>
              <a:gd name="connsiteX21" fmla="*/ 242498 w 608344"/>
              <a:gd name="connsiteY21" fmla="*/ 120148 h 490712"/>
              <a:gd name="connsiteX22" fmla="*/ 0 w 608344"/>
              <a:gd name="connsiteY22" fmla="*/ 114316 h 490712"/>
              <a:gd name="connsiteX23" fmla="*/ 137387 w 608344"/>
              <a:gd name="connsiteY23" fmla="*/ 114316 h 490712"/>
              <a:gd name="connsiteX24" fmla="*/ 137387 w 608344"/>
              <a:gd name="connsiteY24" fmla="*/ 304475 h 490712"/>
              <a:gd name="connsiteX25" fmla="*/ 137387 w 608344"/>
              <a:gd name="connsiteY25" fmla="*/ 320001 h 490712"/>
              <a:gd name="connsiteX26" fmla="*/ 152697 w 608344"/>
              <a:gd name="connsiteY26" fmla="*/ 320001 h 490712"/>
              <a:gd name="connsiteX27" fmla="*/ 438211 w 608344"/>
              <a:gd name="connsiteY27" fmla="*/ 320001 h 490712"/>
              <a:gd name="connsiteX28" fmla="*/ 438211 w 608344"/>
              <a:gd name="connsiteY28" fmla="*/ 408198 h 490712"/>
              <a:gd name="connsiteX29" fmla="*/ 123119 w 608344"/>
              <a:gd name="connsiteY29" fmla="*/ 408198 h 490712"/>
              <a:gd name="connsiteX30" fmla="*/ 45769 w 608344"/>
              <a:gd name="connsiteY30" fmla="*/ 490712 h 490712"/>
              <a:gd name="connsiteX31" fmla="*/ 45769 w 608344"/>
              <a:gd name="connsiteY31" fmla="*/ 408198 h 490712"/>
              <a:gd name="connsiteX32" fmla="*/ 0 w 608344"/>
              <a:gd name="connsiteY32" fmla="*/ 408198 h 490712"/>
              <a:gd name="connsiteX33" fmla="*/ 153762 w 608344"/>
              <a:gd name="connsiteY33" fmla="*/ 0 h 490712"/>
              <a:gd name="connsiteX34" fmla="*/ 608344 w 608344"/>
              <a:gd name="connsiteY34" fmla="*/ 0 h 490712"/>
              <a:gd name="connsiteX35" fmla="*/ 608344 w 608344"/>
              <a:gd name="connsiteY35" fmla="*/ 303693 h 490712"/>
              <a:gd name="connsiteX36" fmla="*/ 559287 w 608344"/>
              <a:gd name="connsiteY36" fmla="*/ 303693 h 490712"/>
              <a:gd name="connsiteX37" fmla="*/ 559287 w 608344"/>
              <a:gd name="connsiteY37" fmla="*/ 390862 h 490712"/>
              <a:gd name="connsiteX38" fmla="*/ 480330 w 608344"/>
              <a:gd name="connsiteY38" fmla="*/ 303693 h 490712"/>
              <a:gd name="connsiteX39" fmla="*/ 438246 w 608344"/>
              <a:gd name="connsiteY39" fmla="*/ 303693 h 490712"/>
              <a:gd name="connsiteX40" fmla="*/ 153762 w 608344"/>
              <a:gd name="connsiteY40" fmla="*/ 303693 h 490712"/>
              <a:gd name="connsiteX41" fmla="*/ 153762 w 608344"/>
              <a:gd name="connsiteY41" fmla="*/ 114305 h 490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608344" h="490712">
                <a:moveTo>
                  <a:pt x="533315" y="120148"/>
                </a:moveTo>
                <a:cubicBezTo>
                  <a:pt x="514237" y="120148"/>
                  <a:pt x="498686" y="135677"/>
                  <a:pt x="498686" y="154728"/>
                </a:cubicBezTo>
                <a:cubicBezTo>
                  <a:pt x="498686" y="173859"/>
                  <a:pt x="514237" y="189308"/>
                  <a:pt x="533315" y="189308"/>
                </a:cubicBezTo>
                <a:cubicBezTo>
                  <a:pt x="552393" y="189308"/>
                  <a:pt x="567944" y="173859"/>
                  <a:pt x="567944" y="154728"/>
                </a:cubicBezTo>
                <a:cubicBezTo>
                  <a:pt x="567944" y="135677"/>
                  <a:pt x="552393" y="120148"/>
                  <a:pt x="533315" y="120148"/>
                </a:cubicBezTo>
                <a:close/>
                <a:moveTo>
                  <a:pt x="436403" y="120148"/>
                </a:moveTo>
                <a:cubicBezTo>
                  <a:pt x="417245" y="120148"/>
                  <a:pt x="401774" y="135677"/>
                  <a:pt x="401774" y="154728"/>
                </a:cubicBezTo>
                <a:cubicBezTo>
                  <a:pt x="401774" y="173859"/>
                  <a:pt x="417245" y="189308"/>
                  <a:pt x="436403" y="189308"/>
                </a:cubicBezTo>
                <a:cubicBezTo>
                  <a:pt x="437044" y="189308"/>
                  <a:pt x="437605" y="189228"/>
                  <a:pt x="438246" y="189228"/>
                </a:cubicBezTo>
                <a:cubicBezTo>
                  <a:pt x="456523" y="188187"/>
                  <a:pt x="470951" y="173219"/>
                  <a:pt x="470951" y="154728"/>
                </a:cubicBezTo>
                <a:cubicBezTo>
                  <a:pt x="470951" y="136318"/>
                  <a:pt x="456523" y="121269"/>
                  <a:pt x="438246" y="120309"/>
                </a:cubicBezTo>
                <a:cubicBezTo>
                  <a:pt x="437605" y="120229"/>
                  <a:pt x="437044" y="120148"/>
                  <a:pt x="436403" y="120148"/>
                </a:cubicBezTo>
                <a:close/>
                <a:moveTo>
                  <a:pt x="339410" y="120148"/>
                </a:moveTo>
                <a:cubicBezTo>
                  <a:pt x="320333" y="120148"/>
                  <a:pt x="304862" y="135677"/>
                  <a:pt x="304862" y="154728"/>
                </a:cubicBezTo>
                <a:cubicBezTo>
                  <a:pt x="304862" y="173859"/>
                  <a:pt x="320333" y="189308"/>
                  <a:pt x="339410" y="189308"/>
                </a:cubicBezTo>
                <a:cubicBezTo>
                  <a:pt x="358568" y="189308"/>
                  <a:pt x="374039" y="173859"/>
                  <a:pt x="374039" y="154728"/>
                </a:cubicBezTo>
                <a:cubicBezTo>
                  <a:pt x="374039" y="135677"/>
                  <a:pt x="358568" y="120148"/>
                  <a:pt x="339410" y="120148"/>
                </a:cubicBezTo>
                <a:close/>
                <a:moveTo>
                  <a:pt x="242498" y="120148"/>
                </a:moveTo>
                <a:cubicBezTo>
                  <a:pt x="223420" y="120148"/>
                  <a:pt x="207869" y="135677"/>
                  <a:pt x="207869" y="154728"/>
                </a:cubicBezTo>
                <a:cubicBezTo>
                  <a:pt x="207869" y="173859"/>
                  <a:pt x="223420" y="189308"/>
                  <a:pt x="242498" y="189308"/>
                </a:cubicBezTo>
                <a:cubicBezTo>
                  <a:pt x="261576" y="189308"/>
                  <a:pt x="277127" y="173859"/>
                  <a:pt x="277127" y="154728"/>
                </a:cubicBezTo>
                <a:cubicBezTo>
                  <a:pt x="277127" y="135677"/>
                  <a:pt x="261576" y="120148"/>
                  <a:pt x="242498" y="120148"/>
                </a:cubicBezTo>
                <a:close/>
                <a:moveTo>
                  <a:pt x="0" y="114316"/>
                </a:moveTo>
                <a:lnTo>
                  <a:pt x="137387" y="114316"/>
                </a:lnTo>
                <a:lnTo>
                  <a:pt x="137387" y="304475"/>
                </a:lnTo>
                <a:lnTo>
                  <a:pt x="137387" y="320001"/>
                </a:lnTo>
                <a:lnTo>
                  <a:pt x="152697" y="320001"/>
                </a:lnTo>
                <a:lnTo>
                  <a:pt x="438211" y="320001"/>
                </a:lnTo>
                <a:lnTo>
                  <a:pt x="438211" y="408198"/>
                </a:lnTo>
                <a:lnTo>
                  <a:pt x="123119" y="408198"/>
                </a:lnTo>
                <a:lnTo>
                  <a:pt x="45769" y="490712"/>
                </a:lnTo>
                <a:lnTo>
                  <a:pt x="45769" y="408198"/>
                </a:lnTo>
                <a:lnTo>
                  <a:pt x="0" y="408198"/>
                </a:lnTo>
                <a:close/>
                <a:moveTo>
                  <a:pt x="153762" y="0"/>
                </a:moveTo>
                <a:lnTo>
                  <a:pt x="608344" y="0"/>
                </a:lnTo>
                <a:lnTo>
                  <a:pt x="608344" y="303693"/>
                </a:lnTo>
                <a:lnTo>
                  <a:pt x="559287" y="303693"/>
                </a:lnTo>
                <a:lnTo>
                  <a:pt x="559287" y="390862"/>
                </a:lnTo>
                <a:lnTo>
                  <a:pt x="480330" y="303693"/>
                </a:lnTo>
                <a:lnTo>
                  <a:pt x="438246" y="303693"/>
                </a:lnTo>
                <a:lnTo>
                  <a:pt x="153762" y="303693"/>
                </a:lnTo>
                <a:lnTo>
                  <a:pt x="153762" y="114305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68" name="任意多边形: 形状 67">
            <a:extLst>
              <a:ext uri="{FF2B5EF4-FFF2-40B4-BE49-F238E27FC236}">
                <a16:creationId xmlns:a16="http://schemas.microsoft.com/office/drawing/2014/main" id="{5085C254-2F2B-4233-B224-D37F11138C80}"/>
              </a:ext>
            </a:extLst>
          </p:cNvPr>
          <p:cNvSpPr/>
          <p:nvPr/>
        </p:nvSpPr>
        <p:spPr bwMode="auto">
          <a:xfrm>
            <a:off x="4608656" y="5213036"/>
            <a:ext cx="388033" cy="387493"/>
          </a:xfrm>
          <a:custGeom>
            <a:avLst/>
            <a:gdLst>
              <a:gd name="connsiteX0" fmla="*/ 366373 w 606933"/>
              <a:gd name="connsiteY0" fmla="*/ 246979 h 606087"/>
              <a:gd name="connsiteX1" fmla="*/ 422546 w 606933"/>
              <a:gd name="connsiteY1" fmla="*/ 303021 h 606087"/>
              <a:gd name="connsiteX2" fmla="*/ 366373 w 606933"/>
              <a:gd name="connsiteY2" fmla="*/ 358966 h 606087"/>
              <a:gd name="connsiteX3" fmla="*/ 348452 w 606933"/>
              <a:gd name="connsiteY3" fmla="*/ 341183 h 606087"/>
              <a:gd name="connsiteX4" fmla="*/ 386703 w 606933"/>
              <a:gd name="connsiteY4" fmla="*/ 303021 h 606087"/>
              <a:gd name="connsiteX5" fmla="*/ 348452 w 606933"/>
              <a:gd name="connsiteY5" fmla="*/ 264763 h 606087"/>
              <a:gd name="connsiteX6" fmla="*/ 240597 w 606933"/>
              <a:gd name="connsiteY6" fmla="*/ 246979 h 606087"/>
              <a:gd name="connsiteX7" fmla="*/ 258411 w 606933"/>
              <a:gd name="connsiteY7" fmla="*/ 264763 h 606087"/>
              <a:gd name="connsiteX8" fmla="*/ 220183 w 606933"/>
              <a:gd name="connsiteY8" fmla="*/ 303021 h 606087"/>
              <a:gd name="connsiteX9" fmla="*/ 258411 w 606933"/>
              <a:gd name="connsiteY9" fmla="*/ 341183 h 606087"/>
              <a:gd name="connsiteX10" fmla="*/ 240597 w 606933"/>
              <a:gd name="connsiteY10" fmla="*/ 358966 h 606087"/>
              <a:gd name="connsiteX11" fmla="*/ 184458 w 606933"/>
              <a:gd name="connsiteY11" fmla="*/ 303021 h 606087"/>
              <a:gd name="connsiteX12" fmla="*/ 318612 w 606933"/>
              <a:gd name="connsiteY12" fmla="*/ 231314 h 606087"/>
              <a:gd name="connsiteX13" fmla="*/ 342313 w 606933"/>
              <a:gd name="connsiteY13" fmla="*/ 239968 h 606087"/>
              <a:gd name="connsiteX14" fmla="*/ 287686 w 606933"/>
              <a:gd name="connsiteY14" fmla="*/ 389875 h 606087"/>
              <a:gd name="connsiteX15" fmla="*/ 263985 w 606933"/>
              <a:gd name="connsiteY15" fmla="*/ 381317 h 606087"/>
              <a:gd name="connsiteX16" fmla="*/ 303467 w 606933"/>
              <a:gd name="connsiteY16" fmla="*/ 138875 h 606087"/>
              <a:gd name="connsiteX17" fmla="*/ 139069 w 606933"/>
              <a:gd name="connsiteY17" fmla="*/ 303044 h 606087"/>
              <a:gd name="connsiteX18" fmla="*/ 303467 w 606933"/>
              <a:gd name="connsiteY18" fmla="*/ 467116 h 606087"/>
              <a:gd name="connsiteX19" fmla="*/ 467768 w 606933"/>
              <a:gd name="connsiteY19" fmla="*/ 303044 h 606087"/>
              <a:gd name="connsiteX20" fmla="*/ 303467 w 606933"/>
              <a:gd name="connsiteY20" fmla="*/ 138875 h 606087"/>
              <a:gd name="connsiteX21" fmla="*/ 254735 w 606933"/>
              <a:gd name="connsiteY21" fmla="*/ 0 h 606087"/>
              <a:gd name="connsiteX22" fmla="*/ 352102 w 606933"/>
              <a:gd name="connsiteY22" fmla="*/ 0 h 606087"/>
              <a:gd name="connsiteX23" fmla="*/ 363852 w 606933"/>
              <a:gd name="connsiteY23" fmla="*/ 70976 h 606087"/>
              <a:gd name="connsiteX24" fmla="*/ 424911 w 606933"/>
              <a:gd name="connsiteY24" fmla="*/ 96174 h 606087"/>
              <a:gd name="connsiteX25" fmla="*/ 483659 w 606933"/>
              <a:gd name="connsiteY25" fmla="*/ 54435 h 606087"/>
              <a:gd name="connsiteX26" fmla="*/ 552423 w 606933"/>
              <a:gd name="connsiteY26" fmla="*/ 123103 h 606087"/>
              <a:gd name="connsiteX27" fmla="*/ 510529 w 606933"/>
              <a:gd name="connsiteY27" fmla="*/ 181672 h 606087"/>
              <a:gd name="connsiteX28" fmla="*/ 535858 w 606933"/>
              <a:gd name="connsiteY28" fmla="*/ 242550 h 606087"/>
              <a:gd name="connsiteX29" fmla="*/ 606933 w 606933"/>
              <a:gd name="connsiteY29" fmla="*/ 254380 h 606087"/>
              <a:gd name="connsiteX30" fmla="*/ 606933 w 606933"/>
              <a:gd name="connsiteY30" fmla="*/ 351515 h 606087"/>
              <a:gd name="connsiteX31" fmla="*/ 535858 w 606933"/>
              <a:gd name="connsiteY31" fmla="*/ 363345 h 606087"/>
              <a:gd name="connsiteX32" fmla="*/ 510529 w 606933"/>
              <a:gd name="connsiteY32" fmla="*/ 424319 h 606087"/>
              <a:gd name="connsiteX33" fmla="*/ 552423 w 606933"/>
              <a:gd name="connsiteY33" fmla="*/ 482985 h 606087"/>
              <a:gd name="connsiteX34" fmla="*/ 483659 w 606933"/>
              <a:gd name="connsiteY34" fmla="*/ 551653 h 606087"/>
              <a:gd name="connsiteX35" fmla="*/ 424911 w 606933"/>
              <a:gd name="connsiteY35" fmla="*/ 509721 h 606087"/>
              <a:gd name="connsiteX36" fmla="*/ 363852 w 606933"/>
              <a:gd name="connsiteY36" fmla="*/ 535111 h 606087"/>
              <a:gd name="connsiteX37" fmla="*/ 352102 w 606933"/>
              <a:gd name="connsiteY37" fmla="*/ 606087 h 606087"/>
              <a:gd name="connsiteX38" fmla="*/ 254735 w 606933"/>
              <a:gd name="connsiteY38" fmla="*/ 606087 h 606087"/>
              <a:gd name="connsiteX39" fmla="*/ 242985 w 606933"/>
              <a:gd name="connsiteY39" fmla="*/ 535111 h 606087"/>
              <a:gd name="connsiteX40" fmla="*/ 181926 w 606933"/>
              <a:gd name="connsiteY40" fmla="*/ 509721 h 606087"/>
              <a:gd name="connsiteX41" fmla="*/ 123274 w 606933"/>
              <a:gd name="connsiteY41" fmla="*/ 551653 h 606087"/>
              <a:gd name="connsiteX42" fmla="*/ 54510 w 606933"/>
              <a:gd name="connsiteY42" fmla="*/ 482985 h 606087"/>
              <a:gd name="connsiteX43" fmla="*/ 96308 w 606933"/>
              <a:gd name="connsiteY43" fmla="*/ 424319 h 606087"/>
              <a:gd name="connsiteX44" fmla="*/ 71075 w 606933"/>
              <a:gd name="connsiteY44" fmla="*/ 363345 h 606087"/>
              <a:gd name="connsiteX45" fmla="*/ 0 w 606933"/>
              <a:gd name="connsiteY45" fmla="*/ 351515 h 606087"/>
              <a:gd name="connsiteX46" fmla="*/ 0 w 606933"/>
              <a:gd name="connsiteY46" fmla="*/ 254380 h 606087"/>
              <a:gd name="connsiteX47" fmla="*/ 71075 w 606933"/>
              <a:gd name="connsiteY47" fmla="*/ 242550 h 606087"/>
              <a:gd name="connsiteX48" fmla="*/ 96308 w 606933"/>
              <a:gd name="connsiteY48" fmla="*/ 181672 h 606087"/>
              <a:gd name="connsiteX49" fmla="*/ 54510 w 606933"/>
              <a:gd name="connsiteY49" fmla="*/ 123103 h 606087"/>
              <a:gd name="connsiteX50" fmla="*/ 123274 w 606933"/>
              <a:gd name="connsiteY50" fmla="*/ 54435 h 606087"/>
              <a:gd name="connsiteX51" fmla="*/ 181926 w 606933"/>
              <a:gd name="connsiteY51" fmla="*/ 96174 h 606087"/>
              <a:gd name="connsiteX52" fmla="*/ 242985 w 606933"/>
              <a:gd name="connsiteY52" fmla="*/ 70976 h 6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606933" h="606087">
                <a:moveTo>
                  <a:pt x="366373" y="246979"/>
                </a:moveTo>
                <a:lnTo>
                  <a:pt x="422546" y="303021"/>
                </a:lnTo>
                <a:lnTo>
                  <a:pt x="366373" y="358966"/>
                </a:lnTo>
                <a:lnTo>
                  <a:pt x="348452" y="341183"/>
                </a:lnTo>
                <a:lnTo>
                  <a:pt x="386703" y="303021"/>
                </a:lnTo>
                <a:lnTo>
                  <a:pt x="348452" y="264763"/>
                </a:lnTo>
                <a:close/>
                <a:moveTo>
                  <a:pt x="240597" y="246979"/>
                </a:moveTo>
                <a:lnTo>
                  <a:pt x="258411" y="264763"/>
                </a:lnTo>
                <a:lnTo>
                  <a:pt x="220183" y="303021"/>
                </a:lnTo>
                <a:lnTo>
                  <a:pt x="258411" y="341183"/>
                </a:lnTo>
                <a:lnTo>
                  <a:pt x="240597" y="358966"/>
                </a:lnTo>
                <a:lnTo>
                  <a:pt x="184458" y="303021"/>
                </a:lnTo>
                <a:close/>
                <a:moveTo>
                  <a:pt x="318612" y="231314"/>
                </a:moveTo>
                <a:lnTo>
                  <a:pt x="342313" y="239968"/>
                </a:lnTo>
                <a:lnTo>
                  <a:pt x="287686" y="389875"/>
                </a:lnTo>
                <a:lnTo>
                  <a:pt x="263985" y="381317"/>
                </a:lnTo>
                <a:close/>
                <a:moveTo>
                  <a:pt x="303467" y="138875"/>
                </a:moveTo>
                <a:cubicBezTo>
                  <a:pt x="212841" y="138875"/>
                  <a:pt x="139069" y="212544"/>
                  <a:pt x="139069" y="303044"/>
                </a:cubicBezTo>
                <a:cubicBezTo>
                  <a:pt x="139069" y="393543"/>
                  <a:pt x="212841" y="467116"/>
                  <a:pt x="303467" y="467116"/>
                </a:cubicBezTo>
                <a:cubicBezTo>
                  <a:pt x="394092" y="467116"/>
                  <a:pt x="467768" y="393543"/>
                  <a:pt x="467768" y="303044"/>
                </a:cubicBezTo>
                <a:cubicBezTo>
                  <a:pt x="467768" y="212544"/>
                  <a:pt x="394092" y="138875"/>
                  <a:pt x="303467" y="138875"/>
                </a:cubicBezTo>
                <a:close/>
                <a:moveTo>
                  <a:pt x="254735" y="0"/>
                </a:moveTo>
                <a:lnTo>
                  <a:pt x="352102" y="0"/>
                </a:lnTo>
                <a:lnTo>
                  <a:pt x="363852" y="70976"/>
                </a:lnTo>
                <a:cubicBezTo>
                  <a:pt x="385232" y="76555"/>
                  <a:pt x="405746" y="85018"/>
                  <a:pt x="424911" y="96174"/>
                </a:cubicBezTo>
                <a:lnTo>
                  <a:pt x="483659" y="54435"/>
                </a:lnTo>
                <a:lnTo>
                  <a:pt x="552423" y="123103"/>
                </a:lnTo>
                <a:lnTo>
                  <a:pt x="510529" y="181672"/>
                </a:lnTo>
                <a:cubicBezTo>
                  <a:pt x="521797" y="200907"/>
                  <a:pt x="530272" y="221200"/>
                  <a:pt x="535858" y="242550"/>
                </a:cubicBezTo>
                <a:lnTo>
                  <a:pt x="606933" y="254380"/>
                </a:lnTo>
                <a:lnTo>
                  <a:pt x="606933" y="351515"/>
                </a:lnTo>
                <a:lnTo>
                  <a:pt x="535858" y="363345"/>
                </a:lnTo>
                <a:cubicBezTo>
                  <a:pt x="530272" y="384695"/>
                  <a:pt x="521797" y="405180"/>
                  <a:pt x="510529" y="424319"/>
                </a:cubicBezTo>
                <a:lnTo>
                  <a:pt x="552423" y="482985"/>
                </a:lnTo>
                <a:lnTo>
                  <a:pt x="483659" y="551653"/>
                </a:lnTo>
                <a:lnTo>
                  <a:pt x="424911" y="509721"/>
                </a:lnTo>
                <a:cubicBezTo>
                  <a:pt x="405746" y="521070"/>
                  <a:pt x="385232" y="529533"/>
                  <a:pt x="363852" y="535111"/>
                </a:cubicBezTo>
                <a:lnTo>
                  <a:pt x="352102" y="606087"/>
                </a:lnTo>
                <a:lnTo>
                  <a:pt x="254735" y="606087"/>
                </a:lnTo>
                <a:lnTo>
                  <a:pt x="242985" y="535111"/>
                </a:lnTo>
                <a:cubicBezTo>
                  <a:pt x="221605" y="529533"/>
                  <a:pt x="201187" y="521070"/>
                  <a:pt x="181926" y="509721"/>
                </a:cubicBezTo>
                <a:lnTo>
                  <a:pt x="123274" y="551653"/>
                </a:lnTo>
                <a:lnTo>
                  <a:pt x="54510" y="482985"/>
                </a:lnTo>
                <a:lnTo>
                  <a:pt x="96308" y="424319"/>
                </a:lnTo>
                <a:cubicBezTo>
                  <a:pt x="85136" y="405180"/>
                  <a:pt x="76661" y="384695"/>
                  <a:pt x="71075" y="363345"/>
                </a:cubicBezTo>
                <a:lnTo>
                  <a:pt x="0" y="351515"/>
                </a:lnTo>
                <a:lnTo>
                  <a:pt x="0" y="254380"/>
                </a:lnTo>
                <a:lnTo>
                  <a:pt x="71075" y="242550"/>
                </a:lnTo>
                <a:cubicBezTo>
                  <a:pt x="76661" y="221200"/>
                  <a:pt x="85136" y="200907"/>
                  <a:pt x="96308" y="181672"/>
                </a:cubicBezTo>
                <a:lnTo>
                  <a:pt x="54510" y="123103"/>
                </a:lnTo>
                <a:lnTo>
                  <a:pt x="123274" y="54435"/>
                </a:lnTo>
                <a:lnTo>
                  <a:pt x="181926" y="96174"/>
                </a:lnTo>
                <a:cubicBezTo>
                  <a:pt x="201187" y="85018"/>
                  <a:pt x="221605" y="76555"/>
                  <a:pt x="242985" y="7097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1FDE1DB0-F964-4009-8273-F0323D0B0D76}"/>
              </a:ext>
            </a:extLst>
          </p:cNvPr>
          <p:cNvSpPr txBox="1"/>
          <p:nvPr/>
        </p:nvSpPr>
        <p:spPr>
          <a:xfrm>
            <a:off x="1335904" y="1800582"/>
            <a:ext cx="3486183" cy="624249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/>
          <a:p>
            <a:pPr algn="r" defTabSz="914378">
              <a:lnSpc>
                <a:spcPct val="120000"/>
              </a:lnSpc>
              <a:defRPr/>
            </a:pPr>
            <a:r>
              <a:rPr lang="en-US" altLang="zh-CN" sz="1100" dirty="0"/>
              <a:t>Copy paste fonts. Choose the only option to retain text.….</a:t>
            </a:r>
          </a:p>
        </p:txBody>
      </p:sp>
      <p:sp>
        <p:nvSpPr>
          <p:cNvPr id="70" name="矩形 69">
            <a:extLst>
              <a:ext uri="{FF2B5EF4-FFF2-40B4-BE49-F238E27FC236}">
                <a16:creationId xmlns:a16="http://schemas.microsoft.com/office/drawing/2014/main" id="{77DDB086-2184-4C3B-ABC9-2B6D7C484B8A}"/>
              </a:ext>
            </a:extLst>
          </p:cNvPr>
          <p:cNvSpPr/>
          <p:nvPr/>
        </p:nvSpPr>
        <p:spPr>
          <a:xfrm>
            <a:off x="1335904" y="1333025"/>
            <a:ext cx="3486183" cy="467559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lvl="0" algn="r" defTabSz="914378">
              <a:defRPr/>
            </a:pPr>
            <a:r>
              <a:rPr lang="en-US" altLang="zh-CN" sz="1600" b="1" dirty="0"/>
              <a:t>Text here</a:t>
            </a:r>
            <a:endParaRPr lang="zh-CN" altLang="en-US" sz="1600" b="1" dirty="0"/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2DE60B08-D389-4B36-936A-9495F123631B}"/>
              </a:ext>
            </a:extLst>
          </p:cNvPr>
          <p:cNvSpPr txBox="1"/>
          <p:nvPr/>
        </p:nvSpPr>
        <p:spPr>
          <a:xfrm>
            <a:off x="673101" y="3409344"/>
            <a:ext cx="2908300" cy="624249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/>
          <a:p>
            <a:pPr algn="r" defTabSz="914378">
              <a:lnSpc>
                <a:spcPct val="120000"/>
              </a:lnSpc>
              <a:defRPr/>
            </a:pPr>
            <a:r>
              <a:rPr lang="en-US" altLang="zh-CN" sz="1100" dirty="0"/>
              <a:t>Copy paste fonts. Choose the only option to retain text.….</a:t>
            </a:r>
          </a:p>
        </p:txBody>
      </p:sp>
      <p:sp>
        <p:nvSpPr>
          <p:cNvPr id="72" name="矩形 71">
            <a:extLst>
              <a:ext uri="{FF2B5EF4-FFF2-40B4-BE49-F238E27FC236}">
                <a16:creationId xmlns:a16="http://schemas.microsoft.com/office/drawing/2014/main" id="{37F3C893-2EEE-40C5-A78F-49DF9B401100}"/>
              </a:ext>
            </a:extLst>
          </p:cNvPr>
          <p:cNvSpPr/>
          <p:nvPr/>
        </p:nvSpPr>
        <p:spPr>
          <a:xfrm>
            <a:off x="673101" y="2941787"/>
            <a:ext cx="2908300" cy="467559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lvl="0" algn="r" defTabSz="914378">
              <a:defRPr/>
            </a:pPr>
            <a:r>
              <a:rPr lang="en-US" altLang="zh-CN" sz="1600" b="1" dirty="0"/>
              <a:t>Text here</a:t>
            </a:r>
            <a:endParaRPr lang="zh-CN" altLang="en-US" sz="1600" b="1" dirty="0"/>
          </a:p>
        </p:txBody>
      </p:sp>
      <p:sp>
        <p:nvSpPr>
          <p:cNvPr id="73" name="文本框 72">
            <a:extLst>
              <a:ext uri="{FF2B5EF4-FFF2-40B4-BE49-F238E27FC236}">
                <a16:creationId xmlns:a16="http://schemas.microsoft.com/office/drawing/2014/main" id="{5F95BA67-85A0-4E4F-B16C-26A00A828B01}"/>
              </a:ext>
            </a:extLst>
          </p:cNvPr>
          <p:cNvSpPr txBox="1"/>
          <p:nvPr/>
        </p:nvSpPr>
        <p:spPr>
          <a:xfrm>
            <a:off x="1033131" y="5452966"/>
            <a:ext cx="3486183" cy="624249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/>
          <a:p>
            <a:pPr algn="r" defTabSz="914378">
              <a:lnSpc>
                <a:spcPct val="120000"/>
              </a:lnSpc>
              <a:defRPr/>
            </a:pPr>
            <a:r>
              <a:rPr lang="en-US" altLang="zh-CN" sz="1100" dirty="0"/>
              <a:t>Copy paste fonts. Choose the only option to retain text.….</a:t>
            </a:r>
          </a:p>
        </p:txBody>
      </p:sp>
      <p:sp>
        <p:nvSpPr>
          <p:cNvPr id="74" name="矩形 73">
            <a:extLst>
              <a:ext uri="{FF2B5EF4-FFF2-40B4-BE49-F238E27FC236}">
                <a16:creationId xmlns:a16="http://schemas.microsoft.com/office/drawing/2014/main" id="{160AFE16-53D4-418A-806D-27ADAC77BBB2}"/>
              </a:ext>
            </a:extLst>
          </p:cNvPr>
          <p:cNvSpPr/>
          <p:nvPr/>
        </p:nvSpPr>
        <p:spPr>
          <a:xfrm>
            <a:off x="1033131" y="4985409"/>
            <a:ext cx="3486183" cy="467559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lvl="0" algn="r" defTabSz="914378">
              <a:defRPr/>
            </a:pPr>
            <a:r>
              <a:rPr lang="en-US" altLang="zh-CN" sz="1600" b="1" dirty="0"/>
              <a:t>Text here</a:t>
            </a:r>
            <a:endParaRPr lang="zh-CN" altLang="en-US" sz="1600" b="1" dirty="0"/>
          </a:p>
        </p:txBody>
      </p:sp>
      <p:sp>
        <p:nvSpPr>
          <p:cNvPr id="75" name="文本框 74">
            <a:extLst>
              <a:ext uri="{FF2B5EF4-FFF2-40B4-BE49-F238E27FC236}">
                <a16:creationId xmlns:a16="http://schemas.microsoft.com/office/drawing/2014/main" id="{73EE0563-A477-49F8-9AC0-204EE82BC338}"/>
              </a:ext>
            </a:extLst>
          </p:cNvPr>
          <p:cNvSpPr txBox="1"/>
          <p:nvPr/>
        </p:nvSpPr>
        <p:spPr>
          <a:xfrm>
            <a:off x="7351166" y="5452966"/>
            <a:ext cx="3486183" cy="624249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/>
          <a:p>
            <a:pPr defTabSz="914378">
              <a:lnSpc>
                <a:spcPct val="120000"/>
              </a:lnSpc>
              <a:defRPr/>
            </a:pPr>
            <a:r>
              <a:rPr lang="en-US" altLang="zh-CN" sz="1100" dirty="0"/>
              <a:t>Copy paste fonts. Choose the only option to retain text.….</a:t>
            </a:r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FC70AA1E-1ADA-4170-BC60-D095C84B210A}"/>
              </a:ext>
            </a:extLst>
          </p:cNvPr>
          <p:cNvSpPr/>
          <p:nvPr/>
        </p:nvSpPr>
        <p:spPr>
          <a:xfrm>
            <a:off x="7351166" y="4985409"/>
            <a:ext cx="3486183" cy="467559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lvl="0" defTabSz="914378">
              <a:defRPr/>
            </a:pPr>
            <a:r>
              <a:rPr lang="en-US" altLang="zh-CN" sz="1600" b="1" dirty="0"/>
              <a:t>Text here</a:t>
            </a:r>
            <a:endParaRPr lang="zh-CN" altLang="en-US" sz="1600" b="1" dirty="0"/>
          </a:p>
        </p:txBody>
      </p:sp>
      <p:sp>
        <p:nvSpPr>
          <p:cNvPr id="77" name="文本框 76">
            <a:extLst>
              <a:ext uri="{FF2B5EF4-FFF2-40B4-BE49-F238E27FC236}">
                <a16:creationId xmlns:a16="http://schemas.microsoft.com/office/drawing/2014/main" id="{24D74BCA-A4A5-4AF3-820A-82FC2BD1ABCE}"/>
              </a:ext>
            </a:extLst>
          </p:cNvPr>
          <p:cNvSpPr txBox="1"/>
          <p:nvPr/>
        </p:nvSpPr>
        <p:spPr>
          <a:xfrm>
            <a:off x="8367115" y="3844355"/>
            <a:ext cx="3153373" cy="624249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/>
          <a:p>
            <a:pPr defTabSz="914378">
              <a:lnSpc>
                <a:spcPct val="120000"/>
              </a:lnSpc>
              <a:defRPr/>
            </a:pPr>
            <a:r>
              <a:rPr lang="en-US" altLang="zh-CN" sz="1100" dirty="0"/>
              <a:t>Copy paste fonts. Choose the only option to retain text.….</a:t>
            </a:r>
          </a:p>
        </p:txBody>
      </p:sp>
      <p:sp>
        <p:nvSpPr>
          <p:cNvPr id="78" name="矩形 77">
            <a:extLst>
              <a:ext uri="{FF2B5EF4-FFF2-40B4-BE49-F238E27FC236}">
                <a16:creationId xmlns:a16="http://schemas.microsoft.com/office/drawing/2014/main" id="{3DD7BF5D-A3DF-48A5-9B7E-C26B1090ECBB}"/>
              </a:ext>
            </a:extLst>
          </p:cNvPr>
          <p:cNvSpPr/>
          <p:nvPr/>
        </p:nvSpPr>
        <p:spPr>
          <a:xfrm>
            <a:off x="8367115" y="3376798"/>
            <a:ext cx="3153373" cy="467559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lvl="0" defTabSz="914378">
              <a:defRPr/>
            </a:pPr>
            <a:r>
              <a:rPr lang="en-US" altLang="zh-CN" sz="1600" b="1" dirty="0"/>
              <a:t>Text here</a:t>
            </a:r>
            <a:endParaRPr lang="zh-CN" altLang="en-US" sz="1600" b="1" dirty="0"/>
          </a:p>
        </p:txBody>
      </p:sp>
      <p:sp>
        <p:nvSpPr>
          <p:cNvPr id="79" name="文本框 78">
            <a:extLst>
              <a:ext uri="{FF2B5EF4-FFF2-40B4-BE49-F238E27FC236}">
                <a16:creationId xmlns:a16="http://schemas.microsoft.com/office/drawing/2014/main" id="{1080913E-EF55-4653-9793-4A023D6620C1}"/>
              </a:ext>
            </a:extLst>
          </p:cNvPr>
          <p:cNvSpPr txBox="1"/>
          <p:nvPr/>
        </p:nvSpPr>
        <p:spPr>
          <a:xfrm>
            <a:off x="7663105" y="2034359"/>
            <a:ext cx="3486183" cy="624249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/>
          <a:p>
            <a:pPr defTabSz="914378">
              <a:lnSpc>
                <a:spcPct val="120000"/>
              </a:lnSpc>
              <a:defRPr/>
            </a:pPr>
            <a:r>
              <a:rPr lang="en-US" altLang="zh-CN" sz="1100" dirty="0"/>
              <a:t>Copy paste fonts. Choose the only option to retain text.….</a:t>
            </a: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AF2C40A9-E9EC-4214-AF42-5322B92C6A5F}"/>
              </a:ext>
            </a:extLst>
          </p:cNvPr>
          <p:cNvSpPr/>
          <p:nvPr/>
        </p:nvSpPr>
        <p:spPr>
          <a:xfrm>
            <a:off x="7663105" y="1566802"/>
            <a:ext cx="3486183" cy="467559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lvl="0" defTabSz="914378">
              <a:defRPr/>
            </a:pPr>
            <a:r>
              <a:rPr lang="en-US" altLang="zh-CN" sz="1600" b="1" dirty="0"/>
              <a:t>Text here</a:t>
            </a:r>
            <a:endParaRPr lang="zh-CN" altLang="en-US" sz="1600" b="1" dirty="0"/>
          </a:p>
        </p:txBody>
      </p:sp>
      <p:sp>
        <p:nvSpPr>
          <p:cNvPr id="81" name="矩形 80">
            <a:extLst>
              <a:ext uri="{FF2B5EF4-FFF2-40B4-BE49-F238E27FC236}">
                <a16:creationId xmlns:a16="http://schemas.microsoft.com/office/drawing/2014/main" id="{3FE458BC-1668-402F-A8C5-C5B291DCFACA}"/>
              </a:ext>
            </a:extLst>
          </p:cNvPr>
          <p:cNvSpPr/>
          <p:nvPr/>
        </p:nvSpPr>
        <p:spPr>
          <a:xfrm>
            <a:off x="4857654" y="3348118"/>
            <a:ext cx="2376410" cy="720978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lvl="0" algn="ctr" defTabSz="914378">
              <a:defRPr/>
            </a:pPr>
            <a:r>
              <a:rPr lang="en-US" altLang="zh-CN" sz="2400" b="1" i="1" dirty="0"/>
              <a:t>Text here</a:t>
            </a:r>
            <a:endParaRPr lang="zh-CN" altLang="en-US" sz="2400" b="1" i="1" dirty="0"/>
          </a:p>
        </p:txBody>
      </p:sp>
    </p:spTree>
    <p:extLst>
      <p:ext uri="{BB962C8B-B14F-4D97-AF65-F5344CB8AC3E}">
        <p14:creationId xmlns:p14="http://schemas.microsoft.com/office/powerpoint/2010/main" val="26967755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F406622-5852-418D-B2AF-452DB52D08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6566876-851B-440A-85B1-4713BF0089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89368F9-E380-45A9-A541-E89E42C38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sp>
        <p:nvSpPr>
          <p:cNvPr id="76" name="任意多边形: 形状 75"/>
          <p:cNvSpPr/>
          <p:nvPr/>
        </p:nvSpPr>
        <p:spPr bwMode="auto">
          <a:xfrm>
            <a:off x="5977115" y="3266134"/>
            <a:ext cx="364492" cy="344896"/>
          </a:xfrm>
          <a:custGeom>
            <a:avLst/>
            <a:gdLst>
              <a:gd name="T0" fmla="*/ 66 w 132"/>
              <a:gd name="T1" fmla="*/ 125 h 125"/>
              <a:gd name="T2" fmla="*/ 0 w 132"/>
              <a:gd name="T3" fmla="*/ 63 h 125"/>
              <a:gd name="T4" fmla="*/ 66 w 132"/>
              <a:gd name="T5" fmla="*/ 0 h 125"/>
              <a:gd name="T6" fmla="*/ 132 w 132"/>
              <a:gd name="T7" fmla="*/ 63 h 125"/>
              <a:gd name="T8" fmla="*/ 66 w 132"/>
              <a:gd name="T9" fmla="*/ 125 h 125"/>
              <a:gd name="T10" fmla="*/ 66 w 132"/>
              <a:gd name="T11" fmla="*/ 4 h 125"/>
              <a:gd name="T12" fmla="*/ 4 w 132"/>
              <a:gd name="T13" fmla="*/ 63 h 125"/>
              <a:gd name="T14" fmla="*/ 66 w 132"/>
              <a:gd name="T15" fmla="*/ 121 h 125"/>
              <a:gd name="T16" fmla="*/ 128 w 132"/>
              <a:gd name="T17" fmla="*/ 63 h 125"/>
              <a:gd name="T18" fmla="*/ 66 w 132"/>
              <a:gd name="T19" fmla="*/ 4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32" h="125">
                <a:moveTo>
                  <a:pt x="66" y="125"/>
                </a:moveTo>
                <a:cubicBezTo>
                  <a:pt x="30" y="125"/>
                  <a:pt x="0" y="97"/>
                  <a:pt x="0" y="63"/>
                </a:cubicBezTo>
                <a:cubicBezTo>
                  <a:pt x="0" y="28"/>
                  <a:pt x="30" y="0"/>
                  <a:pt x="66" y="0"/>
                </a:cubicBezTo>
                <a:cubicBezTo>
                  <a:pt x="102" y="0"/>
                  <a:pt x="132" y="28"/>
                  <a:pt x="132" y="63"/>
                </a:cubicBezTo>
                <a:cubicBezTo>
                  <a:pt x="132" y="97"/>
                  <a:pt x="102" y="125"/>
                  <a:pt x="66" y="125"/>
                </a:cubicBezTo>
                <a:close/>
                <a:moveTo>
                  <a:pt x="66" y="4"/>
                </a:moveTo>
                <a:cubicBezTo>
                  <a:pt x="32" y="4"/>
                  <a:pt x="4" y="30"/>
                  <a:pt x="4" y="63"/>
                </a:cubicBezTo>
                <a:cubicBezTo>
                  <a:pt x="4" y="95"/>
                  <a:pt x="32" y="121"/>
                  <a:pt x="66" y="121"/>
                </a:cubicBezTo>
                <a:cubicBezTo>
                  <a:pt x="100" y="121"/>
                  <a:pt x="128" y="95"/>
                  <a:pt x="128" y="63"/>
                </a:cubicBezTo>
                <a:cubicBezTo>
                  <a:pt x="128" y="30"/>
                  <a:pt x="100" y="4"/>
                  <a:pt x="66" y="4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9pPr>
          </a:lstStyle>
          <a:p>
            <a:endParaRPr lang="en-US" sz="1013"/>
          </a:p>
        </p:txBody>
      </p:sp>
      <p:sp>
        <p:nvSpPr>
          <p:cNvPr id="77" name="任意多边形: 形状 76"/>
          <p:cNvSpPr/>
          <p:nvPr/>
        </p:nvSpPr>
        <p:spPr bwMode="auto">
          <a:xfrm>
            <a:off x="6076403" y="2819337"/>
            <a:ext cx="173754" cy="163303"/>
          </a:xfrm>
          <a:custGeom>
            <a:avLst/>
            <a:gdLst>
              <a:gd name="T0" fmla="*/ 32 w 63"/>
              <a:gd name="T1" fmla="*/ 59 h 59"/>
              <a:gd name="T2" fmla="*/ 0 w 63"/>
              <a:gd name="T3" fmla="*/ 29 h 59"/>
              <a:gd name="T4" fmla="*/ 32 w 63"/>
              <a:gd name="T5" fmla="*/ 0 h 59"/>
              <a:gd name="T6" fmla="*/ 63 w 63"/>
              <a:gd name="T7" fmla="*/ 29 h 59"/>
              <a:gd name="T8" fmla="*/ 32 w 63"/>
              <a:gd name="T9" fmla="*/ 59 h 59"/>
              <a:gd name="T10" fmla="*/ 32 w 63"/>
              <a:gd name="T11" fmla="*/ 4 h 59"/>
              <a:gd name="T12" fmla="*/ 4 w 63"/>
              <a:gd name="T13" fmla="*/ 29 h 59"/>
              <a:gd name="T14" fmla="*/ 32 w 63"/>
              <a:gd name="T15" fmla="*/ 55 h 59"/>
              <a:gd name="T16" fmla="*/ 59 w 63"/>
              <a:gd name="T17" fmla="*/ 29 h 59"/>
              <a:gd name="T18" fmla="*/ 32 w 63"/>
              <a:gd name="T19" fmla="*/ 4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3" h="59">
                <a:moveTo>
                  <a:pt x="32" y="59"/>
                </a:moveTo>
                <a:cubicBezTo>
                  <a:pt x="14" y="59"/>
                  <a:pt x="0" y="45"/>
                  <a:pt x="0" y="29"/>
                </a:cubicBezTo>
                <a:cubicBezTo>
                  <a:pt x="0" y="13"/>
                  <a:pt x="14" y="0"/>
                  <a:pt x="32" y="0"/>
                </a:cubicBezTo>
                <a:cubicBezTo>
                  <a:pt x="49" y="0"/>
                  <a:pt x="63" y="13"/>
                  <a:pt x="63" y="29"/>
                </a:cubicBezTo>
                <a:cubicBezTo>
                  <a:pt x="63" y="45"/>
                  <a:pt x="49" y="59"/>
                  <a:pt x="32" y="59"/>
                </a:cubicBezTo>
                <a:close/>
                <a:moveTo>
                  <a:pt x="32" y="4"/>
                </a:moveTo>
                <a:cubicBezTo>
                  <a:pt x="17" y="4"/>
                  <a:pt x="4" y="15"/>
                  <a:pt x="4" y="29"/>
                </a:cubicBezTo>
                <a:cubicBezTo>
                  <a:pt x="4" y="43"/>
                  <a:pt x="17" y="55"/>
                  <a:pt x="32" y="55"/>
                </a:cubicBezTo>
                <a:cubicBezTo>
                  <a:pt x="47" y="55"/>
                  <a:pt x="59" y="43"/>
                  <a:pt x="59" y="29"/>
                </a:cubicBezTo>
                <a:cubicBezTo>
                  <a:pt x="59" y="15"/>
                  <a:pt x="47" y="4"/>
                  <a:pt x="32" y="4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47500" lnSpcReduction="20000"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9pPr>
          </a:lstStyle>
          <a:p>
            <a:endParaRPr lang="en-US" sz="1013"/>
          </a:p>
        </p:txBody>
      </p:sp>
      <p:sp>
        <p:nvSpPr>
          <p:cNvPr id="78" name="任意多边形: 形状 77"/>
          <p:cNvSpPr/>
          <p:nvPr/>
        </p:nvSpPr>
        <p:spPr bwMode="auto">
          <a:xfrm>
            <a:off x="6173079" y="3081929"/>
            <a:ext cx="171142" cy="161996"/>
          </a:xfrm>
          <a:custGeom>
            <a:avLst/>
            <a:gdLst>
              <a:gd name="T0" fmla="*/ 31 w 62"/>
              <a:gd name="T1" fmla="*/ 59 h 59"/>
              <a:gd name="T2" fmla="*/ 0 w 62"/>
              <a:gd name="T3" fmla="*/ 29 h 59"/>
              <a:gd name="T4" fmla="*/ 31 w 62"/>
              <a:gd name="T5" fmla="*/ 0 h 59"/>
              <a:gd name="T6" fmla="*/ 62 w 62"/>
              <a:gd name="T7" fmla="*/ 29 h 59"/>
              <a:gd name="T8" fmla="*/ 31 w 62"/>
              <a:gd name="T9" fmla="*/ 59 h 59"/>
              <a:gd name="T10" fmla="*/ 31 w 62"/>
              <a:gd name="T11" fmla="*/ 4 h 59"/>
              <a:gd name="T12" fmla="*/ 4 w 62"/>
              <a:gd name="T13" fmla="*/ 29 h 59"/>
              <a:gd name="T14" fmla="*/ 31 w 62"/>
              <a:gd name="T15" fmla="*/ 55 h 59"/>
              <a:gd name="T16" fmla="*/ 58 w 62"/>
              <a:gd name="T17" fmla="*/ 29 h 59"/>
              <a:gd name="T18" fmla="*/ 31 w 62"/>
              <a:gd name="T19" fmla="*/ 4 h 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2" h="59">
                <a:moveTo>
                  <a:pt x="31" y="59"/>
                </a:moveTo>
                <a:cubicBezTo>
                  <a:pt x="14" y="59"/>
                  <a:pt x="0" y="46"/>
                  <a:pt x="0" y="29"/>
                </a:cubicBezTo>
                <a:cubicBezTo>
                  <a:pt x="0" y="13"/>
                  <a:pt x="14" y="0"/>
                  <a:pt x="31" y="0"/>
                </a:cubicBezTo>
                <a:cubicBezTo>
                  <a:pt x="48" y="0"/>
                  <a:pt x="62" y="13"/>
                  <a:pt x="62" y="29"/>
                </a:cubicBezTo>
                <a:cubicBezTo>
                  <a:pt x="62" y="46"/>
                  <a:pt x="48" y="59"/>
                  <a:pt x="31" y="59"/>
                </a:cubicBezTo>
                <a:close/>
                <a:moveTo>
                  <a:pt x="31" y="4"/>
                </a:moveTo>
                <a:cubicBezTo>
                  <a:pt x="16" y="4"/>
                  <a:pt x="4" y="15"/>
                  <a:pt x="4" y="29"/>
                </a:cubicBezTo>
                <a:cubicBezTo>
                  <a:pt x="4" y="44"/>
                  <a:pt x="16" y="55"/>
                  <a:pt x="31" y="55"/>
                </a:cubicBezTo>
                <a:cubicBezTo>
                  <a:pt x="46" y="55"/>
                  <a:pt x="58" y="44"/>
                  <a:pt x="58" y="29"/>
                </a:cubicBezTo>
                <a:cubicBezTo>
                  <a:pt x="58" y="15"/>
                  <a:pt x="46" y="4"/>
                  <a:pt x="31" y="4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47500" lnSpcReduction="20000"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9pPr>
          </a:lstStyle>
          <a:p>
            <a:endParaRPr lang="en-US" sz="1013"/>
          </a:p>
        </p:txBody>
      </p:sp>
      <p:sp>
        <p:nvSpPr>
          <p:cNvPr id="79" name="任意多边形: 形状 78"/>
          <p:cNvSpPr/>
          <p:nvPr/>
        </p:nvSpPr>
        <p:spPr bwMode="auto">
          <a:xfrm>
            <a:off x="6093387" y="2380378"/>
            <a:ext cx="297865" cy="438959"/>
          </a:xfrm>
          <a:custGeom>
            <a:avLst/>
            <a:gdLst>
              <a:gd name="T0" fmla="*/ 54 w 108"/>
              <a:gd name="T1" fmla="*/ 159 h 159"/>
              <a:gd name="T2" fmla="*/ 16 w 108"/>
              <a:gd name="T3" fmla="*/ 144 h 159"/>
              <a:gd name="T4" fmla="*/ 0 w 108"/>
              <a:gd name="T5" fmla="*/ 108 h 159"/>
              <a:gd name="T6" fmla="*/ 9 w 108"/>
              <a:gd name="T7" fmla="*/ 62 h 159"/>
              <a:gd name="T8" fmla="*/ 29 w 108"/>
              <a:gd name="T9" fmla="*/ 27 h 159"/>
              <a:gd name="T10" fmla="*/ 30 w 108"/>
              <a:gd name="T11" fmla="*/ 26 h 159"/>
              <a:gd name="T12" fmla="*/ 53 w 108"/>
              <a:gd name="T13" fmla="*/ 0 h 159"/>
              <a:gd name="T14" fmla="*/ 77 w 108"/>
              <a:gd name="T15" fmla="*/ 27 h 159"/>
              <a:gd name="T16" fmla="*/ 98 w 108"/>
              <a:gd name="T17" fmla="*/ 64 h 159"/>
              <a:gd name="T18" fmla="*/ 108 w 108"/>
              <a:gd name="T19" fmla="*/ 107 h 159"/>
              <a:gd name="T20" fmla="*/ 99 w 108"/>
              <a:gd name="T21" fmla="*/ 136 h 159"/>
              <a:gd name="T22" fmla="*/ 55 w 108"/>
              <a:gd name="T23" fmla="*/ 159 h 159"/>
              <a:gd name="T24" fmla="*/ 54 w 108"/>
              <a:gd name="T25" fmla="*/ 159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8" h="159">
                <a:moveTo>
                  <a:pt x="54" y="159"/>
                </a:moveTo>
                <a:cubicBezTo>
                  <a:pt x="40" y="159"/>
                  <a:pt x="26" y="153"/>
                  <a:pt x="16" y="144"/>
                </a:cubicBezTo>
                <a:cubicBezTo>
                  <a:pt x="6" y="134"/>
                  <a:pt x="0" y="122"/>
                  <a:pt x="0" y="108"/>
                </a:cubicBezTo>
                <a:cubicBezTo>
                  <a:pt x="0" y="93"/>
                  <a:pt x="3" y="78"/>
                  <a:pt x="9" y="62"/>
                </a:cubicBezTo>
                <a:cubicBezTo>
                  <a:pt x="14" y="50"/>
                  <a:pt x="21" y="38"/>
                  <a:pt x="29" y="27"/>
                </a:cubicBezTo>
                <a:cubicBezTo>
                  <a:pt x="30" y="26"/>
                  <a:pt x="30" y="26"/>
                  <a:pt x="30" y="26"/>
                </a:cubicBezTo>
                <a:cubicBezTo>
                  <a:pt x="38" y="14"/>
                  <a:pt x="47" y="5"/>
                  <a:pt x="53" y="0"/>
                </a:cubicBezTo>
                <a:cubicBezTo>
                  <a:pt x="59" y="6"/>
                  <a:pt x="68" y="15"/>
                  <a:pt x="77" y="27"/>
                </a:cubicBezTo>
                <a:cubicBezTo>
                  <a:pt x="86" y="40"/>
                  <a:pt x="93" y="52"/>
                  <a:pt x="98" y="64"/>
                </a:cubicBezTo>
                <a:cubicBezTo>
                  <a:pt x="105" y="79"/>
                  <a:pt x="108" y="93"/>
                  <a:pt x="108" y="107"/>
                </a:cubicBezTo>
                <a:cubicBezTo>
                  <a:pt x="108" y="118"/>
                  <a:pt x="105" y="128"/>
                  <a:pt x="99" y="136"/>
                </a:cubicBezTo>
                <a:cubicBezTo>
                  <a:pt x="89" y="150"/>
                  <a:pt x="72" y="158"/>
                  <a:pt x="55" y="159"/>
                </a:cubicBezTo>
                <a:lnTo>
                  <a:pt x="54" y="15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9pPr>
          </a:lstStyle>
          <a:p>
            <a:endParaRPr lang="en-US" sz="1013"/>
          </a:p>
        </p:txBody>
      </p:sp>
      <p:sp>
        <p:nvSpPr>
          <p:cNvPr id="80" name="任意多边形: 形状 79"/>
          <p:cNvSpPr/>
          <p:nvPr/>
        </p:nvSpPr>
        <p:spPr bwMode="auto">
          <a:xfrm>
            <a:off x="6259303" y="1936194"/>
            <a:ext cx="1725789" cy="543473"/>
          </a:xfrm>
          <a:custGeom>
            <a:avLst/>
            <a:gdLst>
              <a:gd name="T0" fmla="*/ 571 w 625"/>
              <a:gd name="T1" fmla="*/ 86 h 197"/>
              <a:gd name="T2" fmla="*/ 571 w 625"/>
              <a:gd name="T3" fmla="*/ 86 h 197"/>
              <a:gd name="T4" fmla="*/ 570 w 625"/>
              <a:gd name="T5" fmla="*/ 86 h 197"/>
              <a:gd name="T6" fmla="*/ 53 w 625"/>
              <a:gd name="T7" fmla="*/ 27 h 197"/>
              <a:gd name="T8" fmla="*/ 54 w 625"/>
              <a:gd name="T9" fmla="*/ 17 h 197"/>
              <a:gd name="T10" fmla="*/ 42 w 625"/>
              <a:gd name="T11" fmla="*/ 2 h 197"/>
              <a:gd name="T12" fmla="*/ 33 w 625"/>
              <a:gd name="T13" fmla="*/ 1 h 197"/>
              <a:gd name="T14" fmla="*/ 17 w 625"/>
              <a:gd name="T15" fmla="*/ 12 h 197"/>
              <a:gd name="T16" fmla="*/ 1 w 625"/>
              <a:gd name="T17" fmla="*/ 142 h 197"/>
              <a:gd name="T18" fmla="*/ 13 w 625"/>
              <a:gd name="T19" fmla="*/ 156 h 197"/>
              <a:gd name="T20" fmla="*/ 23 w 625"/>
              <a:gd name="T21" fmla="*/ 157 h 197"/>
              <a:gd name="T22" fmla="*/ 38 w 625"/>
              <a:gd name="T23" fmla="*/ 146 h 197"/>
              <a:gd name="T24" fmla="*/ 39 w 625"/>
              <a:gd name="T25" fmla="*/ 135 h 197"/>
              <a:gd name="T26" fmla="*/ 557 w 625"/>
              <a:gd name="T27" fmla="*/ 193 h 197"/>
              <a:gd name="T28" fmla="*/ 558 w 625"/>
              <a:gd name="T29" fmla="*/ 193 h 197"/>
              <a:gd name="T30" fmla="*/ 558 w 625"/>
              <a:gd name="T31" fmla="*/ 193 h 197"/>
              <a:gd name="T32" fmla="*/ 621 w 625"/>
              <a:gd name="T33" fmla="*/ 146 h 197"/>
              <a:gd name="T34" fmla="*/ 571 w 625"/>
              <a:gd name="T35" fmla="*/ 86 h 1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5" h="197">
                <a:moveTo>
                  <a:pt x="571" y="86"/>
                </a:moveTo>
                <a:cubicBezTo>
                  <a:pt x="571" y="86"/>
                  <a:pt x="571" y="86"/>
                  <a:pt x="571" y="86"/>
                </a:cubicBezTo>
                <a:cubicBezTo>
                  <a:pt x="571" y="86"/>
                  <a:pt x="571" y="86"/>
                  <a:pt x="570" y="86"/>
                </a:cubicBezTo>
                <a:cubicBezTo>
                  <a:pt x="53" y="27"/>
                  <a:pt x="53" y="27"/>
                  <a:pt x="53" y="27"/>
                </a:cubicBezTo>
                <a:cubicBezTo>
                  <a:pt x="54" y="17"/>
                  <a:pt x="54" y="17"/>
                  <a:pt x="54" y="17"/>
                </a:cubicBezTo>
                <a:cubicBezTo>
                  <a:pt x="55" y="9"/>
                  <a:pt x="50" y="3"/>
                  <a:pt x="42" y="2"/>
                </a:cubicBezTo>
                <a:cubicBezTo>
                  <a:pt x="33" y="1"/>
                  <a:pt x="33" y="1"/>
                  <a:pt x="33" y="1"/>
                </a:cubicBezTo>
                <a:cubicBezTo>
                  <a:pt x="25" y="0"/>
                  <a:pt x="18" y="5"/>
                  <a:pt x="17" y="12"/>
                </a:cubicBezTo>
                <a:cubicBezTo>
                  <a:pt x="1" y="142"/>
                  <a:pt x="1" y="142"/>
                  <a:pt x="1" y="142"/>
                </a:cubicBezTo>
                <a:cubicBezTo>
                  <a:pt x="0" y="149"/>
                  <a:pt x="6" y="155"/>
                  <a:pt x="13" y="156"/>
                </a:cubicBezTo>
                <a:cubicBezTo>
                  <a:pt x="23" y="157"/>
                  <a:pt x="23" y="157"/>
                  <a:pt x="23" y="157"/>
                </a:cubicBezTo>
                <a:cubicBezTo>
                  <a:pt x="30" y="158"/>
                  <a:pt x="37" y="153"/>
                  <a:pt x="38" y="146"/>
                </a:cubicBezTo>
                <a:cubicBezTo>
                  <a:pt x="39" y="135"/>
                  <a:pt x="39" y="135"/>
                  <a:pt x="39" y="135"/>
                </a:cubicBezTo>
                <a:cubicBezTo>
                  <a:pt x="557" y="193"/>
                  <a:pt x="557" y="193"/>
                  <a:pt x="557" y="193"/>
                </a:cubicBezTo>
                <a:cubicBezTo>
                  <a:pt x="557" y="193"/>
                  <a:pt x="557" y="193"/>
                  <a:pt x="558" y="193"/>
                </a:cubicBezTo>
                <a:cubicBezTo>
                  <a:pt x="558" y="193"/>
                  <a:pt x="558" y="193"/>
                  <a:pt x="558" y="193"/>
                </a:cubicBezTo>
                <a:cubicBezTo>
                  <a:pt x="589" y="197"/>
                  <a:pt x="617" y="175"/>
                  <a:pt x="621" y="146"/>
                </a:cubicBezTo>
                <a:cubicBezTo>
                  <a:pt x="625" y="116"/>
                  <a:pt x="602" y="89"/>
                  <a:pt x="571" y="8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9pPr>
          </a:lstStyle>
          <a:p>
            <a:endParaRPr lang="en-US" sz="1013"/>
          </a:p>
        </p:txBody>
      </p:sp>
      <p:sp>
        <p:nvSpPr>
          <p:cNvPr id="81" name="任意多边形: 形状 80"/>
          <p:cNvSpPr/>
          <p:nvPr/>
        </p:nvSpPr>
        <p:spPr bwMode="auto">
          <a:xfrm>
            <a:off x="6259303" y="2251042"/>
            <a:ext cx="1720563" cy="228625"/>
          </a:xfrm>
          <a:custGeom>
            <a:avLst/>
            <a:gdLst>
              <a:gd name="T0" fmla="*/ 13 w 623"/>
              <a:gd name="T1" fmla="*/ 42 h 83"/>
              <a:gd name="T2" fmla="*/ 23 w 623"/>
              <a:gd name="T3" fmla="*/ 43 h 83"/>
              <a:gd name="T4" fmla="*/ 38 w 623"/>
              <a:gd name="T5" fmla="*/ 32 h 83"/>
              <a:gd name="T6" fmla="*/ 39 w 623"/>
              <a:gd name="T7" fmla="*/ 21 h 83"/>
              <a:gd name="T8" fmla="*/ 557 w 623"/>
              <a:gd name="T9" fmla="*/ 79 h 83"/>
              <a:gd name="T10" fmla="*/ 558 w 623"/>
              <a:gd name="T11" fmla="*/ 79 h 83"/>
              <a:gd name="T12" fmla="*/ 558 w 623"/>
              <a:gd name="T13" fmla="*/ 79 h 83"/>
              <a:gd name="T14" fmla="*/ 621 w 623"/>
              <a:gd name="T15" fmla="*/ 32 h 83"/>
              <a:gd name="T16" fmla="*/ 615 w 623"/>
              <a:gd name="T17" fmla="*/ 0 h 83"/>
              <a:gd name="T18" fmla="*/ 5 w 623"/>
              <a:gd name="T19" fmla="*/ 0 h 83"/>
              <a:gd name="T20" fmla="*/ 1 w 623"/>
              <a:gd name="T21" fmla="*/ 28 h 83"/>
              <a:gd name="T22" fmla="*/ 13 w 623"/>
              <a:gd name="T23" fmla="*/ 42 h 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23" h="83">
                <a:moveTo>
                  <a:pt x="13" y="42"/>
                </a:moveTo>
                <a:cubicBezTo>
                  <a:pt x="23" y="43"/>
                  <a:pt x="23" y="43"/>
                  <a:pt x="23" y="43"/>
                </a:cubicBezTo>
                <a:cubicBezTo>
                  <a:pt x="30" y="44"/>
                  <a:pt x="37" y="39"/>
                  <a:pt x="38" y="32"/>
                </a:cubicBezTo>
                <a:cubicBezTo>
                  <a:pt x="39" y="21"/>
                  <a:pt x="39" y="21"/>
                  <a:pt x="39" y="21"/>
                </a:cubicBezTo>
                <a:cubicBezTo>
                  <a:pt x="557" y="79"/>
                  <a:pt x="557" y="79"/>
                  <a:pt x="557" y="79"/>
                </a:cubicBezTo>
                <a:cubicBezTo>
                  <a:pt x="557" y="79"/>
                  <a:pt x="557" y="79"/>
                  <a:pt x="558" y="79"/>
                </a:cubicBezTo>
                <a:cubicBezTo>
                  <a:pt x="558" y="79"/>
                  <a:pt x="558" y="79"/>
                  <a:pt x="558" y="79"/>
                </a:cubicBezTo>
                <a:cubicBezTo>
                  <a:pt x="589" y="83"/>
                  <a:pt x="617" y="61"/>
                  <a:pt x="621" y="32"/>
                </a:cubicBezTo>
                <a:cubicBezTo>
                  <a:pt x="623" y="21"/>
                  <a:pt x="620" y="10"/>
                  <a:pt x="615" y="0"/>
                </a:cubicBezTo>
                <a:cubicBezTo>
                  <a:pt x="5" y="0"/>
                  <a:pt x="5" y="0"/>
                  <a:pt x="5" y="0"/>
                </a:cubicBezTo>
                <a:cubicBezTo>
                  <a:pt x="1" y="28"/>
                  <a:pt x="1" y="28"/>
                  <a:pt x="1" y="28"/>
                </a:cubicBezTo>
                <a:cubicBezTo>
                  <a:pt x="0" y="35"/>
                  <a:pt x="6" y="41"/>
                  <a:pt x="13" y="4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9pPr>
          </a:lstStyle>
          <a:p>
            <a:endParaRPr lang="en-US" sz="1013"/>
          </a:p>
        </p:txBody>
      </p:sp>
      <p:sp>
        <p:nvSpPr>
          <p:cNvPr id="82" name="任意多边形: 形状 81"/>
          <p:cNvSpPr/>
          <p:nvPr/>
        </p:nvSpPr>
        <p:spPr bwMode="auto">
          <a:xfrm>
            <a:off x="5745878" y="3377180"/>
            <a:ext cx="223399" cy="212947"/>
          </a:xfrm>
          <a:custGeom>
            <a:avLst/>
            <a:gdLst>
              <a:gd name="T0" fmla="*/ 41 w 81"/>
              <a:gd name="T1" fmla="*/ 77 h 77"/>
              <a:gd name="T2" fmla="*/ 0 w 81"/>
              <a:gd name="T3" fmla="*/ 39 h 77"/>
              <a:gd name="T4" fmla="*/ 41 w 81"/>
              <a:gd name="T5" fmla="*/ 0 h 77"/>
              <a:gd name="T6" fmla="*/ 81 w 81"/>
              <a:gd name="T7" fmla="*/ 39 h 77"/>
              <a:gd name="T8" fmla="*/ 41 w 81"/>
              <a:gd name="T9" fmla="*/ 77 h 77"/>
              <a:gd name="T10" fmla="*/ 41 w 81"/>
              <a:gd name="T11" fmla="*/ 4 h 77"/>
              <a:gd name="T12" fmla="*/ 4 w 81"/>
              <a:gd name="T13" fmla="*/ 39 h 77"/>
              <a:gd name="T14" fmla="*/ 41 w 81"/>
              <a:gd name="T15" fmla="*/ 73 h 77"/>
              <a:gd name="T16" fmla="*/ 77 w 81"/>
              <a:gd name="T17" fmla="*/ 39 h 77"/>
              <a:gd name="T18" fmla="*/ 41 w 81"/>
              <a:gd name="T19" fmla="*/ 4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1" h="77">
                <a:moveTo>
                  <a:pt x="41" y="77"/>
                </a:moveTo>
                <a:cubicBezTo>
                  <a:pt x="18" y="77"/>
                  <a:pt x="0" y="60"/>
                  <a:pt x="0" y="39"/>
                </a:cubicBezTo>
                <a:cubicBezTo>
                  <a:pt x="0" y="17"/>
                  <a:pt x="18" y="0"/>
                  <a:pt x="41" y="0"/>
                </a:cubicBezTo>
                <a:cubicBezTo>
                  <a:pt x="63" y="0"/>
                  <a:pt x="81" y="17"/>
                  <a:pt x="81" y="39"/>
                </a:cubicBezTo>
                <a:cubicBezTo>
                  <a:pt x="81" y="60"/>
                  <a:pt x="63" y="77"/>
                  <a:pt x="41" y="77"/>
                </a:cubicBezTo>
                <a:close/>
                <a:moveTo>
                  <a:pt x="41" y="4"/>
                </a:moveTo>
                <a:cubicBezTo>
                  <a:pt x="21" y="4"/>
                  <a:pt x="4" y="19"/>
                  <a:pt x="4" y="39"/>
                </a:cubicBezTo>
                <a:cubicBezTo>
                  <a:pt x="4" y="58"/>
                  <a:pt x="21" y="73"/>
                  <a:pt x="41" y="73"/>
                </a:cubicBezTo>
                <a:cubicBezTo>
                  <a:pt x="61" y="73"/>
                  <a:pt x="77" y="58"/>
                  <a:pt x="77" y="39"/>
                </a:cubicBezTo>
                <a:cubicBezTo>
                  <a:pt x="77" y="19"/>
                  <a:pt x="61" y="4"/>
                  <a:pt x="41" y="4"/>
                </a:cubicBezTo>
                <a:close/>
              </a:path>
            </a:pathLst>
          </a:custGeom>
          <a:solidFill>
            <a:schemeClr val="accent1"/>
          </a:solidFill>
          <a:ln w="317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9pPr>
          </a:lstStyle>
          <a:p>
            <a:endParaRPr lang="en-US" sz="1013"/>
          </a:p>
        </p:txBody>
      </p:sp>
      <p:sp>
        <p:nvSpPr>
          <p:cNvPr id="83" name="任意多边形: 形状 82"/>
          <p:cNvSpPr/>
          <p:nvPr/>
        </p:nvSpPr>
        <p:spPr bwMode="auto">
          <a:xfrm>
            <a:off x="5795522" y="2918625"/>
            <a:ext cx="297865" cy="438959"/>
          </a:xfrm>
          <a:custGeom>
            <a:avLst/>
            <a:gdLst>
              <a:gd name="T0" fmla="*/ 54 w 108"/>
              <a:gd name="T1" fmla="*/ 159 h 159"/>
              <a:gd name="T2" fmla="*/ 16 w 108"/>
              <a:gd name="T3" fmla="*/ 144 h 159"/>
              <a:gd name="T4" fmla="*/ 0 w 108"/>
              <a:gd name="T5" fmla="*/ 108 h 159"/>
              <a:gd name="T6" fmla="*/ 9 w 108"/>
              <a:gd name="T7" fmla="*/ 62 h 159"/>
              <a:gd name="T8" fmla="*/ 29 w 108"/>
              <a:gd name="T9" fmla="*/ 27 h 159"/>
              <a:gd name="T10" fmla="*/ 30 w 108"/>
              <a:gd name="T11" fmla="*/ 26 h 159"/>
              <a:gd name="T12" fmla="*/ 53 w 108"/>
              <a:gd name="T13" fmla="*/ 0 h 159"/>
              <a:gd name="T14" fmla="*/ 76 w 108"/>
              <a:gd name="T15" fmla="*/ 27 h 159"/>
              <a:gd name="T16" fmla="*/ 98 w 108"/>
              <a:gd name="T17" fmla="*/ 64 h 159"/>
              <a:gd name="T18" fmla="*/ 108 w 108"/>
              <a:gd name="T19" fmla="*/ 107 h 159"/>
              <a:gd name="T20" fmla="*/ 99 w 108"/>
              <a:gd name="T21" fmla="*/ 137 h 159"/>
              <a:gd name="T22" fmla="*/ 55 w 108"/>
              <a:gd name="T23" fmla="*/ 159 h 159"/>
              <a:gd name="T24" fmla="*/ 54 w 108"/>
              <a:gd name="T25" fmla="*/ 159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8" h="159">
                <a:moveTo>
                  <a:pt x="54" y="159"/>
                </a:moveTo>
                <a:cubicBezTo>
                  <a:pt x="40" y="159"/>
                  <a:pt x="26" y="153"/>
                  <a:pt x="16" y="144"/>
                </a:cubicBezTo>
                <a:cubicBezTo>
                  <a:pt x="6" y="134"/>
                  <a:pt x="0" y="122"/>
                  <a:pt x="0" y="108"/>
                </a:cubicBezTo>
                <a:cubicBezTo>
                  <a:pt x="0" y="93"/>
                  <a:pt x="3" y="78"/>
                  <a:pt x="9" y="62"/>
                </a:cubicBezTo>
                <a:cubicBezTo>
                  <a:pt x="14" y="50"/>
                  <a:pt x="21" y="38"/>
                  <a:pt x="29" y="27"/>
                </a:cubicBezTo>
                <a:cubicBezTo>
                  <a:pt x="30" y="26"/>
                  <a:pt x="30" y="26"/>
                  <a:pt x="30" y="26"/>
                </a:cubicBezTo>
                <a:cubicBezTo>
                  <a:pt x="38" y="14"/>
                  <a:pt x="47" y="6"/>
                  <a:pt x="53" y="0"/>
                </a:cubicBezTo>
                <a:cubicBezTo>
                  <a:pt x="59" y="6"/>
                  <a:pt x="68" y="15"/>
                  <a:pt x="76" y="27"/>
                </a:cubicBezTo>
                <a:cubicBezTo>
                  <a:pt x="86" y="40"/>
                  <a:pt x="93" y="52"/>
                  <a:pt x="98" y="64"/>
                </a:cubicBezTo>
                <a:cubicBezTo>
                  <a:pt x="105" y="79"/>
                  <a:pt x="108" y="93"/>
                  <a:pt x="108" y="107"/>
                </a:cubicBezTo>
                <a:cubicBezTo>
                  <a:pt x="108" y="118"/>
                  <a:pt x="105" y="128"/>
                  <a:pt x="99" y="137"/>
                </a:cubicBezTo>
                <a:cubicBezTo>
                  <a:pt x="89" y="150"/>
                  <a:pt x="72" y="159"/>
                  <a:pt x="55" y="159"/>
                </a:cubicBezTo>
                <a:lnTo>
                  <a:pt x="54" y="15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9pPr>
          </a:lstStyle>
          <a:p>
            <a:endParaRPr lang="en-US" sz="1013"/>
          </a:p>
        </p:txBody>
      </p:sp>
      <p:sp>
        <p:nvSpPr>
          <p:cNvPr id="84" name="任意多边形: 形状 83"/>
          <p:cNvSpPr/>
          <p:nvPr/>
        </p:nvSpPr>
        <p:spPr bwMode="auto">
          <a:xfrm>
            <a:off x="4206908" y="2494038"/>
            <a:ext cx="1723175" cy="540860"/>
          </a:xfrm>
          <a:custGeom>
            <a:avLst/>
            <a:gdLst>
              <a:gd name="T0" fmla="*/ 624 w 624"/>
              <a:gd name="T1" fmla="*/ 141 h 196"/>
              <a:gd name="T2" fmla="*/ 607 w 624"/>
              <a:gd name="T3" fmla="*/ 12 h 196"/>
              <a:gd name="T4" fmla="*/ 592 w 624"/>
              <a:gd name="T5" fmla="*/ 0 h 196"/>
              <a:gd name="T6" fmla="*/ 583 w 624"/>
              <a:gd name="T7" fmla="*/ 1 h 196"/>
              <a:gd name="T8" fmla="*/ 571 w 624"/>
              <a:gd name="T9" fmla="*/ 16 h 196"/>
              <a:gd name="T10" fmla="*/ 572 w 624"/>
              <a:gd name="T11" fmla="*/ 27 h 196"/>
              <a:gd name="T12" fmla="*/ 54 w 624"/>
              <a:gd name="T13" fmla="*/ 85 h 196"/>
              <a:gd name="T14" fmla="*/ 54 w 624"/>
              <a:gd name="T15" fmla="*/ 85 h 196"/>
              <a:gd name="T16" fmla="*/ 54 w 624"/>
              <a:gd name="T17" fmla="*/ 85 h 196"/>
              <a:gd name="T18" fmla="*/ 4 w 624"/>
              <a:gd name="T19" fmla="*/ 145 h 196"/>
              <a:gd name="T20" fmla="*/ 67 w 624"/>
              <a:gd name="T21" fmla="*/ 193 h 196"/>
              <a:gd name="T22" fmla="*/ 67 w 624"/>
              <a:gd name="T23" fmla="*/ 193 h 196"/>
              <a:gd name="T24" fmla="*/ 68 w 624"/>
              <a:gd name="T25" fmla="*/ 192 h 196"/>
              <a:gd name="T26" fmla="*/ 585 w 624"/>
              <a:gd name="T27" fmla="*/ 134 h 196"/>
              <a:gd name="T28" fmla="*/ 587 w 624"/>
              <a:gd name="T29" fmla="*/ 145 h 196"/>
              <a:gd name="T30" fmla="*/ 602 w 624"/>
              <a:gd name="T31" fmla="*/ 157 h 196"/>
              <a:gd name="T32" fmla="*/ 611 w 624"/>
              <a:gd name="T33" fmla="*/ 155 h 196"/>
              <a:gd name="T34" fmla="*/ 624 w 624"/>
              <a:gd name="T35" fmla="*/ 141 h 1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624" h="196">
                <a:moveTo>
                  <a:pt x="624" y="141"/>
                </a:moveTo>
                <a:cubicBezTo>
                  <a:pt x="607" y="12"/>
                  <a:pt x="607" y="12"/>
                  <a:pt x="607" y="12"/>
                </a:cubicBezTo>
                <a:cubicBezTo>
                  <a:pt x="606" y="5"/>
                  <a:pt x="600" y="0"/>
                  <a:pt x="592" y="0"/>
                </a:cubicBezTo>
                <a:cubicBezTo>
                  <a:pt x="583" y="1"/>
                  <a:pt x="583" y="1"/>
                  <a:pt x="583" y="1"/>
                </a:cubicBezTo>
                <a:cubicBezTo>
                  <a:pt x="575" y="2"/>
                  <a:pt x="570" y="9"/>
                  <a:pt x="571" y="16"/>
                </a:cubicBezTo>
                <a:cubicBezTo>
                  <a:pt x="572" y="27"/>
                  <a:pt x="572" y="27"/>
                  <a:pt x="572" y="27"/>
                </a:cubicBezTo>
                <a:cubicBezTo>
                  <a:pt x="54" y="85"/>
                  <a:pt x="54" y="85"/>
                  <a:pt x="54" y="85"/>
                </a:cubicBezTo>
                <a:cubicBezTo>
                  <a:pt x="54" y="85"/>
                  <a:pt x="54" y="85"/>
                  <a:pt x="54" y="85"/>
                </a:cubicBezTo>
                <a:cubicBezTo>
                  <a:pt x="54" y="85"/>
                  <a:pt x="54" y="85"/>
                  <a:pt x="54" y="85"/>
                </a:cubicBezTo>
                <a:cubicBezTo>
                  <a:pt x="22" y="89"/>
                  <a:pt x="0" y="115"/>
                  <a:pt x="4" y="145"/>
                </a:cubicBezTo>
                <a:cubicBezTo>
                  <a:pt x="7" y="175"/>
                  <a:pt x="36" y="196"/>
                  <a:pt x="67" y="193"/>
                </a:cubicBezTo>
                <a:cubicBezTo>
                  <a:pt x="67" y="193"/>
                  <a:pt x="67" y="193"/>
                  <a:pt x="67" y="193"/>
                </a:cubicBezTo>
                <a:cubicBezTo>
                  <a:pt x="67" y="193"/>
                  <a:pt x="68" y="192"/>
                  <a:pt x="68" y="192"/>
                </a:cubicBezTo>
                <a:cubicBezTo>
                  <a:pt x="585" y="134"/>
                  <a:pt x="585" y="134"/>
                  <a:pt x="585" y="134"/>
                </a:cubicBezTo>
                <a:cubicBezTo>
                  <a:pt x="587" y="145"/>
                  <a:pt x="587" y="145"/>
                  <a:pt x="587" y="145"/>
                </a:cubicBezTo>
                <a:cubicBezTo>
                  <a:pt x="588" y="152"/>
                  <a:pt x="594" y="157"/>
                  <a:pt x="602" y="157"/>
                </a:cubicBezTo>
                <a:cubicBezTo>
                  <a:pt x="611" y="155"/>
                  <a:pt x="611" y="155"/>
                  <a:pt x="611" y="155"/>
                </a:cubicBezTo>
                <a:cubicBezTo>
                  <a:pt x="619" y="155"/>
                  <a:pt x="624" y="148"/>
                  <a:pt x="624" y="14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9pPr>
          </a:lstStyle>
          <a:p>
            <a:endParaRPr lang="en-US" sz="1013"/>
          </a:p>
        </p:txBody>
      </p:sp>
      <p:sp>
        <p:nvSpPr>
          <p:cNvPr id="85" name="任意多边形: 形状 84"/>
          <p:cNvSpPr/>
          <p:nvPr/>
        </p:nvSpPr>
        <p:spPr bwMode="auto">
          <a:xfrm>
            <a:off x="4213440" y="2807579"/>
            <a:ext cx="1716644" cy="227318"/>
          </a:xfrm>
          <a:custGeom>
            <a:avLst/>
            <a:gdLst>
              <a:gd name="T0" fmla="*/ 2 w 622"/>
              <a:gd name="T1" fmla="*/ 31 h 82"/>
              <a:gd name="T2" fmla="*/ 65 w 622"/>
              <a:gd name="T3" fmla="*/ 79 h 82"/>
              <a:gd name="T4" fmla="*/ 65 w 622"/>
              <a:gd name="T5" fmla="*/ 79 h 82"/>
              <a:gd name="T6" fmla="*/ 66 w 622"/>
              <a:gd name="T7" fmla="*/ 78 h 82"/>
              <a:gd name="T8" fmla="*/ 583 w 622"/>
              <a:gd name="T9" fmla="*/ 20 h 82"/>
              <a:gd name="T10" fmla="*/ 585 w 622"/>
              <a:gd name="T11" fmla="*/ 31 h 82"/>
              <a:gd name="T12" fmla="*/ 600 w 622"/>
              <a:gd name="T13" fmla="*/ 43 h 82"/>
              <a:gd name="T14" fmla="*/ 609 w 622"/>
              <a:gd name="T15" fmla="*/ 41 h 82"/>
              <a:gd name="T16" fmla="*/ 622 w 622"/>
              <a:gd name="T17" fmla="*/ 27 h 82"/>
              <a:gd name="T18" fmla="*/ 618 w 622"/>
              <a:gd name="T19" fmla="*/ 0 h 82"/>
              <a:gd name="T20" fmla="*/ 8 w 622"/>
              <a:gd name="T21" fmla="*/ 0 h 82"/>
              <a:gd name="T22" fmla="*/ 2 w 622"/>
              <a:gd name="T23" fmla="*/ 31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22" h="82">
                <a:moveTo>
                  <a:pt x="2" y="31"/>
                </a:moveTo>
                <a:cubicBezTo>
                  <a:pt x="5" y="61"/>
                  <a:pt x="34" y="82"/>
                  <a:pt x="65" y="79"/>
                </a:cubicBezTo>
                <a:cubicBezTo>
                  <a:pt x="65" y="79"/>
                  <a:pt x="65" y="79"/>
                  <a:pt x="65" y="79"/>
                </a:cubicBezTo>
                <a:cubicBezTo>
                  <a:pt x="65" y="79"/>
                  <a:pt x="66" y="78"/>
                  <a:pt x="66" y="78"/>
                </a:cubicBezTo>
                <a:cubicBezTo>
                  <a:pt x="583" y="20"/>
                  <a:pt x="583" y="20"/>
                  <a:pt x="583" y="20"/>
                </a:cubicBezTo>
                <a:cubicBezTo>
                  <a:pt x="585" y="31"/>
                  <a:pt x="585" y="31"/>
                  <a:pt x="585" y="31"/>
                </a:cubicBezTo>
                <a:cubicBezTo>
                  <a:pt x="586" y="38"/>
                  <a:pt x="592" y="43"/>
                  <a:pt x="600" y="43"/>
                </a:cubicBezTo>
                <a:cubicBezTo>
                  <a:pt x="609" y="41"/>
                  <a:pt x="609" y="41"/>
                  <a:pt x="609" y="41"/>
                </a:cubicBezTo>
                <a:cubicBezTo>
                  <a:pt x="617" y="41"/>
                  <a:pt x="622" y="34"/>
                  <a:pt x="622" y="27"/>
                </a:cubicBezTo>
                <a:cubicBezTo>
                  <a:pt x="618" y="0"/>
                  <a:pt x="618" y="0"/>
                  <a:pt x="618" y="0"/>
                </a:cubicBezTo>
                <a:cubicBezTo>
                  <a:pt x="8" y="0"/>
                  <a:pt x="8" y="0"/>
                  <a:pt x="8" y="0"/>
                </a:cubicBezTo>
                <a:cubicBezTo>
                  <a:pt x="2" y="9"/>
                  <a:pt x="0" y="20"/>
                  <a:pt x="2" y="3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</a:defRPr>
            </a:lvl9pPr>
          </a:lstStyle>
          <a:p>
            <a:endParaRPr lang="en-US" sz="1013"/>
          </a:p>
        </p:txBody>
      </p:sp>
      <p:grpSp>
        <p:nvGrpSpPr>
          <p:cNvPr id="86" name="组合 85"/>
          <p:cNvGrpSpPr/>
          <p:nvPr/>
        </p:nvGrpSpPr>
        <p:grpSpPr>
          <a:xfrm>
            <a:off x="5121406" y="3493452"/>
            <a:ext cx="1872109" cy="2653348"/>
            <a:chOff x="5121406" y="3493452"/>
            <a:chExt cx="1872109" cy="2653348"/>
          </a:xfrm>
        </p:grpSpPr>
        <p:sp>
          <p:nvSpPr>
            <p:cNvPr id="87" name="任意多边形: 形状 86"/>
            <p:cNvSpPr/>
            <p:nvPr/>
          </p:nvSpPr>
          <p:spPr bwMode="auto">
            <a:xfrm>
              <a:off x="5121406" y="3493452"/>
              <a:ext cx="1872109" cy="2653348"/>
            </a:xfrm>
            <a:custGeom>
              <a:avLst/>
              <a:gdLst>
                <a:gd name="T0" fmla="*/ 339 w 678"/>
                <a:gd name="T1" fmla="*/ 961 h 961"/>
                <a:gd name="T2" fmla="*/ 99 w 678"/>
                <a:gd name="T3" fmla="*/ 867 h 961"/>
                <a:gd name="T4" fmla="*/ 0 w 678"/>
                <a:gd name="T5" fmla="*/ 640 h 961"/>
                <a:gd name="T6" fmla="*/ 68 w 678"/>
                <a:gd name="T7" fmla="*/ 447 h 961"/>
                <a:gd name="T8" fmla="*/ 241 w 678"/>
                <a:gd name="T9" fmla="*/ 333 h 961"/>
                <a:gd name="T10" fmla="*/ 243 w 678"/>
                <a:gd name="T11" fmla="*/ 332 h 961"/>
                <a:gd name="T12" fmla="*/ 243 w 678"/>
                <a:gd name="T13" fmla="*/ 330 h 961"/>
                <a:gd name="T14" fmla="*/ 242 w 678"/>
                <a:gd name="T15" fmla="*/ 328 h 961"/>
                <a:gd name="T16" fmla="*/ 242 w 678"/>
                <a:gd name="T17" fmla="*/ 72 h 961"/>
                <a:gd name="T18" fmla="*/ 235 w 678"/>
                <a:gd name="T19" fmla="*/ 72 h 961"/>
                <a:gd name="T20" fmla="*/ 204 w 678"/>
                <a:gd name="T21" fmla="*/ 43 h 961"/>
                <a:gd name="T22" fmla="*/ 204 w 678"/>
                <a:gd name="T23" fmla="*/ 29 h 961"/>
                <a:gd name="T24" fmla="*/ 235 w 678"/>
                <a:gd name="T25" fmla="*/ 0 h 961"/>
                <a:gd name="T26" fmla="*/ 443 w 678"/>
                <a:gd name="T27" fmla="*/ 0 h 961"/>
                <a:gd name="T28" fmla="*/ 474 w 678"/>
                <a:gd name="T29" fmla="*/ 29 h 961"/>
                <a:gd name="T30" fmla="*/ 474 w 678"/>
                <a:gd name="T31" fmla="*/ 43 h 961"/>
                <a:gd name="T32" fmla="*/ 443 w 678"/>
                <a:gd name="T33" fmla="*/ 72 h 961"/>
                <a:gd name="T34" fmla="*/ 436 w 678"/>
                <a:gd name="T35" fmla="*/ 72 h 961"/>
                <a:gd name="T36" fmla="*/ 436 w 678"/>
                <a:gd name="T37" fmla="*/ 328 h 961"/>
                <a:gd name="T38" fmla="*/ 436 w 678"/>
                <a:gd name="T39" fmla="*/ 330 h 961"/>
                <a:gd name="T40" fmla="*/ 436 w 678"/>
                <a:gd name="T41" fmla="*/ 332 h 961"/>
                <a:gd name="T42" fmla="*/ 438 w 678"/>
                <a:gd name="T43" fmla="*/ 333 h 961"/>
                <a:gd name="T44" fmla="*/ 610 w 678"/>
                <a:gd name="T45" fmla="*/ 447 h 961"/>
                <a:gd name="T46" fmla="*/ 678 w 678"/>
                <a:gd name="T47" fmla="*/ 640 h 961"/>
                <a:gd name="T48" fmla="*/ 579 w 678"/>
                <a:gd name="T49" fmla="*/ 867 h 961"/>
                <a:gd name="T50" fmla="*/ 339 w 678"/>
                <a:gd name="T51" fmla="*/ 961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78" h="961">
                  <a:moveTo>
                    <a:pt x="339" y="961"/>
                  </a:moveTo>
                  <a:cubicBezTo>
                    <a:pt x="249" y="961"/>
                    <a:pt x="163" y="927"/>
                    <a:pt x="99" y="867"/>
                  </a:cubicBezTo>
                  <a:cubicBezTo>
                    <a:pt x="35" y="806"/>
                    <a:pt x="0" y="726"/>
                    <a:pt x="0" y="640"/>
                  </a:cubicBezTo>
                  <a:cubicBezTo>
                    <a:pt x="0" y="570"/>
                    <a:pt x="24" y="503"/>
                    <a:pt x="68" y="447"/>
                  </a:cubicBezTo>
                  <a:cubicBezTo>
                    <a:pt x="111" y="393"/>
                    <a:pt x="172" y="352"/>
                    <a:pt x="241" y="333"/>
                  </a:cubicBezTo>
                  <a:cubicBezTo>
                    <a:pt x="243" y="332"/>
                    <a:pt x="243" y="332"/>
                    <a:pt x="243" y="332"/>
                  </a:cubicBezTo>
                  <a:cubicBezTo>
                    <a:pt x="243" y="330"/>
                    <a:pt x="243" y="330"/>
                    <a:pt x="243" y="330"/>
                  </a:cubicBezTo>
                  <a:cubicBezTo>
                    <a:pt x="243" y="330"/>
                    <a:pt x="242" y="329"/>
                    <a:pt x="242" y="328"/>
                  </a:cubicBezTo>
                  <a:cubicBezTo>
                    <a:pt x="242" y="72"/>
                    <a:pt x="242" y="72"/>
                    <a:pt x="242" y="72"/>
                  </a:cubicBezTo>
                  <a:cubicBezTo>
                    <a:pt x="235" y="72"/>
                    <a:pt x="235" y="72"/>
                    <a:pt x="235" y="72"/>
                  </a:cubicBezTo>
                  <a:cubicBezTo>
                    <a:pt x="218" y="72"/>
                    <a:pt x="204" y="59"/>
                    <a:pt x="204" y="43"/>
                  </a:cubicBezTo>
                  <a:cubicBezTo>
                    <a:pt x="204" y="29"/>
                    <a:pt x="204" y="29"/>
                    <a:pt x="204" y="29"/>
                  </a:cubicBezTo>
                  <a:cubicBezTo>
                    <a:pt x="204" y="13"/>
                    <a:pt x="218" y="0"/>
                    <a:pt x="235" y="0"/>
                  </a:cubicBezTo>
                  <a:cubicBezTo>
                    <a:pt x="443" y="0"/>
                    <a:pt x="443" y="0"/>
                    <a:pt x="443" y="0"/>
                  </a:cubicBezTo>
                  <a:cubicBezTo>
                    <a:pt x="460" y="0"/>
                    <a:pt x="474" y="13"/>
                    <a:pt x="474" y="29"/>
                  </a:cubicBezTo>
                  <a:cubicBezTo>
                    <a:pt x="474" y="43"/>
                    <a:pt x="474" y="43"/>
                    <a:pt x="474" y="43"/>
                  </a:cubicBezTo>
                  <a:cubicBezTo>
                    <a:pt x="474" y="59"/>
                    <a:pt x="460" y="72"/>
                    <a:pt x="443" y="72"/>
                  </a:cubicBezTo>
                  <a:cubicBezTo>
                    <a:pt x="436" y="72"/>
                    <a:pt x="436" y="72"/>
                    <a:pt x="436" y="72"/>
                  </a:cubicBezTo>
                  <a:cubicBezTo>
                    <a:pt x="436" y="328"/>
                    <a:pt x="436" y="328"/>
                    <a:pt x="436" y="328"/>
                  </a:cubicBezTo>
                  <a:cubicBezTo>
                    <a:pt x="436" y="329"/>
                    <a:pt x="436" y="330"/>
                    <a:pt x="436" y="330"/>
                  </a:cubicBezTo>
                  <a:cubicBezTo>
                    <a:pt x="436" y="332"/>
                    <a:pt x="436" y="332"/>
                    <a:pt x="436" y="332"/>
                  </a:cubicBezTo>
                  <a:cubicBezTo>
                    <a:pt x="438" y="333"/>
                    <a:pt x="438" y="333"/>
                    <a:pt x="438" y="333"/>
                  </a:cubicBezTo>
                  <a:cubicBezTo>
                    <a:pt x="506" y="352"/>
                    <a:pt x="567" y="393"/>
                    <a:pt x="610" y="447"/>
                  </a:cubicBezTo>
                  <a:cubicBezTo>
                    <a:pt x="655" y="503"/>
                    <a:pt x="678" y="570"/>
                    <a:pt x="678" y="640"/>
                  </a:cubicBezTo>
                  <a:cubicBezTo>
                    <a:pt x="678" y="726"/>
                    <a:pt x="643" y="806"/>
                    <a:pt x="579" y="867"/>
                  </a:cubicBezTo>
                  <a:cubicBezTo>
                    <a:pt x="515" y="927"/>
                    <a:pt x="430" y="961"/>
                    <a:pt x="339" y="96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</a:defRPr>
              </a:lvl9pPr>
            </a:lstStyle>
            <a:p>
              <a:endParaRPr lang="en-US" sz="1013"/>
            </a:p>
          </p:txBody>
        </p:sp>
        <p:grpSp>
          <p:nvGrpSpPr>
            <p:cNvPr id="88" name="组合 87"/>
            <p:cNvGrpSpPr/>
            <p:nvPr/>
          </p:nvGrpSpPr>
          <p:grpSpPr>
            <a:xfrm>
              <a:off x="5148841" y="3518273"/>
              <a:ext cx="1817239" cy="2599787"/>
              <a:chOff x="5148841" y="3518273"/>
              <a:chExt cx="1817239" cy="2599787"/>
            </a:xfrm>
          </p:grpSpPr>
          <p:sp>
            <p:nvSpPr>
              <p:cNvPr id="89" name="任意多边形: 形状 88"/>
              <p:cNvSpPr/>
              <p:nvPr/>
            </p:nvSpPr>
            <p:spPr bwMode="auto">
              <a:xfrm>
                <a:off x="5223308" y="5599409"/>
                <a:ext cx="1668306" cy="518651"/>
              </a:xfrm>
              <a:custGeom>
                <a:avLst/>
                <a:gdLst>
                  <a:gd name="T0" fmla="*/ 69 w 604"/>
                  <a:gd name="T1" fmla="*/ 97 h 188"/>
                  <a:gd name="T2" fmla="*/ 302 w 604"/>
                  <a:gd name="T3" fmla="*/ 188 h 188"/>
                  <a:gd name="T4" fmla="*/ 535 w 604"/>
                  <a:gd name="T5" fmla="*/ 97 h 188"/>
                  <a:gd name="T6" fmla="*/ 604 w 604"/>
                  <a:gd name="T7" fmla="*/ 0 h 188"/>
                  <a:gd name="T8" fmla="*/ 0 w 604"/>
                  <a:gd name="T9" fmla="*/ 0 h 188"/>
                  <a:gd name="T10" fmla="*/ 69 w 604"/>
                  <a:gd name="T11" fmla="*/ 97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4" h="188">
                    <a:moveTo>
                      <a:pt x="69" y="97"/>
                    </a:moveTo>
                    <a:cubicBezTo>
                      <a:pt x="132" y="156"/>
                      <a:pt x="214" y="188"/>
                      <a:pt x="302" y="188"/>
                    </a:cubicBezTo>
                    <a:cubicBezTo>
                      <a:pt x="390" y="188"/>
                      <a:pt x="473" y="156"/>
                      <a:pt x="535" y="97"/>
                    </a:cubicBezTo>
                    <a:cubicBezTo>
                      <a:pt x="565" y="69"/>
                      <a:pt x="588" y="36"/>
                      <a:pt x="60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6" y="36"/>
                      <a:pt x="40" y="69"/>
                      <a:pt x="69" y="9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 sz="1013"/>
              </a:p>
            </p:txBody>
          </p:sp>
          <p:sp>
            <p:nvSpPr>
              <p:cNvPr id="90" name="任意多边形: 形状 89"/>
              <p:cNvSpPr/>
              <p:nvPr/>
            </p:nvSpPr>
            <p:spPr bwMode="auto">
              <a:xfrm>
                <a:off x="5198487" y="3518273"/>
                <a:ext cx="1717950" cy="1460583"/>
              </a:xfrm>
              <a:custGeom>
                <a:avLst/>
                <a:gdLst>
                  <a:gd name="T0" fmla="*/ 574 w 622"/>
                  <a:gd name="T1" fmla="*/ 444 h 529"/>
                  <a:gd name="T2" fmla="*/ 407 w 622"/>
                  <a:gd name="T3" fmla="*/ 333 h 529"/>
                  <a:gd name="T4" fmla="*/ 397 w 622"/>
                  <a:gd name="T5" fmla="*/ 330 h 529"/>
                  <a:gd name="T6" fmla="*/ 398 w 622"/>
                  <a:gd name="T7" fmla="*/ 321 h 529"/>
                  <a:gd name="T8" fmla="*/ 398 w 622"/>
                  <a:gd name="T9" fmla="*/ 319 h 529"/>
                  <a:gd name="T10" fmla="*/ 398 w 622"/>
                  <a:gd name="T11" fmla="*/ 53 h 529"/>
                  <a:gd name="T12" fmla="*/ 415 w 622"/>
                  <a:gd name="T13" fmla="*/ 53 h 529"/>
                  <a:gd name="T14" fmla="*/ 436 w 622"/>
                  <a:gd name="T15" fmla="*/ 34 h 529"/>
                  <a:gd name="T16" fmla="*/ 436 w 622"/>
                  <a:gd name="T17" fmla="*/ 20 h 529"/>
                  <a:gd name="T18" fmla="*/ 415 w 622"/>
                  <a:gd name="T19" fmla="*/ 0 h 529"/>
                  <a:gd name="T20" fmla="*/ 207 w 622"/>
                  <a:gd name="T21" fmla="*/ 0 h 529"/>
                  <a:gd name="T22" fmla="*/ 186 w 622"/>
                  <a:gd name="T23" fmla="*/ 20 h 529"/>
                  <a:gd name="T24" fmla="*/ 186 w 622"/>
                  <a:gd name="T25" fmla="*/ 34 h 529"/>
                  <a:gd name="T26" fmla="*/ 207 w 622"/>
                  <a:gd name="T27" fmla="*/ 53 h 529"/>
                  <a:gd name="T28" fmla="*/ 225 w 622"/>
                  <a:gd name="T29" fmla="*/ 53 h 529"/>
                  <a:gd name="T30" fmla="*/ 225 w 622"/>
                  <a:gd name="T31" fmla="*/ 319 h 529"/>
                  <a:gd name="T32" fmla="*/ 225 w 622"/>
                  <a:gd name="T33" fmla="*/ 321 h 529"/>
                  <a:gd name="T34" fmla="*/ 225 w 622"/>
                  <a:gd name="T35" fmla="*/ 330 h 529"/>
                  <a:gd name="T36" fmla="*/ 216 w 622"/>
                  <a:gd name="T37" fmla="*/ 333 h 529"/>
                  <a:gd name="T38" fmla="*/ 48 w 622"/>
                  <a:gd name="T39" fmla="*/ 444 h 529"/>
                  <a:gd name="T40" fmla="*/ 0 w 622"/>
                  <a:gd name="T41" fmla="*/ 529 h 529"/>
                  <a:gd name="T42" fmla="*/ 622 w 622"/>
                  <a:gd name="T43" fmla="*/ 529 h 529"/>
                  <a:gd name="T44" fmla="*/ 574 w 622"/>
                  <a:gd name="T45" fmla="*/ 444 h 5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22" h="529">
                    <a:moveTo>
                      <a:pt x="574" y="444"/>
                    </a:moveTo>
                    <a:cubicBezTo>
                      <a:pt x="532" y="391"/>
                      <a:pt x="473" y="352"/>
                      <a:pt x="407" y="333"/>
                    </a:cubicBezTo>
                    <a:cubicBezTo>
                      <a:pt x="397" y="330"/>
                      <a:pt x="397" y="330"/>
                      <a:pt x="397" y="330"/>
                    </a:cubicBezTo>
                    <a:cubicBezTo>
                      <a:pt x="398" y="321"/>
                      <a:pt x="398" y="321"/>
                      <a:pt x="398" y="321"/>
                    </a:cubicBezTo>
                    <a:cubicBezTo>
                      <a:pt x="398" y="320"/>
                      <a:pt x="398" y="320"/>
                      <a:pt x="398" y="319"/>
                    </a:cubicBezTo>
                    <a:cubicBezTo>
                      <a:pt x="398" y="53"/>
                      <a:pt x="398" y="53"/>
                      <a:pt x="398" y="53"/>
                    </a:cubicBezTo>
                    <a:cubicBezTo>
                      <a:pt x="415" y="53"/>
                      <a:pt x="415" y="53"/>
                      <a:pt x="415" y="53"/>
                    </a:cubicBezTo>
                    <a:cubicBezTo>
                      <a:pt x="427" y="53"/>
                      <a:pt x="436" y="45"/>
                      <a:pt x="436" y="34"/>
                    </a:cubicBezTo>
                    <a:cubicBezTo>
                      <a:pt x="436" y="20"/>
                      <a:pt x="436" y="20"/>
                      <a:pt x="436" y="20"/>
                    </a:cubicBezTo>
                    <a:cubicBezTo>
                      <a:pt x="436" y="9"/>
                      <a:pt x="427" y="0"/>
                      <a:pt x="415" y="0"/>
                    </a:cubicBezTo>
                    <a:cubicBezTo>
                      <a:pt x="207" y="0"/>
                      <a:pt x="207" y="0"/>
                      <a:pt x="207" y="0"/>
                    </a:cubicBezTo>
                    <a:cubicBezTo>
                      <a:pt x="196" y="0"/>
                      <a:pt x="186" y="9"/>
                      <a:pt x="186" y="20"/>
                    </a:cubicBezTo>
                    <a:cubicBezTo>
                      <a:pt x="186" y="34"/>
                      <a:pt x="186" y="34"/>
                      <a:pt x="186" y="34"/>
                    </a:cubicBezTo>
                    <a:cubicBezTo>
                      <a:pt x="186" y="45"/>
                      <a:pt x="196" y="53"/>
                      <a:pt x="207" y="53"/>
                    </a:cubicBezTo>
                    <a:cubicBezTo>
                      <a:pt x="225" y="53"/>
                      <a:pt x="225" y="53"/>
                      <a:pt x="225" y="53"/>
                    </a:cubicBezTo>
                    <a:cubicBezTo>
                      <a:pt x="225" y="319"/>
                      <a:pt x="225" y="319"/>
                      <a:pt x="225" y="319"/>
                    </a:cubicBezTo>
                    <a:cubicBezTo>
                      <a:pt x="225" y="320"/>
                      <a:pt x="225" y="320"/>
                      <a:pt x="225" y="321"/>
                    </a:cubicBezTo>
                    <a:cubicBezTo>
                      <a:pt x="225" y="330"/>
                      <a:pt x="225" y="330"/>
                      <a:pt x="225" y="330"/>
                    </a:cubicBezTo>
                    <a:cubicBezTo>
                      <a:pt x="216" y="333"/>
                      <a:pt x="216" y="333"/>
                      <a:pt x="216" y="333"/>
                    </a:cubicBezTo>
                    <a:cubicBezTo>
                      <a:pt x="149" y="352"/>
                      <a:pt x="90" y="391"/>
                      <a:pt x="48" y="444"/>
                    </a:cubicBezTo>
                    <a:cubicBezTo>
                      <a:pt x="27" y="470"/>
                      <a:pt x="11" y="499"/>
                      <a:pt x="0" y="529"/>
                    </a:cubicBezTo>
                    <a:cubicBezTo>
                      <a:pt x="622" y="529"/>
                      <a:pt x="622" y="529"/>
                      <a:pt x="622" y="529"/>
                    </a:cubicBezTo>
                    <a:cubicBezTo>
                      <a:pt x="611" y="499"/>
                      <a:pt x="595" y="470"/>
                      <a:pt x="574" y="44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solidFill>
                  <a:schemeClr val="bg1">
                    <a:lumMod val="9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pPr defTabSz="685800"/>
                <a:endParaRPr lang="en-US" sz="1013"/>
              </a:p>
            </p:txBody>
          </p:sp>
          <p:sp>
            <p:nvSpPr>
              <p:cNvPr id="91" name="任意多边形: 形状 90"/>
              <p:cNvSpPr/>
              <p:nvPr/>
            </p:nvSpPr>
            <p:spPr bwMode="auto">
              <a:xfrm>
                <a:off x="5148841" y="4978856"/>
                <a:ext cx="1817239" cy="620551"/>
              </a:xfrm>
              <a:custGeom>
                <a:avLst/>
                <a:gdLst>
                  <a:gd name="T0" fmla="*/ 640 w 658"/>
                  <a:gd name="T1" fmla="*/ 0 h 225"/>
                  <a:gd name="T2" fmla="*/ 18 w 658"/>
                  <a:gd name="T3" fmla="*/ 0 h 225"/>
                  <a:gd name="T4" fmla="*/ 0 w 658"/>
                  <a:gd name="T5" fmla="*/ 102 h 225"/>
                  <a:gd name="T6" fmla="*/ 27 w 658"/>
                  <a:gd name="T7" fmla="*/ 225 h 225"/>
                  <a:gd name="T8" fmla="*/ 631 w 658"/>
                  <a:gd name="T9" fmla="*/ 225 h 225"/>
                  <a:gd name="T10" fmla="*/ 658 w 658"/>
                  <a:gd name="T11" fmla="*/ 102 h 225"/>
                  <a:gd name="T12" fmla="*/ 640 w 658"/>
                  <a:gd name="T13" fmla="*/ 0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58" h="225">
                    <a:moveTo>
                      <a:pt x="640" y="0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6" y="33"/>
                      <a:pt x="0" y="67"/>
                      <a:pt x="0" y="102"/>
                    </a:cubicBezTo>
                    <a:cubicBezTo>
                      <a:pt x="0" y="145"/>
                      <a:pt x="9" y="187"/>
                      <a:pt x="27" y="225"/>
                    </a:cubicBezTo>
                    <a:cubicBezTo>
                      <a:pt x="631" y="225"/>
                      <a:pt x="631" y="225"/>
                      <a:pt x="631" y="225"/>
                    </a:cubicBezTo>
                    <a:cubicBezTo>
                      <a:pt x="649" y="187"/>
                      <a:pt x="658" y="145"/>
                      <a:pt x="658" y="102"/>
                    </a:cubicBezTo>
                    <a:cubicBezTo>
                      <a:pt x="658" y="67"/>
                      <a:pt x="652" y="33"/>
                      <a:pt x="64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 sz="1013"/>
              </a:p>
            </p:txBody>
          </p:sp>
        </p:grpSp>
      </p:grpSp>
      <p:cxnSp>
        <p:nvCxnSpPr>
          <p:cNvPr id="59" name="直接连接符 58"/>
          <p:cNvCxnSpPr>
            <a:stCxn id="84" idx="9"/>
          </p:cNvCxnSpPr>
          <p:nvPr/>
        </p:nvCxnSpPr>
        <p:spPr>
          <a:xfrm flipH="1">
            <a:off x="673100" y="2894164"/>
            <a:ext cx="3544854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组合 68"/>
          <p:cNvGrpSpPr/>
          <p:nvPr/>
        </p:nvGrpSpPr>
        <p:grpSpPr>
          <a:xfrm>
            <a:off x="673100" y="2449148"/>
            <a:ext cx="2976851" cy="1099513"/>
            <a:chOff x="673100" y="2449148"/>
            <a:chExt cx="2976851" cy="1099513"/>
          </a:xfrm>
        </p:grpSpPr>
        <p:sp>
          <p:nvSpPr>
            <p:cNvPr id="74" name="文本框 73">
              <a:extLst>
                <a:ext uri="{FF2B5EF4-FFF2-40B4-BE49-F238E27FC236}">
                  <a16:creationId xmlns:a16="http://schemas.microsoft.com/office/drawing/2014/main" id="{79969BF0-2219-4C08-A699-C08BB090AEFD}"/>
                </a:ext>
              </a:extLst>
            </p:cNvPr>
            <p:cNvSpPr txBox="1"/>
            <p:nvPr/>
          </p:nvSpPr>
          <p:spPr bwMode="auto">
            <a:xfrm>
              <a:off x="673100" y="2449148"/>
              <a:ext cx="2976851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b="1" dirty="0"/>
                <a:t>Text here</a:t>
              </a:r>
            </a:p>
          </p:txBody>
        </p:sp>
        <p:sp>
          <p:nvSpPr>
            <p:cNvPr id="75" name="矩形 74">
              <a:extLst>
                <a:ext uri="{FF2B5EF4-FFF2-40B4-BE49-F238E27FC236}">
                  <a16:creationId xmlns:a16="http://schemas.microsoft.com/office/drawing/2014/main" id="{E7AFB6E7-8A91-47A0-BCE9-B216D78254A7}"/>
                </a:ext>
              </a:extLst>
            </p:cNvPr>
            <p:cNvSpPr/>
            <p:nvPr/>
          </p:nvSpPr>
          <p:spPr bwMode="auto">
            <a:xfrm>
              <a:off x="673100" y="2890953"/>
              <a:ext cx="2976851" cy="6577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200" dirty="0"/>
                <a:t>Copy paste fonts. Choose the only option to retain text……</a:t>
              </a:r>
            </a:p>
          </p:txBody>
        </p:sp>
      </p:grpSp>
      <p:sp>
        <p:nvSpPr>
          <p:cNvPr id="70" name="矩形 69">
            <a:extLst>
              <a:ext uri="{FF2B5EF4-FFF2-40B4-BE49-F238E27FC236}">
                <a16:creationId xmlns:a16="http://schemas.microsoft.com/office/drawing/2014/main" id="{1A50C353-B594-45AB-8CB7-A4CFECE7488C}"/>
              </a:ext>
            </a:extLst>
          </p:cNvPr>
          <p:cNvSpPr/>
          <p:nvPr/>
        </p:nvSpPr>
        <p:spPr bwMode="auto">
          <a:xfrm>
            <a:off x="673100" y="3652599"/>
            <a:ext cx="2976851" cy="657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200" dirty="0"/>
              <a:t>Copy paste fonts. Choose the only option to retain text……</a:t>
            </a:r>
          </a:p>
        </p:txBody>
      </p:sp>
      <p:sp>
        <p:nvSpPr>
          <p:cNvPr id="71" name="矩形 70">
            <a:extLst>
              <a:ext uri="{FF2B5EF4-FFF2-40B4-BE49-F238E27FC236}">
                <a16:creationId xmlns:a16="http://schemas.microsoft.com/office/drawing/2014/main" id="{C27746BC-479E-40AB-ABB8-26860C4237BE}"/>
              </a:ext>
            </a:extLst>
          </p:cNvPr>
          <p:cNvSpPr/>
          <p:nvPr/>
        </p:nvSpPr>
        <p:spPr bwMode="auto">
          <a:xfrm>
            <a:off x="673100" y="4414243"/>
            <a:ext cx="2976851" cy="657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200" dirty="0"/>
              <a:t>Copy paste fonts. Choose the only option to retain text……</a:t>
            </a:r>
          </a:p>
        </p:txBody>
      </p:sp>
      <p:cxnSp>
        <p:nvCxnSpPr>
          <p:cNvPr id="72" name="直接连接符 71"/>
          <p:cNvCxnSpPr/>
          <p:nvPr/>
        </p:nvCxnSpPr>
        <p:spPr>
          <a:xfrm>
            <a:off x="669925" y="3600630"/>
            <a:ext cx="285451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直接连接符 72"/>
          <p:cNvCxnSpPr/>
          <p:nvPr/>
        </p:nvCxnSpPr>
        <p:spPr>
          <a:xfrm>
            <a:off x="669925" y="4362276"/>
            <a:ext cx="285451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文本框 62">
            <a:extLst>
              <a:ext uri="{FF2B5EF4-FFF2-40B4-BE49-F238E27FC236}">
                <a16:creationId xmlns:a16="http://schemas.microsoft.com/office/drawing/2014/main" id="{79969BF0-2219-4C08-A699-C08BB090AEFD}"/>
              </a:ext>
            </a:extLst>
          </p:cNvPr>
          <p:cNvSpPr txBox="1"/>
          <p:nvPr/>
        </p:nvSpPr>
        <p:spPr bwMode="auto">
          <a:xfrm>
            <a:off x="8542049" y="1897166"/>
            <a:ext cx="2976851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/>
              <a:t>Text here</a:t>
            </a:r>
          </a:p>
        </p:txBody>
      </p:sp>
      <p:sp>
        <p:nvSpPr>
          <p:cNvPr id="64" name="矩形 63">
            <a:extLst>
              <a:ext uri="{FF2B5EF4-FFF2-40B4-BE49-F238E27FC236}">
                <a16:creationId xmlns:a16="http://schemas.microsoft.com/office/drawing/2014/main" id="{E7AFB6E7-8A91-47A0-BCE9-B216D78254A7}"/>
              </a:ext>
            </a:extLst>
          </p:cNvPr>
          <p:cNvSpPr/>
          <p:nvPr/>
        </p:nvSpPr>
        <p:spPr bwMode="auto">
          <a:xfrm>
            <a:off x="8542049" y="2338971"/>
            <a:ext cx="2976851" cy="657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200" dirty="0"/>
              <a:t>Copy paste fonts. Choose the only option to retain text……</a:t>
            </a:r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1A50C353-B594-45AB-8CB7-A4CFECE7488C}"/>
              </a:ext>
            </a:extLst>
          </p:cNvPr>
          <p:cNvSpPr/>
          <p:nvPr/>
        </p:nvSpPr>
        <p:spPr bwMode="auto">
          <a:xfrm>
            <a:off x="8542049" y="3100617"/>
            <a:ext cx="2976851" cy="657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200" dirty="0"/>
              <a:t>Copy paste fonts. Choose the only option to retain text……</a:t>
            </a:r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C27746BC-479E-40AB-ABB8-26860C4237BE}"/>
              </a:ext>
            </a:extLst>
          </p:cNvPr>
          <p:cNvSpPr/>
          <p:nvPr/>
        </p:nvSpPr>
        <p:spPr bwMode="auto">
          <a:xfrm>
            <a:off x="8542049" y="3862261"/>
            <a:ext cx="2976851" cy="657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200" dirty="0"/>
              <a:t>Copy paste fonts. Choose the only option to retain text……</a:t>
            </a:r>
          </a:p>
        </p:txBody>
      </p:sp>
      <p:cxnSp>
        <p:nvCxnSpPr>
          <p:cNvPr id="67" name="直接连接符 66"/>
          <p:cNvCxnSpPr/>
          <p:nvPr/>
        </p:nvCxnSpPr>
        <p:spPr>
          <a:xfrm>
            <a:off x="8664390" y="3048648"/>
            <a:ext cx="285451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接连接符 67"/>
          <p:cNvCxnSpPr/>
          <p:nvPr/>
        </p:nvCxnSpPr>
        <p:spPr>
          <a:xfrm>
            <a:off x="8664390" y="3810294"/>
            <a:ext cx="285451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接连接符 61"/>
          <p:cNvCxnSpPr>
            <a:stCxn id="80" idx="16"/>
          </p:cNvCxnSpPr>
          <p:nvPr/>
        </p:nvCxnSpPr>
        <p:spPr>
          <a:xfrm>
            <a:off x="7974047" y="2338971"/>
            <a:ext cx="3546441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88477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08EED9E-B562-44F3-8EC3-B357EE2188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2427465-03B5-4A2B-B6D8-5035006E74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8108FCA-40CD-438A-B8B0-059CD4E879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D46E85EE-42A4-4941-8AA2-67DE7EF56A5B}"/>
              </a:ext>
            </a:extLst>
          </p:cNvPr>
          <p:cNvGrpSpPr/>
          <p:nvPr/>
        </p:nvGrpSpPr>
        <p:grpSpPr>
          <a:xfrm>
            <a:off x="2274538" y="1377932"/>
            <a:ext cx="2452120" cy="4521236"/>
            <a:chOff x="1817010" y="1547262"/>
            <a:chExt cx="2452120" cy="4521236"/>
          </a:xfrm>
        </p:grpSpPr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7F3B5F22-4D1D-48F5-8329-D60D45CAD4B2}"/>
                </a:ext>
              </a:extLst>
            </p:cNvPr>
            <p:cNvSpPr/>
            <p:nvPr/>
          </p:nvSpPr>
          <p:spPr bwMode="auto">
            <a:xfrm rot="5400000" flipH="1">
              <a:off x="2279854" y="5172402"/>
              <a:ext cx="495784" cy="1296408"/>
            </a:xfrm>
            <a:custGeom>
              <a:avLst/>
              <a:gdLst>
                <a:gd name="T0" fmla="*/ 14 w 32"/>
                <a:gd name="T1" fmla="*/ 9 h 83"/>
                <a:gd name="T2" fmla="*/ 18 w 32"/>
                <a:gd name="T3" fmla="*/ 16 h 83"/>
                <a:gd name="T4" fmla="*/ 3 w 32"/>
                <a:gd name="T5" fmla="*/ 73 h 83"/>
                <a:gd name="T6" fmla="*/ 0 w 32"/>
                <a:gd name="T7" fmla="*/ 78 h 83"/>
                <a:gd name="T8" fmla="*/ 5 w 32"/>
                <a:gd name="T9" fmla="*/ 83 h 83"/>
                <a:gd name="T10" fmla="*/ 10 w 32"/>
                <a:gd name="T11" fmla="*/ 78 h 83"/>
                <a:gd name="T12" fmla="*/ 7 w 32"/>
                <a:gd name="T13" fmla="*/ 74 h 83"/>
                <a:gd name="T14" fmla="*/ 21 w 32"/>
                <a:gd name="T15" fmla="*/ 17 h 83"/>
                <a:gd name="T16" fmla="*/ 23 w 32"/>
                <a:gd name="T17" fmla="*/ 18 h 83"/>
                <a:gd name="T18" fmla="*/ 32 w 32"/>
                <a:gd name="T19" fmla="*/ 9 h 83"/>
                <a:gd name="T20" fmla="*/ 23 w 32"/>
                <a:gd name="T21" fmla="*/ 0 h 83"/>
                <a:gd name="T22" fmla="*/ 14 w 32"/>
                <a:gd name="T23" fmla="*/ 9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83">
                  <a:moveTo>
                    <a:pt x="14" y="9"/>
                  </a:moveTo>
                  <a:cubicBezTo>
                    <a:pt x="14" y="12"/>
                    <a:pt x="16" y="14"/>
                    <a:pt x="18" y="16"/>
                  </a:cubicBezTo>
                  <a:cubicBezTo>
                    <a:pt x="9" y="34"/>
                    <a:pt x="4" y="53"/>
                    <a:pt x="3" y="73"/>
                  </a:cubicBezTo>
                  <a:cubicBezTo>
                    <a:pt x="2" y="74"/>
                    <a:pt x="0" y="76"/>
                    <a:pt x="0" y="78"/>
                  </a:cubicBezTo>
                  <a:cubicBezTo>
                    <a:pt x="0" y="81"/>
                    <a:pt x="2" y="83"/>
                    <a:pt x="5" y="83"/>
                  </a:cubicBezTo>
                  <a:cubicBezTo>
                    <a:pt x="8" y="83"/>
                    <a:pt x="10" y="81"/>
                    <a:pt x="10" y="78"/>
                  </a:cubicBezTo>
                  <a:cubicBezTo>
                    <a:pt x="10" y="76"/>
                    <a:pt x="8" y="74"/>
                    <a:pt x="7" y="74"/>
                  </a:cubicBezTo>
                  <a:cubicBezTo>
                    <a:pt x="7" y="54"/>
                    <a:pt x="12" y="35"/>
                    <a:pt x="21" y="17"/>
                  </a:cubicBezTo>
                  <a:cubicBezTo>
                    <a:pt x="22" y="17"/>
                    <a:pt x="22" y="18"/>
                    <a:pt x="23" y="18"/>
                  </a:cubicBezTo>
                  <a:cubicBezTo>
                    <a:pt x="28" y="18"/>
                    <a:pt x="32" y="14"/>
                    <a:pt x="32" y="9"/>
                  </a:cubicBezTo>
                  <a:cubicBezTo>
                    <a:pt x="32" y="4"/>
                    <a:pt x="28" y="0"/>
                    <a:pt x="23" y="0"/>
                  </a:cubicBezTo>
                  <a:cubicBezTo>
                    <a:pt x="18" y="0"/>
                    <a:pt x="14" y="4"/>
                    <a:pt x="14" y="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solidFill>
                <a:schemeClr val="bg1"/>
              </a:solidFill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C9FD5C40-DB9B-4372-83E1-8D2952413AB2}"/>
                </a:ext>
              </a:extLst>
            </p:cNvPr>
            <p:cNvSpPr/>
            <p:nvPr/>
          </p:nvSpPr>
          <p:spPr bwMode="auto">
            <a:xfrm rot="5400000" flipH="1">
              <a:off x="2976631" y="4779347"/>
              <a:ext cx="991567" cy="999384"/>
            </a:xfrm>
            <a:custGeom>
              <a:avLst/>
              <a:gdLst>
                <a:gd name="T0" fmla="*/ 46 w 64"/>
                <a:gd name="T1" fmla="*/ 9 h 64"/>
                <a:gd name="T2" fmla="*/ 47 w 64"/>
                <a:gd name="T3" fmla="*/ 12 h 64"/>
                <a:gd name="T4" fmla="*/ 6 w 64"/>
                <a:gd name="T5" fmla="*/ 55 h 64"/>
                <a:gd name="T6" fmla="*/ 5 w 64"/>
                <a:gd name="T7" fmla="*/ 55 h 64"/>
                <a:gd name="T8" fmla="*/ 0 w 64"/>
                <a:gd name="T9" fmla="*/ 59 h 64"/>
                <a:gd name="T10" fmla="*/ 5 w 64"/>
                <a:gd name="T11" fmla="*/ 64 h 64"/>
                <a:gd name="T12" fmla="*/ 9 w 64"/>
                <a:gd name="T13" fmla="*/ 59 h 64"/>
                <a:gd name="T14" fmla="*/ 8 w 64"/>
                <a:gd name="T15" fmla="*/ 56 h 64"/>
                <a:gd name="T16" fmla="*/ 49 w 64"/>
                <a:gd name="T17" fmla="*/ 15 h 64"/>
                <a:gd name="T18" fmla="*/ 55 w 64"/>
                <a:gd name="T19" fmla="*/ 18 h 64"/>
                <a:gd name="T20" fmla="*/ 64 w 64"/>
                <a:gd name="T21" fmla="*/ 9 h 64"/>
                <a:gd name="T22" fmla="*/ 55 w 64"/>
                <a:gd name="T23" fmla="*/ 0 h 64"/>
                <a:gd name="T24" fmla="*/ 46 w 64"/>
                <a:gd name="T25" fmla="*/ 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64">
                  <a:moveTo>
                    <a:pt x="46" y="9"/>
                  </a:moveTo>
                  <a:cubicBezTo>
                    <a:pt x="46" y="10"/>
                    <a:pt x="47" y="11"/>
                    <a:pt x="47" y="12"/>
                  </a:cubicBezTo>
                  <a:cubicBezTo>
                    <a:pt x="30" y="23"/>
                    <a:pt x="16" y="38"/>
                    <a:pt x="6" y="55"/>
                  </a:cubicBezTo>
                  <a:cubicBezTo>
                    <a:pt x="5" y="55"/>
                    <a:pt x="5" y="55"/>
                    <a:pt x="5" y="55"/>
                  </a:cubicBezTo>
                  <a:cubicBezTo>
                    <a:pt x="2" y="55"/>
                    <a:pt x="0" y="57"/>
                    <a:pt x="0" y="59"/>
                  </a:cubicBezTo>
                  <a:cubicBezTo>
                    <a:pt x="0" y="62"/>
                    <a:pt x="2" y="64"/>
                    <a:pt x="5" y="64"/>
                  </a:cubicBezTo>
                  <a:cubicBezTo>
                    <a:pt x="7" y="64"/>
                    <a:pt x="9" y="62"/>
                    <a:pt x="9" y="59"/>
                  </a:cubicBezTo>
                  <a:cubicBezTo>
                    <a:pt x="9" y="58"/>
                    <a:pt x="9" y="57"/>
                    <a:pt x="8" y="56"/>
                  </a:cubicBezTo>
                  <a:cubicBezTo>
                    <a:pt x="19" y="40"/>
                    <a:pt x="32" y="25"/>
                    <a:pt x="49" y="15"/>
                  </a:cubicBezTo>
                  <a:cubicBezTo>
                    <a:pt x="50" y="16"/>
                    <a:pt x="53" y="18"/>
                    <a:pt x="55" y="18"/>
                  </a:cubicBezTo>
                  <a:cubicBezTo>
                    <a:pt x="60" y="18"/>
                    <a:pt x="64" y="14"/>
                    <a:pt x="64" y="9"/>
                  </a:cubicBezTo>
                  <a:cubicBezTo>
                    <a:pt x="64" y="4"/>
                    <a:pt x="60" y="0"/>
                    <a:pt x="55" y="0"/>
                  </a:cubicBezTo>
                  <a:cubicBezTo>
                    <a:pt x="50" y="0"/>
                    <a:pt x="46" y="4"/>
                    <a:pt x="46" y="9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solidFill>
                <a:schemeClr val="bg1"/>
              </a:solidFill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F04ACD2B-087F-4251-A5BC-34AAB9059E3D}"/>
                </a:ext>
              </a:extLst>
            </p:cNvPr>
            <p:cNvSpPr/>
            <p:nvPr/>
          </p:nvSpPr>
          <p:spPr bwMode="auto">
            <a:xfrm rot="5400000" flipH="1">
              <a:off x="3376942" y="4092063"/>
              <a:ext cx="1284125" cy="500250"/>
            </a:xfrm>
            <a:custGeom>
              <a:avLst/>
              <a:gdLst>
                <a:gd name="T0" fmla="*/ 65 w 83"/>
                <a:gd name="T1" fmla="*/ 8 h 32"/>
                <a:gd name="T2" fmla="*/ 7 w 83"/>
                <a:gd name="T3" fmla="*/ 24 h 32"/>
                <a:gd name="T4" fmla="*/ 4 w 83"/>
                <a:gd name="T5" fmla="*/ 23 h 32"/>
                <a:gd name="T6" fmla="*/ 0 w 83"/>
                <a:gd name="T7" fmla="*/ 28 h 32"/>
                <a:gd name="T8" fmla="*/ 4 w 83"/>
                <a:gd name="T9" fmla="*/ 32 h 32"/>
                <a:gd name="T10" fmla="*/ 9 w 83"/>
                <a:gd name="T11" fmla="*/ 28 h 32"/>
                <a:gd name="T12" fmla="*/ 9 w 83"/>
                <a:gd name="T13" fmla="*/ 27 h 32"/>
                <a:gd name="T14" fmla="*/ 65 w 83"/>
                <a:gd name="T15" fmla="*/ 11 h 32"/>
                <a:gd name="T16" fmla="*/ 74 w 83"/>
                <a:gd name="T17" fmla="*/ 18 h 32"/>
                <a:gd name="T18" fmla="*/ 83 w 83"/>
                <a:gd name="T19" fmla="*/ 9 h 32"/>
                <a:gd name="T20" fmla="*/ 74 w 83"/>
                <a:gd name="T21" fmla="*/ 0 h 32"/>
                <a:gd name="T22" fmla="*/ 65 w 83"/>
                <a:gd name="T23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32">
                  <a:moveTo>
                    <a:pt x="65" y="8"/>
                  </a:moveTo>
                  <a:cubicBezTo>
                    <a:pt x="45" y="9"/>
                    <a:pt x="25" y="15"/>
                    <a:pt x="7" y="24"/>
                  </a:cubicBezTo>
                  <a:cubicBezTo>
                    <a:pt x="7" y="23"/>
                    <a:pt x="5" y="23"/>
                    <a:pt x="4" y="23"/>
                  </a:cubicBezTo>
                  <a:cubicBezTo>
                    <a:pt x="2" y="23"/>
                    <a:pt x="0" y="25"/>
                    <a:pt x="0" y="28"/>
                  </a:cubicBezTo>
                  <a:cubicBezTo>
                    <a:pt x="0" y="30"/>
                    <a:pt x="2" y="32"/>
                    <a:pt x="4" y="32"/>
                  </a:cubicBezTo>
                  <a:cubicBezTo>
                    <a:pt x="7" y="32"/>
                    <a:pt x="9" y="30"/>
                    <a:pt x="9" y="28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26" y="17"/>
                    <a:pt x="46" y="12"/>
                    <a:pt x="65" y="11"/>
                  </a:cubicBezTo>
                  <a:cubicBezTo>
                    <a:pt x="66" y="15"/>
                    <a:pt x="70" y="18"/>
                    <a:pt x="74" y="18"/>
                  </a:cubicBezTo>
                  <a:cubicBezTo>
                    <a:pt x="79" y="18"/>
                    <a:pt x="83" y="14"/>
                    <a:pt x="83" y="9"/>
                  </a:cubicBezTo>
                  <a:cubicBezTo>
                    <a:pt x="83" y="4"/>
                    <a:pt x="79" y="0"/>
                    <a:pt x="74" y="0"/>
                  </a:cubicBezTo>
                  <a:cubicBezTo>
                    <a:pt x="70" y="0"/>
                    <a:pt x="66" y="3"/>
                    <a:pt x="65" y="8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solidFill>
                <a:schemeClr val="bg1"/>
              </a:solidFill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6B8053AB-BD05-4A44-B951-C0B3083B161F}"/>
                </a:ext>
              </a:extLst>
            </p:cNvPr>
            <p:cNvSpPr/>
            <p:nvPr/>
          </p:nvSpPr>
          <p:spPr bwMode="auto">
            <a:xfrm rot="5400000" flipH="1">
              <a:off x="3313852" y="3024005"/>
              <a:ext cx="1285241" cy="500250"/>
            </a:xfrm>
            <a:custGeom>
              <a:avLst/>
              <a:gdLst>
                <a:gd name="T0" fmla="*/ 5 w 83"/>
                <a:gd name="T1" fmla="*/ 0 h 32"/>
                <a:gd name="T2" fmla="*/ 0 w 83"/>
                <a:gd name="T3" fmla="*/ 5 h 32"/>
                <a:gd name="T4" fmla="*/ 5 w 83"/>
                <a:gd name="T5" fmla="*/ 10 h 32"/>
                <a:gd name="T6" fmla="*/ 9 w 83"/>
                <a:gd name="T7" fmla="*/ 7 h 32"/>
                <a:gd name="T8" fmla="*/ 66 w 83"/>
                <a:gd name="T9" fmla="*/ 21 h 32"/>
                <a:gd name="T10" fmla="*/ 66 w 83"/>
                <a:gd name="T11" fmla="*/ 23 h 32"/>
                <a:gd name="T12" fmla="*/ 74 w 83"/>
                <a:gd name="T13" fmla="*/ 32 h 32"/>
                <a:gd name="T14" fmla="*/ 83 w 83"/>
                <a:gd name="T15" fmla="*/ 23 h 32"/>
                <a:gd name="T16" fmla="*/ 74 w 83"/>
                <a:gd name="T17" fmla="*/ 15 h 32"/>
                <a:gd name="T18" fmla="*/ 67 w 83"/>
                <a:gd name="T19" fmla="*/ 18 h 32"/>
                <a:gd name="T20" fmla="*/ 10 w 83"/>
                <a:gd name="T21" fmla="*/ 3 h 32"/>
                <a:gd name="T22" fmla="*/ 5 w 83"/>
                <a:gd name="T23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32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7" y="10"/>
                    <a:pt x="9" y="8"/>
                    <a:pt x="9" y="7"/>
                  </a:cubicBezTo>
                  <a:cubicBezTo>
                    <a:pt x="29" y="7"/>
                    <a:pt x="48" y="12"/>
                    <a:pt x="66" y="21"/>
                  </a:cubicBezTo>
                  <a:cubicBezTo>
                    <a:pt x="66" y="22"/>
                    <a:pt x="66" y="23"/>
                    <a:pt x="66" y="23"/>
                  </a:cubicBezTo>
                  <a:cubicBezTo>
                    <a:pt x="66" y="28"/>
                    <a:pt x="70" y="32"/>
                    <a:pt x="74" y="32"/>
                  </a:cubicBezTo>
                  <a:cubicBezTo>
                    <a:pt x="79" y="32"/>
                    <a:pt x="83" y="28"/>
                    <a:pt x="83" y="23"/>
                  </a:cubicBezTo>
                  <a:cubicBezTo>
                    <a:pt x="83" y="19"/>
                    <a:pt x="79" y="15"/>
                    <a:pt x="74" y="15"/>
                  </a:cubicBezTo>
                  <a:cubicBezTo>
                    <a:pt x="72" y="15"/>
                    <a:pt x="69" y="16"/>
                    <a:pt x="67" y="18"/>
                  </a:cubicBezTo>
                  <a:cubicBezTo>
                    <a:pt x="50" y="9"/>
                    <a:pt x="30" y="4"/>
                    <a:pt x="10" y="3"/>
                  </a:cubicBezTo>
                  <a:cubicBezTo>
                    <a:pt x="9" y="2"/>
                    <a:pt x="7" y="0"/>
                    <a:pt x="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solidFill>
                <a:schemeClr val="bg1"/>
              </a:solidFill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4459C250-1EFB-4EC1-9AA6-4C419D426DC9}"/>
                </a:ext>
              </a:extLst>
            </p:cNvPr>
            <p:cNvSpPr/>
            <p:nvPr/>
          </p:nvSpPr>
          <p:spPr bwMode="auto">
            <a:xfrm rot="5400000" flipH="1">
              <a:off x="2906282" y="1829211"/>
              <a:ext cx="991567" cy="1015016"/>
            </a:xfrm>
            <a:custGeom>
              <a:avLst/>
              <a:gdLst>
                <a:gd name="T0" fmla="*/ 0 w 64"/>
                <a:gd name="T1" fmla="*/ 4 h 65"/>
                <a:gd name="T2" fmla="*/ 4 w 64"/>
                <a:gd name="T3" fmla="*/ 9 h 65"/>
                <a:gd name="T4" fmla="*/ 8 w 64"/>
                <a:gd name="T5" fmla="*/ 8 h 65"/>
                <a:gd name="T6" fmla="*/ 50 w 64"/>
                <a:gd name="T7" fmla="*/ 49 h 65"/>
                <a:gd name="T8" fmla="*/ 47 w 64"/>
                <a:gd name="T9" fmla="*/ 56 h 65"/>
                <a:gd name="T10" fmla="*/ 56 w 64"/>
                <a:gd name="T11" fmla="*/ 65 h 65"/>
                <a:gd name="T12" fmla="*/ 64 w 64"/>
                <a:gd name="T13" fmla="*/ 56 h 65"/>
                <a:gd name="T14" fmla="*/ 56 w 64"/>
                <a:gd name="T15" fmla="*/ 47 h 65"/>
                <a:gd name="T16" fmla="*/ 52 w 64"/>
                <a:gd name="T17" fmla="*/ 47 h 65"/>
                <a:gd name="T18" fmla="*/ 9 w 64"/>
                <a:gd name="T19" fmla="*/ 5 h 65"/>
                <a:gd name="T20" fmla="*/ 9 w 64"/>
                <a:gd name="T21" fmla="*/ 4 h 65"/>
                <a:gd name="T22" fmla="*/ 4 w 64"/>
                <a:gd name="T23" fmla="*/ 0 h 65"/>
                <a:gd name="T24" fmla="*/ 0 w 64"/>
                <a:gd name="T25" fmla="*/ 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65">
                  <a:moveTo>
                    <a:pt x="0" y="4"/>
                  </a:moveTo>
                  <a:cubicBezTo>
                    <a:pt x="0" y="7"/>
                    <a:pt x="2" y="9"/>
                    <a:pt x="4" y="9"/>
                  </a:cubicBezTo>
                  <a:cubicBezTo>
                    <a:pt x="6" y="9"/>
                    <a:pt x="7" y="9"/>
                    <a:pt x="8" y="8"/>
                  </a:cubicBezTo>
                  <a:cubicBezTo>
                    <a:pt x="24" y="19"/>
                    <a:pt x="39" y="33"/>
                    <a:pt x="50" y="49"/>
                  </a:cubicBezTo>
                  <a:cubicBezTo>
                    <a:pt x="48" y="51"/>
                    <a:pt x="47" y="53"/>
                    <a:pt x="47" y="56"/>
                  </a:cubicBezTo>
                  <a:cubicBezTo>
                    <a:pt x="47" y="61"/>
                    <a:pt x="51" y="65"/>
                    <a:pt x="56" y="65"/>
                  </a:cubicBezTo>
                  <a:cubicBezTo>
                    <a:pt x="60" y="65"/>
                    <a:pt x="64" y="61"/>
                    <a:pt x="64" y="56"/>
                  </a:cubicBezTo>
                  <a:cubicBezTo>
                    <a:pt x="64" y="51"/>
                    <a:pt x="60" y="47"/>
                    <a:pt x="56" y="47"/>
                  </a:cubicBezTo>
                  <a:cubicBezTo>
                    <a:pt x="54" y="47"/>
                    <a:pt x="53" y="47"/>
                    <a:pt x="52" y="47"/>
                  </a:cubicBezTo>
                  <a:cubicBezTo>
                    <a:pt x="41" y="30"/>
                    <a:pt x="26" y="16"/>
                    <a:pt x="9" y="5"/>
                  </a:cubicBezTo>
                  <a:cubicBezTo>
                    <a:pt x="9" y="5"/>
                    <a:pt x="9" y="5"/>
                    <a:pt x="9" y="4"/>
                  </a:cubicBezTo>
                  <a:cubicBezTo>
                    <a:pt x="9" y="2"/>
                    <a:pt x="7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solidFill>
                <a:schemeClr val="bg1"/>
              </a:solidFill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FA0C0D2E-621C-4F07-BBBB-F2B479D3D6FB}"/>
                </a:ext>
              </a:extLst>
            </p:cNvPr>
            <p:cNvSpPr/>
            <p:nvPr/>
          </p:nvSpPr>
          <p:spPr bwMode="auto">
            <a:xfrm rot="5400000" flipH="1">
              <a:off x="2217322" y="1146950"/>
              <a:ext cx="495784" cy="1296408"/>
            </a:xfrm>
            <a:custGeom>
              <a:avLst/>
              <a:gdLst>
                <a:gd name="T0" fmla="*/ 0 w 32"/>
                <a:gd name="T1" fmla="*/ 5 h 83"/>
                <a:gd name="T2" fmla="*/ 5 w 32"/>
                <a:gd name="T3" fmla="*/ 9 h 83"/>
                <a:gd name="T4" fmla="*/ 5 w 32"/>
                <a:gd name="T5" fmla="*/ 9 h 83"/>
                <a:gd name="T6" fmla="*/ 21 w 32"/>
                <a:gd name="T7" fmla="*/ 65 h 83"/>
                <a:gd name="T8" fmla="*/ 14 w 32"/>
                <a:gd name="T9" fmla="*/ 74 h 83"/>
                <a:gd name="T10" fmla="*/ 23 w 32"/>
                <a:gd name="T11" fmla="*/ 83 h 83"/>
                <a:gd name="T12" fmla="*/ 32 w 32"/>
                <a:gd name="T13" fmla="*/ 74 h 83"/>
                <a:gd name="T14" fmla="*/ 24 w 32"/>
                <a:gd name="T15" fmla="*/ 65 h 83"/>
                <a:gd name="T16" fmla="*/ 8 w 32"/>
                <a:gd name="T17" fmla="*/ 8 h 83"/>
                <a:gd name="T18" fmla="*/ 9 w 32"/>
                <a:gd name="T19" fmla="*/ 5 h 83"/>
                <a:gd name="T20" fmla="*/ 5 w 32"/>
                <a:gd name="T21" fmla="*/ 0 h 83"/>
                <a:gd name="T22" fmla="*/ 0 w 32"/>
                <a:gd name="T23" fmla="*/ 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" h="83">
                  <a:moveTo>
                    <a:pt x="0" y="5"/>
                  </a:moveTo>
                  <a:cubicBezTo>
                    <a:pt x="0" y="7"/>
                    <a:pt x="2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15" y="27"/>
                    <a:pt x="20" y="46"/>
                    <a:pt x="21" y="65"/>
                  </a:cubicBezTo>
                  <a:cubicBezTo>
                    <a:pt x="17" y="66"/>
                    <a:pt x="14" y="70"/>
                    <a:pt x="14" y="74"/>
                  </a:cubicBezTo>
                  <a:cubicBezTo>
                    <a:pt x="14" y="79"/>
                    <a:pt x="18" y="83"/>
                    <a:pt x="23" y="83"/>
                  </a:cubicBezTo>
                  <a:cubicBezTo>
                    <a:pt x="28" y="83"/>
                    <a:pt x="32" y="79"/>
                    <a:pt x="32" y="74"/>
                  </a:cubicBezTo>
                  <a:cubicBezTo>
                    <a:pt x="32" y="69"/>
                    <a:pt x="29" y="66"/>
                    <a:pt x="24" y="65"/>
                  </a:cubicBezTo>
                  <a:cubicBezTo>
                    <a:pt x="23" y="45"/>
                    <a:pt x="18" y="25"/>
                    <a:pt x="8" y="8"/>
                  </a:cubicBezTo>
                  <a:cubicBezTo>
                    <a:pt x="9" y="7"/>
                    <a:pt x="9" y="6"/>
                    <a:pt x="9" y="5"/>
                  </a:cubicBezTo>
                  <a:cubicBezTo>
                    <a:pt x="9" y="2"/>
                    <a:pt x="7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19050">
              <a:solidFill>
                <a:schemeClr val="bg1"/>
              </a:solidFill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</p:grp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EE4CA51D-B411-4351-8BF5-B629D2C7A88C}"/>
              </a:ext>
            </a:extLst>
          </p:cNvPr>
          <p:cNvGrpSpPr/>
          <p:nvPr/>
        </p:nvGrpSpPr>
        <p:grpSpPr>
          <a:xfrm>
            <a:off x="1160032" y="1910093"/>
            <a:ext cx="3106010" cy="3456915"/>
            <a:chOff x="957263" y="2343150"/>
            <a:chExt cx="2459038" cy="2736850"/>
          </a:xfrm>
        </p:grpSpPr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EBEBE78F-9CA2-4681-A715-715A42357E61}"/>
                </a:ext>
              </a:extLst>
            </p:cNvPr>
            <p:cNvSpPr/>
            <p:nvPr/>
          </p:nvSpPr>
          <p:spPr bwMode="auto">
            <a:xfrm>
              <a:off x="957263" y="2343150"/>
              <a:ext cx="976313" cy="2736850"/>
            </a:xfrm>
            <a:custGeom>
              <a:avLst/>
              <a:gdLst>
                <a:gd name="T0" fmla="*/ 122 w 139"/>
                <a:gd name="T1" fmla="*/ 0 h 390"/>
                <a:gd name="T2" fmla="*/ 122 w 139"/>
                <a:gd name="T3" fmla="*/ 22 h 390"/>
                <a:gd name="T4" fmla="*/ 42 w 139"/>
                <a:gd name="T5" fmla="*/ 50 h 390"/>
                <a:gd name="T6" fmla="*/ 60 w 139"/>
                <a:gd name="T7" fmla="*/ 192 h 390"/>
                <a:gd name="T8" fmla="*/ 122 w 139"/>
                <a:gd name="T9" fmla="*/ 213 h 390"/>
                <a:gd name="T10" fmla="*/ 122 w 139"/>
                <a:gd name="T11" fmla="*/ 290 h 390"/>
                <a:gd name="T12" fmla="*/ 90 w 139"/>
                <a:gd name="T13" fmla="*/ 242 h 390"/>
                <a:gd name="T14" fmla="*/ 2 w 139"/>
                <a:gd name="T15" fmla="*/ 252 h 390"/>
                <a:gd name="T16" fmla="*/ 122 w 139"/>
                <a:gd name="T17" fmla="*/ 349 h 390"/>
                <a:gd name="T18" fmla="*/ 122 w 139"/>
                <a:gd name="T19" fmla="*/ 390 h 390"/>
                <a:gd name="T20" fmla="*/ 139 w 139"/>
                <a:gd name="T21" fmla="*/ 390 h 390"/>
                <a:gd name="T22" fmla="*/ 139 w 139"/>
                <a:gd name="T23" fmla="*/ 0 h 390"/>
                <a:gd name="T24" fmla="*/ 122 w 139"/>
                <a:gd name="T25" fmla="*/ 0 h 390"/>
                <a:gd name="T26" fmla="*/ 122 w 139"/>
                <a:gd name="T27" fmla="*/ 134 h 390"/>
                <a:gd name="T28" fmla="*/ 103 w 139"/>
                <a:gd name="T29" fmla="*/ 122 h 390"/>
                <a:gd name="T30" fmla="*/ 122 w 139"/>
                <a:gd name="T31" fmla="*/ 78 h 390"/>
                <a:gd name="T32" fmla="*/ 122 w 139"/>
                <a:gd name="T33" fmla="*/ 134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9" h="390">
                  <a:moveTo>
                    <a:pt x="122" y="0"/>
                  </a:moveTo>
                  <a:cubicBezTo>
                    <a:pt x="122" y="22"/>
                    <a:pt x="122" y="22"/>
                    <a:pt x="122" y="22"/>
                  </a:cubicBezTo>
                  <a:cubicBezTo>
                    <a:pt x="87" y="23"/>
                    <a:pt x="60" y="33"/>
                    <a:pt x="42" y="50"/>
                  </a:cubicBezTo>
                  <a:cubicBezTo>
                    <a:pt x="0" y="91"/>
                    <a:pt x="6" y="166"/>
                    <a:pt x="60" y="192"/>
                  </a:cubicBezTo>
                  <a:cubicBezTo>
                    <a:pt x="72" y="198"/>
                    <a:pt x="93" y="205"/>
                    <a:pt x="122" y="213"/>
                  </a:cubicBezTo>
                  <a:cubicBezTo>
                    <a:pt x="122" y="290"/>
                    <a:pt x="122" y="290"/>
                    <a:pt x="122" y="290"/>
                  </a:cubicBezTo>
                  <a:cubicBezTo>
                    <a:pt x="99" y="279"/>
                    <a:pt x="94" y="266"/>
                    <a:pt x="90" y="242"/>
                  </a:cubicBezTo>
                  <a:cubicBezTo>
                    <a:pt x="2" y="252"/>
                    <a:pt x="2" y="252"/>
                    <a:pt x="2" y="252"/>
                  </a:cubicBezTo>
                  <a:cubicBezTo>
                    <a:pt x="14" y="319"/>
                    <a:pt x="57" y="343"/>
                    <a:pt x="122" y="349"/>
                  </a:cubicBezTo>
                  <a:cubicBezTo>
                    <a:pt x="122" y="390"/>
                    <a:pt x="122" y="390"/>
                    <a:pt x="122" y="390"/>
                  </a:cubicBezTo>
                  <a:cubicBezTo>
                    <a:pt x="139" y="390"/>
                    <a:pt x="139" y="390"/>
                    <a:pt x="139" y="390"/>
                  </a:cubicBezTo>
                  <a:cubicBezTo>
                    <a:pt x="139" y="0"/>
                    <a:pt x="139" y="0"/>
                    <a:pt x="139" y="0"/>
                  </a:cubicBezTo>
                  <a:lnTo>
                    <a:pt x="122" y="0"/>
                  </a:lnTo>
                  <a:close/>
                  <a:moveTo>
                    <a:pt x="122" y="134"/>
                  </a:moveTo>
                  <a:cubicBezTo>
                    <a:pt x="113" y="130"/>
                    <a:pt x="107" y="127"/>
                    <a:pt x="103" y="122"/>
                  </a:cubicBezTo>
                  <a:cubicBezTo>
                    <a:pt x="88" y="103"/>
                    <a:pt x="102" y="84"/>
                    <a:pt x="122" y="78"/>
                  </a:cubicBezTo>
                  <a:lnTo>
                    <a:pt x="122" y="134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19F8EDA8-0E66-41B7-95D2-30F1D512CBAC}"/>
                </a:ext>
              </a:extLst>
            </p:cNvPr>
            <p:cNvSpPr/>
            <p:nvPr/>
          </p:nvSpPr>
          <p:spPr bwMode="auto">
            <a:xfrm>
              <a:off x="2312988" y="2778125"/>
              <a:ext cx="484188" cy="330200"/>
            </a:xfrm>
            <a:custGeom>
              <a:avLst/>
              <a:gdLst>
                <a:gd name="T0" fmla="*/ 0 w 69"/>
                <a:gd name="T1" fmla="*/ 0 h 47"/>
                <a:gd name="T2" fmla="*/ 69 w 69"/>
                <a:gd name="T3" fmla="*/ 47 h 47"/>
                <a:gd name="T4" fmla="*/ 20 w 69"/>
                <a:gd name="T5" fmla="*/ 47 h 47"/>
                <a:gd name="T6" fmla="*/ 0 w 69"/>
                <a:gd name="T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" h="47">
                  <a:moveTo>
                    <a:pt x="0" y="0"/>
                  </a:moveTo>
                  <a:cubicBezTo>
                    <a:pt x="28" y="9"/>
                    <a:pt x="51" y="25"/>
                    <a:pt x="69" y="47"/>
                  </a:cubicBezTo>
                  <a:cubicBezTo>
                    <a:pt x="20" y="47"/>
                    <a:pt x="20" y="47"/>
                    <a:pt x="20" y="47"/>
                  </a:cubicBezTo>
                  <a:cubicBezTo>
                    <a:pt x="15" y="31"/>
                    <a:pt x="8" y="16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33B35223-CF0C-457B-8A06-8C3E94F93235}"/>
                </a:ext>
              </a:extLst>
            </p:cNvPr>
            <p:cNvSpPr/>
            <p:nvPr/>
          </p:nvSpPr>
          <p:spPr bwMode="auto">
            <a:xfrm>
              <a:off x="2032001" y="2735263"/>
              <a:ext cx="309563" cy="373063"/>
            </a:xfrm>
            <a:custGeom>
              <a:avLst/>
              <a:gdLst>
                <a:gd name="T0" fmla="*/ 0 w 44"/>
                <a:gd name="T1" fmla="*/ 0 h 53"/>
                <a:gd name="T2" fmla="*/ 22 w 44"/>
                <a:gd name="T3" fmla="*/ 2 h 53"/>
                <a:gd name="T4" fmla="*/ 44 w 44"/>
                <a:gd name="T5" fmla="*/ 53 h 53"/>
                <a:gd name="T6" fmla="*/ 0 w 44"/>
                <a:gd name="T7" fmla="*/ 53 h 53"/>
                <a:gd name="T8" fmla="*/ 0 w 44"/>
                <a:gd name="T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53">
                  <a:moveTo>
                    <a:pt x="0" y="0"/>
                  </a:moveTo>
                  <a:cubicBezTo>
                    <a:pt x="8" y="0"/>
                    <a:pt x="15" y="1"/>
                    <a:pt x="22" y="2"/>
                  </a:cubicBezTo>
                  <a:cubicBezTo>
                    <a:pt x="31" y="19"/>
                    <a:pt x="39" y="36"/>
                    <a:pt x="44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05EE4CEF-D921-4C80-94C2-0A87424257B5}"/>
                </a:ext>
              </a:extLst>
            </p:cNvPr>
            <p:cNvSpPr/>
            <p:nvPr/>
          </p:nvSpPr>
          <p:spPr bwMode="auto">
            <a:xfrm>
              <a:off x="2489201" y="3233738"/>
              <a:ext cx="519113" cy="414338"/>
            </a:xfrm>
            <a:custGeom>
              <a:avLst/>
              <a:gdLst>
                <a:gd name="T0" fmla="*/ 0 w 74"/>
                <a:gd name="T1" fmla="*/ 0 h 59"/>
                <a:gd name="T2" fmla="*/ 56 w 74"/>
                <a:gd name="T3" fmla="*/ 0 h 59"/>
                <a:gd name="T4" fmla="*/ 74 w 74"/>
                <a:gd name="T5" fmla="*/ 59 h 59"/>
                <a:gd name="T6" fmla="*/ 7 w 74"/>
                <a:gd name="T7" fmla="*/ 59 h 59"/>
                <a:gd name="T8" fmla="*/ 0 w 74"/>
                <a:gd name="T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59">
                  <a:moveTo>
                    <a:pt x="0" y="0"/>
                  </a:moveTo>
                  <a:cubicBezTo>
                    <a:pt x="56" y="0"/>
                    <a:pt x="56" y="0"/>
                    <a:pt x="56" y="0"/>
                  </a:cubicBezTo>
                  <a:cubicBezTo>
                    <a:pt x="66" y="17"/>
                    <a:pt x="72" y="38"/>
                    <a:pt x="74" y="59"/>
                  </a:cubicBezTo>
                  <a:cubicBezTo>
                    <a:pt x="7" y="59"/>
                    <a:pt x="7" y="59"/>
                    <a:pt x="7" y="59"/>
                  </a:cubicBezTo>
                  <a:cubicBezTo>
                    <a:pt x="7" y="39"/>
                    <a:pt x="5" y="19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C2C437CA-1194-4168-BC6D-1BFD50F38DF3}"/>
                </a:ext>
              </a:extLst>
            </p:cNvPr>
            <p:cNvSpPr/>
            <p:nvPr/>
          </p:nvSpPr>
          <p:spPr bwMode="auto">
            <a:xfrm>
              <a:off x="2032001" y="3233738"/>
              <a:ext cx="400050" cy="414338"/>
            </a:xfrm>
            <a:custGeom>
              <a:avLst/>
              <a:gdLst>
                <a:gd name="T0" fmla="*/ 0 w 57"/>
                <a:gd name="T1" fmla="*/ 0 h 59"/>
                <a:gd name="T2" fmla="*/ 49 w 57"/>
                <a:gd name="T3" fmla="*/ 0 h 59"/>
                <a:gd name="T4" fmla="*/ 57 w 57"/>
                <a:gd name="T5" fmla="*/ 59 h 59"/>
                <a:gd name="T6" fmla="*/ 0 w 57"/>
                <a:gd name="T7" fmla="*/ 59 h 59"/>
                <a:gd name="T8" fmla="*/ 0 w 57"/>
                <a:gd name="T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59">
                  <a:moveTo>
                    <a:pt x="0" y="0"/>
                  </a:moveTo>
                  <a:cubicBezTo>
                    <a:pt x="49" y="0"/>
                    <a:pt x="49" y="0"/>
                    <a:pt x="49" y="0"/>
                  </a:cubicBezTo>
                  <a:cubicBezTo>
                    <a:pt x="54" y="19"/>
                    <a:pt x="57" y="39"/>
                    <a:pt x="57" y="59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CBB986D1-4893-4CF3-BB73-87C81A97DD0A}"/>
                </a:ext>
              </a:extLst>
            </p:cNvPr>
            <p:cNvSpPr/>
            <p:nvPr/>
          </p:nvSpPr>
          <p:spPr bwMode="auto">
            <a:xfrm>
              <a:off x="2474913" y="3775075"/>
              <a:ext cx="533400" cy="420688"/>
            </a:xfrm>
            <a:custGeom>
              <a:avLst/>
              <a:gdLst>
                <a:gd name="T0" fmla="*/ 9 w 76"/>
                <a:gd name="T1" fmla="*/ 0 h 60"/>
                <a:gd name="T2" fmla="*/ 76 w 76"/>
                <a:gd name="T3" fmla="*/ 0 h 60"/>
                <a:gd name="T4" fmla="*/ 58 w 76"/>
                <a:gd name="T5" fmla="*/ 60 h 60"/>
                <a:gd name="T6" fmla="*/ 0 w 76"/>
                <a:gd name="T7" fmla="*/ 60 h 60"/>
                <a:gd name="T8" fmla="*/ 9 w 7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60">
                  <a:moveTo>
                    <a:pt x="9" y="0"/>
                  </a:moveTo>
                  <a:cubicBezTo>
                    <a:pt x="76" y="0"/>
                    <a:pt x="76" y="0"/>
                    <a:pt x="76" y="0"/>
                  </a:cubicBezTo>
                  <a:cubicBezTo>
                    <a:pt x="74" y="22"/>
                    <a:pt x="68" y="42"/>
                    <a:pt x="58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5" y="40"/>
                    <a:pt x="8" y="20"/>
                    <a:pt x="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C748A6DA-685F-4532-84CD-2F9E7ED76306}"/>
                </a:ext>
              </a:extLst>
            </p:cNvPr>
            <p:cNvSpPr/>
            <p:nvPr/>
          </p:nvSpPr>
          <p:spPr bwMode="auto">
            <a:xfrm>
              <a:off x="2032001" y="3775075"/>
              <a:ext cx="393700" cy="420688"/>
            </a:xfrm>
            <a:custGeom>
              <a:avLst/>
              <a:gdLst>
                <a:gd name="T0" fmla="*/ 0 w 56"/>
                <a:gd name="T1" fmla="*/ 0 h 60"/>
                <a:gd name="T2" fmla="*/ 56 w 56"/>
                <a:gd name="T3" fmla="*/ 0 h 60"/>
                <a:gd name="T4" fmla="*/ 45 w 56"/>
                <a:gd name="T5" fmla="*/ 60 h 60"/>
                <a:gd name="T6" fmla="*/ 0 w 56"/>
                <a:gd name="T7" fmla="*/ 60 h 60"/>
                <a:gd name="T8" fmla="*/ 0 w 5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60">
                  <a:moveTo>
                    <a:pt x="0" y="0"/>
                  </a:moveTo>
                  <a:cubicBezTo>
                    <a:pt x="56" y="0"/>
                    <a:pt x="56" y="0"/>
                    <a:pt x="56" y="0"/>
                  </a:cubicBezTo>
                  <a:cubicBezTo>
                    <a:pt x="55" y="20"/>
                    <a:pt x="51" y="40"/>
                    <a:pt x="45" y="6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3E686890-8C19-417D-B7C8-7410E65366F8}"/>
                </a:ext>
              </a:extLst>
            </p:cNvPr>
            <p:cNvSpPr/>
            <p:nvPr/>
          </p:nvSpPr>
          <p:spPr bwMode="auto">
            <a:xfrm>
              <a:off x="2305051" y="4321175"/>
              <a:ext cx="492125" cy="330200"/>
            </a:xfrm>
            <a:custGeom>
              <a:avLst/>
              <a:gdLst>
                <a:gd name="T0" fmla="*/ 19 w 70"/>
                <a:gd name="T1" fmla="*/ 0 h 47"/>
                <a:gd name="T2" fmla="*/ 70 w 70"/>
                <a:gd name="T3" fmla="*/ 0 h 47"/>
                <a:gd name="T4" fmla="*/ 0 w 70"/>
                <a:gd name="T5" fmla="*/ 47 h 47"/>
                <a:gd name="T6" fmla="*/ 19 w 70"/>
                <a:gd name="T7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0" h="47">
                  <a:moveTo>
                    <a:pt x="19" y="0"/>
                  </a:moveTo>
                  <a:cubicBezTo>
                    <a:pt x="70" y="0"/>
                    <a:pt x="70" y="0"/>
                    <a:pt x="70" y="0"/>
                  </a:cubicBezTo>
                  <a:cubicBezTo>
                    <a:pt x="52" y="22"/>
                    <a:pt x="28" y="39"/>
                    <a:pt x="0" y="47"/>
                  </a:cubicBezTo>
                  <a:cubicBezTo>
                    <a:pt x="7" y="31"/>
                    <a:pt x="13" y="15"/>
                    <a:pt x="1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E8A6C5CF-51AA-4482-A8BF-90C1A2C27F55}"/>
                </a:ext>
              </a:extLst>
            </p:cNvPr>
            <p:cNvSpPr/>
            <p:nvPr/>
          </p:nvSpPr>
          <p:spPr bwMode="auto">
            <a:xfrm>
              <a:off x="2032001" y="2447925"/>
              <a:ext cx="1384300" cy="2527300"/>
            </a:xfrm>
            <a:custGeom>
              <a:avLst/>
              <a:gdLst>
                <a:gd name="T0" fmla="*/ 0 w 197"/>
                <a:gd name="T1" fmla="*/ 0 h 360"/>
                <a:gd name="T2" fmla="*/ 127 w 197"/>
                <a:gd name="T3" fmla="*/ 53 h 360"/>
                <a:gd name="T4" fmla="*/ 127 w 197"/>
                <a:gd name="T5" fmla="*/ 308 h 360"/>
                <a:gd name="T6" fmla="*/ 0 w 197"/>
                <a:gd name="T7" fmla="*/ 360 h 360"/>
                <a:gd name="T8" fmla="*/ 0 w 197"/>
                <a:gd name="T9" fmla="*/ 334 h 360"/>
                <a:gd name="T10" fmla="*/ 109 w 197"/>
                <a:gd name="T11" fmla="*/ 289 h 360"/>
                <a:gd name="T12" fmla="*/ 109 w 197"/>
                <a:gd name="T13" fmla="*/ 71 h 360"/>
                <a:gd name="T14" fmla="*/ 0 w 197"/>
                <a:gd name="T15" fmla="*/ 27 h 360"/>
                <a:gd name="T16" fmla="*/ 0 w 197"/>
                <a:gd name="T17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" h="360">
                  <a:moveTo>
                    <a:pt x="0" y="0"/>
                  </a:moveTo>
                  <a:cubicBezTo>
                    <a:pt x="46" y="0"/>
                    <a:pt x="92" y="18"/>
                    <a:pt x="127" y="53"/>
                  </a:cubicBezTo>
                  <a:cubicBezTo>
                    <a:pt x="197" y="123"/>
                    <a:pt x="197" y="238"/>
                    <a:pt x="127" y="308"/>
                  </a:cubicBezTo>
                  <a:cubicBezTo>
                    <a:pt x="92" y="342"/>
                    <a:pt x="46" y="360"/>
                    <a:pt x="0" y="360"/>
                  </a:cubicBezTo>
                  <a:cubicBezTo>
                    <a:pt x="0" y="334"/>
                    <a:pt x="0" y="334"/>
                    <a:pt x="0" y="334"/>
                  </a:cubicBezTo>
                  <a:cubicBezTo>
                    <a:pt x="40" y="334"/>
                    <a:pt x="79" y="319"/>
                    <a:pt x="109" y="289"/>
                  </a:cubicBezTo>
                  <a:cubicBezTo>
                    <a:pt x="169" y="229"/>
                    <a:pt x="169" y="131"/>
                    <a:pt x="109" y="71"/>
                  </a:cubicBezTo>
                  <a:cubicBezTo>
                    <a:pt x="79" y="42"/>
                    <a:pt x="40" y="27"/>
                    <a:pt x="0" y="27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33CB7A98-1B82-405E-8D9B-CCB43106034C}"/>
                </a:ext>
              </a:extLst>
            </p:cNvPr>
            <p:cNvSpPr/>
            <p:nvPr/>
          </p:nvSpPr>
          <p:spPr bwMode="auto">
            <a:xfrm>
              <a:off x="2032001" y="4321175"/>
              <a:ext cx="280988" cy="365125"/>
            </a:xfrm>
            <a:custGeom>
              <a:avLst/>
              <a:gdLst>
                <a:gd name="T0" fmla="*/ 0 w 40"/>
                <a:gd name="T1" fmla="*/ 0 h 52"/>
                <a:gd name="T2" fmla="*/ 40 w 40"/>
                <a:gd name="T3" fmla="*/ 0 h 52"/>
                <a:gd name="T4" fmla="*/ 18 w 40"/>
                <a:gd name="T5" fmla="*/ 51 h 52"/>
                <a:gd name="T6" fmla="*/ 0 w 40"/>
                <a:gd name="T7" fmla="*/ 52 h 52"/>
                <a:gd name="T8" fmla="*/ 0 w 40"/>
                <a:gd name="T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52">
                  <a:moveTo>
                    <a:pt x="0" y="0"/>
                  </a:moveTo>
                  <a:cubicBezTo>
                    <a:pt x="40" y="0"/>
                    <a:pt x="40" y="0"/>
                    <a:pt x="40" y="0"/>
                  </a:cubicBezTo>
                  <a:cubicBezTo>
                    <a:pt x="34" y="17"/>
                    <a:pt x="27" y="34"/>
                    <a:pt x="18" y="51"/>
                  </a:cubicBezTo>
                  <a:cubicBezTo>
                    <a:pt x="12" y="52"/>
                    <a:pt x="6" y="52"/>
                    <a:pt x="0" y="52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/>
            </a:p>
          </p:txBody>
        </p:sp>
      </p:grp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8B1007A7-1FCB-4864-9C3D-B5E980EA5AE1}"/>
              </a:ext>
            </a:extLst>
          </p:cNvPr>
          <p:cNvCxnSpPr/>
          <p:nvPr/>
        </p:nvCxnSpPr>
        <p:spPr>
          <a:xfrm>
            <a:off x="5570674" y="3154017"/>
            <a:ext cx="2679414" cy="0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47C964E6-26C3-4B4E-ABB6-D45CE8934EE4}"/>
              </a:ext>
            </a:extLst>
          </p:cNvPr>
          <p:cNvCxnSpPr/>
          <p:nvPr/>
        </p:nvCxnSpPr>
        <p:spPr>
          <a:xfrm>
            <a:off x="5570674" y="4454264"/>
            <a:ext cx="2679414" cy="0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18AD9287-8EBC-4ECA-86B9-FB2DAE4D2775}"/>
              </a:ext>
            </a:extLst>
          </p:cNvPr>
          <p:cNvCxnSpPr/>
          <p:nvPr/>
        </p:nvCxnSpPr>
        <p:spPr>
          <a:xfrm>
            <a:off x="5570674" y="5647797"/>
            <a:ext cx="2679414" cy="0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15D4BD0F-40DA-4E91-967E-0A243DA24AA7}"/>
              </a:ext>
            </a:extLst>
          </p:cNvPr>
          <p:cNvCxnSpPr/>
          <p:nvPr/>
        </p:nvCxnSpPr>
        <p:spPr>
          <a:xfrm>
            <a:off x="8840454" y="3154017"/>
            <a:ext cx="2679414" cy="0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A5BC48EC-4346-43DB-90D8-BDAE5D94A393}"/>
              </a:ext>
            </a:extLst>
          </p:cNvPr>
          <p:cNvCxnSpPr/>
          <p:nvPr/>
        </p:nvCxnSpPr>
        <p:spPr>
          <a:xfrm>
            <a:off x="8840454" y="4454264"/>
            <a:ext cx="2679414" cy="0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265FAF93-00C2-4E09-95A8-8230D5FF104E}"/>
              </a:ext>
            </a:extLst>
          </p:cNvPr>
          <p:cNvCxnSpPr/>
          <p:nvPr/>
        </p:nvCxnSpPr>
        <p:spPr>
          <a:xfrm>
            <a:off x="8840454" y="5647797"/>
            <a:ext cx="2679414" cy="0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矩形 8">
            <a:extLst>
              <a:ext uri="{FF2B5EF4-FFF2-40B4-BE49-F238E27FC236}">
                <a16:creationId xmlns:a16="http://schemas.microsoft.com/office/drawing/2014/main" id="{39340196-E1AA-4B49-976A-BF366BB2B662}"/>
              </a:ext>
            </a:extLst>
          </p:cNvPr>
          <p:cNvSpPr/>
          <p:nvPr/>
        </p:nvSpPr>
        <p:spPr bwMode="auto">
          <a:xfrm>
            <a:off x="5610937" y="2467818"/>
            <a:ext cx="267941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4D5C24C6-4DD0-4193-AD42-019C1134797B}"/>
              </a:ext>
            </a:extLst>
          </p:cNvPr>
          <p:cNvSpPr txBox="1"/>
          <p:nvPr/>
        </p:nvSpPr>
        <p:spPr bwMode="auto">
          <a:xfrm>
            <a:off x="5610937" y="2080220"/>
            <a:ext cx="267941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/>
              <a:t>Text here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39340196-E1AA-4B49-976A-BF366BB2B662}"/>
              </a:ext>
            </a:extLst>
          </p:cNvPr>
          <p:cNvSpPr/>
          <p:nvPr/>
        </p:nvSpPr>
        <p:spPr bwMode="auto">
          <a:xfrm>
            <a:off x="5609208" y="3700127"/>
            <a:ext cx="267941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4D5C24C6-4DD0-4193-AD42-019C1134797B}"/>
              </a:ext>
            </a:extLst>
          </p:cNvPr>
          <p:cNvSpPr txBox="1"/>
          <p:nvPr/>
        </p:nvSpPr>
        <p:spPr bwMode="auto">
          <a:xfrm>
            <a:off x="5609208" y="3312529"/>
            <a:ext cx="267941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/>
              <a:t>Text here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39340196-E1AA-4B49-976A-BF366BB2B662}"/>
              </a:ext>
            </a:extLst>
          </p:cNvPr>
          <p:cNvSpPr/>
          <p:nvPr/>
        </p:nvSpPr>
        <p:spPr bwMode="auto">
          <a:xfrm>
            <a:off x="5609208" y="4959630"/>
            <a:ext cx="267941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4D5C24C6-4DD0-4193-AD42-019C1134797B}"/>
              </a:ext>
            </a:extLst>
          </p:cNvPr>
          <p:cNvSpPr txBox="1"/>
          <p:nvPr/>
        </p:nvSpPr>
        <p:spPr bwMode="auto">
          <a:xfrm>
            <a:off x="5609208" y="4572032"/>
            <a:ext cx="2679413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/>
              <a:t>Text here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39340196-E1AA-4B49-976A-BF366BB2B662}"/>
              </a:ext>
            </a:extLst>
          </p:cNvPr>
          <p:cNvSpPr/>
          <p:nvPr/>
        </p:nvSpPr>
        <p:spPr bwMode="auto">
          <a:xfrm>
            <a:off x="8839835" y="2467022"/>
            <a:ext cx="2680034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4D5C24C6-4DD0-4193-AD42-019C1134797B}"/>
              </a:ext>
            </a:extLst>
          </p:cNvPr>
          <p:cNvSpPr txBox="1"/>
          <p:nvPr/>
        </p:nvSpPr>
        <p:spPr bwMode="auto">
          <a:xfrm>
            <a:off x="8839835" y="2079424"/>
            <a:ext cx="2680034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/>
              <a:t>Text here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39340196-E1AA-4B49-976A-BF366BB2B662}"/>
              </a:ext>
            </a:extLst>
          </p:cNvPr>
          <p:cNvSpPr/>
          <p:nvPr/>
        </p:nvSpPr>
        <p:spPr bwMode="auto">
          <a:xfrm>
            <a:off x="8839835" y="3715316"/>
            <a:ext cx="2680034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4D5C24C6-4DD0-4193-AD42-019C1134797B}"/>
              </a:ext>
            </a:extLst>
          </p:cNvPr>
          <p:cNvSpPr txBox="1"/>
          <p:nvPr/>
        </p:nvSpPr>
        <p:spPr bwMode="auto">
          <a:xfrm>
            <a:off x="8839835" y="3327718"/>
            <a:ext cx="2680034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/>
              <a:t>Text here</a:t>
            </a: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39340196-E1AA-4B49-976A-BF366BB2B662}"/>
              </a:ext>
            </a:extLst>
          </p:cNvPr>
          <p:cNvSpPr/>
          <p:nvPr/>
        </p:nvSpPr>
        <p:spPr bwMode="auto">
          <a:xfrm>
            <a:off x="8840455" y="4959630"/>
            <a:ext cx="2680034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30000"/>
              </a:lnSpc>
            </a:pPr>
            <a:r>
              <a:rPr lang="en-US" altLang="zh-CN" sz="1100" dirty="0"/>
              <a:t>Copy paste fonts. Choose the only option to retain text.</a:t>
            </a: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4D5C24C6-4DD0-4193-AD42-019C1134797B}"/>
              </a:ext>
            </a:extLst>
          </p:cNvPr>
          <p:cNvSpPr txBox="1"/>
          <p:nvPr/>
        </p:nvSpPr>
        <p:spPr bwMode="auto">
          <a:xfrm>
            <a:off x="8840455" y="4572032"/>
            <a:ext cx="2680034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/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5560050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30C1184-3D0C-4EE3-AA04-B9B90D32CF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F5B9A43-4B6B-4A9F-885A-0AF9CB6B3A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E8F2D0A-738B-41B9-B707-035FAA3C19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 dirty="0"/>
          </a:p>
        </p:txBody>
      </p:sp>
      <p:sp>
        <p:nvSpPr>
          <p:cNvPr id="74" name="矩形 73">
            <a:extLst>
              <a:ext uri="{FF2B5EF4-FFF2-40B4-BE49-F238E27FC236}">
                <a16:creationId xmlns:a16="http://schemas.microsoft.com/office/drawing/2014/main" id="{644FD5FF-A998-4A3E-AE47-134FC0E51761}"/>
              </a:ext>
            </a:extLst>
          </p:cNvPr>
          <p:cNvSpPr/>
          <p:nvPr/>
        </p:nvSpPr>
        <p:spPr>
          <a:xfrm>
            <a:off x="0" y="4605337"/>
            <a:ext cx="12192000" cy="15382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b" anchorCtr="0">
            <a:normAutofit/>
          </a:bodyPr>
          <a:lstStyle/>
          <a:p>
            <a:pPr algn="ctr">
              <a:buSzPct val="25000"/>
            </a:pPr>
            <a:r>
              <a:rPr lang="en-US" altLang="zh-CN" sz="2000" b="1" i="1" dirty="0">
                <a:solidFill>
                  <a:schemeClr val="tx1"/>
                </a:solidFill>
              </a:rPr>
              <a:t>Unified fonts make reading more fluent.</a:t>
            </a:r>
            <a:endParaRPr lang="en-US" altLang="zh-CN" sz="1100" b="1" i="1" dirty="0">
              <a:solidFill>
                <a:schemeClr val="tx1"/>
              </a:solidFill>
            </a:endParaRPr>
          </a:p>
        </p:txBody>
      </p:sp>
      <p:sp>
        <p:nvSpPr>
          <p:cNvPr id="177" name="任意多边形: 形状 176">
            <a:extLst>
              <a:ext uri="{FF2B5EF4-FFF2-40B4-BE49-F238E27FC236}">
                <a16:creationId xmlns:a16="http://schemas.microsoft.com/office/drawing/2014/main" id="{E94A8079-3104-4B4D-B114-CA86142BF916}"/>
              </a:ext>
            </a:extLst>
          </p:cNvPr>
          <p:cNvSpPr/>
          <p:nvPr/>
        </p:nvSpPr>
        <p:spPr bwMode="auto">
          <a:xfrm>
            <a:off x="7004259" y="4341273"/>
            <a:ext cx="419797" cy="1267194"/>
          </a:xfrm>
          <a:custGeom>
            <a:avLst/>
            <a:gdLst>
              <a:gd name="T0" fmla="*/ 500 w 809"/>
              <a:gd name="T1" fmla="*/ 992 h 2437"/>
              <a:gd name="T2" fmla="*/ 501 w 809"/>
              <a:gd name="T3" fmla="*/ 963 h 2437"/>
              <a:gd name="T4" fmla="*/ 494 w 809"/>
              <a:gd name="T5" fmla="*/ 851 h 2437"/>
              <a:gd name="T6" fmla="*/ 478 w 809"/>
              <a:gd name="T7" fmla="*/ 768 h 2437"/>
              <a:gd name="T8" fmla="*/ 446 w 809"/>
              <a:gd name="T9" fmla="*/ 667 h 2437"/>
              <a:gd name="T10" fmla="*/ 399 w 809"/>
              <a:gd name="T11" fmla="*/ 578 h 2437"/>
              <a:gd name="T12" fmla="*/ 340 w 809"/>
              <a:gd name="T13" fmla="*/ 503 h 2437"/>
              <a:gd name="T14" fmla="*/ 267 w 809"/>
              <a:gd name="T15" fmla="*/ 441 h 2437"/>
              <a:gd name="T16" fmla="*/ 211 w 809"/>
              <a:gd name="T17" fmla="*/ 394 h 2437"/>
              <a:gd name="T18" fmla="*/ 146 w 809"/>
              <a:gd name="T19" fmla="*/ 315 h 2437"/>
              <a:gd name="T20" fmla="*/ 94 w 809"/>
              <a:gd name="T21" fmla="*/ 215 h 2437"/>
              <a:gd name="T22" fmla="*/ 53 w 809"/>
              <a:gd name="T23" fmla="*/ 98 h 2437"/>
              <a:gd name="T24" fmla="*/ 32 w 809"/>
              <a:gd name="T25" fmla="*/ 0 h 2437"/>
              <a:gd name="T26" fmla="*/ 14 w 809"/>
              <a:gd name="T27" fmla="*/ 72 h 2437"/>
              <a:gd name="T28" fmla="*/ 43 w 809"/>
              <a:gd name="T29" fmla="*/ 171 h 2437"/>
              <a:gd name="T30" fmla="*/ 91 w 809"/>
              <a:gd name="T31" fmla="*/ 284 h 2437"/>
              <a:gd name="T32" fmla="*/ 153 w 809"/>
              <a:gd name="T33" fmla="*/ 378 h 2437"/>
              <a:gd name="T34" fmla="*/ 228 w 809"/>
              <a:gd name="T35" fmla="*/ 452 h 2437"/>
              <a:gd name="T36" fmla="*/ 275 w 809"/>
              <a:gd name="T37" fmla="*/ 488 h 2437"/>
              <a:gd name="T38" fmla="*/ 347 w 809"/>
              <a:gd name="T39" fmla="*/ 562 h 2437"/>
              <a:gd name="T40" fmla="*/ 421 w 809"/>
              <a:gd name="T41" fmla="*/ 688 h 2437"/>
              <a:gd name="T42" fmla="*/ 454 w 809"/>
              <a:gd name="T43" fmla="*/ 797 h 2437"/>
              <a:gd name="T44" fmla="*/ 468 w 809"/>
              <a:gd name="T45" fmla="*/ 901 h 2437"/>
              <a:gd name="T46" fmla="*/ 469 w 809"/>
              <a:gd name="T47" fmla="*/ 988 h 2437"/>
              <a:gd name="T48" fmla="*/ 442 w 809"/>
              <a:gd name="T49" fmla="*/ 1245 h 2437"/>
              <a:gd name="T50" fmla="*/ 355 w 809"/>
              <a:gd name="T51" fmla="*/ 1268 h 2437"/>
              <a:gd name="T52" fmla="*/ 258 w 809"/>
              <a:gd name="T53" fmla="*/ 1331 h 2437"/>
              <a:gd name="T54" fmla="*/ 188 w 809"/>
              <a:gd name="T55" fmla="*/ 1424 h 2437"/>
              <a:gd name="T56" fmla="*/ 154 w 809"/>
              <a:gd name="T57" fmla="*/ 1540 h 2437"/>
              <a:gd name="T58" fmla="*/ 154 w 809"/>
              <a:gd name="T59" fmla="*/ 2126 h 2437"/>
              <a:gd name="T60" fmla="*/ 164 w 809"/>
              <a:gd name="T61" fmla="*/ 2191 h 2437"/>
              <a:gd name="T62" fmla="*/ 209 w 809"/>
              <a:gd name="T63" fmla="*/ 2292 h 2437"/>
              <a:gd name="T64" fmla="*/ 298 w 809"/>
              <a:gd name="T65" fmla="*/ 2380 h 2437"/>
              <a:gd name="T66" fmla="*/ 399 w 809"/>
              <a:gd name="T67" fmla="*/ 2426 h 2437"/>
              <a:gd name="T68" fmla="*/ 465 w 809"/>
              <a:gd name="T69" fmla="*/ 2437 h 2437"/>
              <a:gd name="T70" fmla="*/ 515 w 809"/>
              <a:gd name="T71" fmla="*/ 2435 h 2437"/>
              <a:gd name="T72" fmla="*/ 579 w 809"/>
              <a:gd name="T73" fmla="*/ 2422 h 2437"/>
              <a:gd name="T74" fmla="*/ 691 w 809"/>
              <a:gd name="T75" fmla="*/ 2361 h 2437"/>
              <a:gd name="T76" fmla="*/ 770 w 809"/>
              <a:gd name="T77" fmla="*/ 2265 h 2437"/>
              <a:gd name="T78" fmla="*/ 802 w 809"/>
              <a:gd name="T79" fmla="*/ 2175 h 2437"/>
              <a:gd name="T80" fmla="*/ 809 w 809"/>
              <a:gd name="T81" fmla="*/ 2109 h 2437"/>
              <a:gd name="T82" fmla="*/ 804 w 809"/>
              <a:gd name="T83" fmla="*/ 1510 h 2437"/>
              <a:gd name="T84" fmla="*/ 762 w 809"/>
              <a:gd name="T85" fmla="*/ 1400 h 2437"/>
              <a:gd name="T86" fmla="*/ 685 w 809"/>
              <a:gd name="T87" fmla="*/ 1314 h 2437"/>
              <a:gd name="T88" fmla="*/ 583 w 809"/>
              <a:gd name="T89" fmla="*/ 1259 h 2437"/>
              <a:gd name="T90" fmla="*/ 524 w 809"/>
              <a:gd name="T91" fmla="*/ 1494 h 2437"/>
              <a:gd name="T92" fmla="*/ 512 w 809"/>
              <a:gd name="T93" fmla="*/ 1528 h 2437"/>
              <a:gd name="T94" fmla="*/ 478 w 809"/>
              <a:gd name="T95" fmla="*/ 1542 h 2437"/>
              <a:gd name="T96" fmla="*/ 453 w 809"/>
              <a:gd name="T97" fmla="*/ 1534 h 2437"/>
              <a:gd name="T98" fmla="*/ 434 w 809"/>
              <a:gd name="T99" fmla="*/ 1503 h 2437"/>
              <a:gd name="T100" fmla="*/ 434 w 809"/>
              <a:gd name="T101" fmla="*/ 1361 h 2437"/>
              <a:gd name="T102" fmla="*/ 453 w 809"/>
              <a:gd name="T103" fmla="*/ 1330 h 2437"/>
              <a:gd name="T104" fmla="*/ 478 w 809"/>
              <a:gd name="T105" fmla="*/ 1322 h 2437"/>
              <a:gd name="T106" fmla="*/ 512 w 809"/>
              <a:gd name="T107" fmla="*/ 1335 h 2437"/>
              <a:gd name="T108" fmla="*/ 524 w 809"/>
              <a:gd name="T109" fmla="*/ 1370 h 2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809" h="2437">
                <a:moveTo>
                  <a:pt x="524" y="1245"/>
                </a:moveTo>
                <a:lnTo>
                  <a:pt x="524" y="1142"/>
                </a:lnTo>
                <a:lnTo>
                  <a:pt x="500" y="1142"/>
                </a:lnTo>
                <a:lnTo>
                  <a:pt x="500" y="992"/>
                </a:lnTo>
                <a:lnTo>
                  <a:pt x="500" y="992"/>
                </a:lnTo>
                <a:lnTo>
                  <a:pt x="501" y="990"/>
                </a:lnTo>
                <a:lnTo>
                  <a:pt x="501" y="990"/>
                </a:lnTo>
                <a:lnTo>
                  <a:pt x="501" y="963"/>
                </a:lnTo>
                <a:lnTo>
                  <a:pt x="501" y="935"/>
                </a:lnTo>
                <a:lnTo>
                  <a:pt x="500" y="908"/>
                </a:lnTo>
                <a:lnTo>
                  <a:pt x="497" y="879"/>
                </a:lnTo>
                <a:lnTo>
                  <a:pt x="494" y="851"/>
                </a:lnTo>
                <a:lnTo>
                  <a:pt x="490" y="823"/>
                </a:lnTo>
                <a:lnTo>
                  <a:pt x="485" y="795"/>
                </a:lnTo>
                <a:lnTo>
                  <a:pt x="478" y="768"/>
                </a:lnTo>
                <a:lnTo>
                  <a:pt x="478" y="768"/>
                </a:lnTo>
                <a:lnTo>
                  <a:pt x="472" y="742"/>
                </a:lnTo>
                <a:lnTo>
                  <a:pt x="464" y="717"/>
                </a:lnTo>
                <a:lnTo>
                  <a:pt x="455" y="691"/>
                </a:lnTo>
                <a:lnTo>
                  <a:pt x="446" y="667"/>
                </a:lnTo>
                <a:lnTo>
                  <a:pt x="435" y="644"/>
                </a:lnTo>
                <a:lnTo>
                  <a:pt x="425" y="621"/>
                </a:lnTo>
                <a:lnTo>
                  <a:pt x="412" y="600"/>
                </a:lnTo>
                <a:lnTo>
                  <a:pt x="399" y="578"/>
                </a:lnTo>
                <a:lnTo>
                  <a:pt x="386" y="558"/>
                </a:lnTo>
                <a:lnTo>
                  <a:pt x="371" y="539"/>
                </a:lnTo>
                <a:lnTo>
                  <a:pt x="356" y="520"/>
                </a:lnTo>
                <a:lnTo>
                  <a:pt x="340" y="503"/>
                </a:lnTo>
                <a:lnTo>
                  <a:pt x="324" y="487"/>
                </a:lnTo>
                <a:lnTo>
                  <a:pt x="305" y="471"/>
                </a:lnTo>
                <a:lnTo>
                  <a:pt x="287" y="456"/>
                </a:lnTo>
                <a:lnTo>
                  <a:pt x="267" y="441"/>
                </a:lnTo>
                <a:lnTo>
                  <a:pt x="267" y="441"/>
                </a:lnTo>
                <a:lnTo>
                  <a:pt x="248" y="426"/>
                </a:lnTo>
                <a:lnTo>
                  <a:pt x="230" y="411"/>
                </a:lnTo>
                <a:lnTo>
                  <a:pt x="211" y="394"/>
                </a:lnTo>
                <a:lnTo>
                  <a:pt x="195" y="375"/>
                </a:lnTo>
                <a:lnTo>
                  <a:pt x="177" y="356"/>
                </a:lnTo>
                <a:lnTo>
                  <a:pt x="161" y="336"/>
                </a:lnTo>
                <a:lnTo>
                  <a:pt x="146" y="315"/>
                </a:lnTo>
                <a:lnTo>
                  <a:pt x="133" y="290"/>
                </a:lnTo>
                <a:lnTo>
                  <a:pt x="119" y="267"/>
                </a:lnTo>
                <a:lnTo>
                  <a:pt x="106" y="242"/>
                </a:lnTo>
                <a:lnTo>
                  <a:pt x="94" y="215"/>
                </a:lnTo>
                <a:lnTo>
                  <a:pt x="83" y="188"/>
                </a:lnTo>
                <a:lnTo>
                  <a:pt x="72" y="159"/>
                </a:lnTo>
                <a:lnTo>
                  <a:pt x="63" y="129"/>
                </a:lnTo>
                <a:lnTo>
                  <a:pt x="53" y="98"/>
                </a:lnTo>
                <a:lnTo>
                  <a:pt x="45" y="66"/>
                </a:lnTo>
                <a:lnTo>
                  <a:pt x="45" y="66"/>
                </a:lnTo>
                <a:lnTo>
                  <a:pt x="39" y="33"/>
                </a:lnTo>
                <a:lnTo>
                  <a:pt x="32" y="0"/>
                </a:lnTo>
                <a:lnTo>
                  <a:pt x="0" y="0"/>
                </a:lnTo>
                <a:lnTo>
                  <a:pt x="0" y="0"/>
                </a:lnTo>
                <a:lnTo>
                  <a:pt x="6" y="36"/>
                </a:lnTo>
                <a:lnTo>
                  <a:pt x="14" y="72"/>
                </a:lnTo>
                <a:lnTo>
                  <a:pt x="14" y="72"/>
                </a:lnTo>
                <a:lnTo>
                  <a:pt x="23" y="106"/>
                </a:lnTo>
                <a:lnTo>
                  <a:pt x="32" y="140"/>
                </a:lnTo>
                <a:lnTo>
                  <a:pt x="43" y="171"/>
                </a:lnTo>
                <a:lnTo>
                  <a:pt x="53" y="200"/>
                </a:lnTo>
                <a:lnTo>
                  <a:pt x="66" y="230"/>
                </a:lnTo>
                <a:lnTo>
                  <a:pt x="78" y="257"/>
                </a:lnTo>
                <a:lnTo>
                  <a:pt x="91" y="284"/>
                </a:lnTo>
                <a:lnTo>
                  <a:pt x="106" y="309"/>
                </a:lnTo>
                <a:lnTo>
                  <a:pt x="121" y="333"/>
                </a:lnTo>
                <a:lnTo>
                  <a:pt x="137" y="356"/>
                </a:lnTo>
                <a:lnTo>
                  <a:pt x="153" y="378"/>
                </a:lnTo>
                <a:lnTo>
                  <a:pt x="170" y="398"/>
                </a:lnTo>
                <a:lnTo>
                  <a:pt x="189" y="418"/>
                </a:lnTo>
                <a:lnTo>
                  <a:pt x="208" y="436"/>
                </a:lnTo>
                <a:lnTo>
                  <a:pt x="228" y="452"/>
                </a:lnTo>
                <a:lnTo>
                  <a:pt x="250" y="468"/>
                </a:lnTo>
                <a:lnTo>
                  <a:pt x="250" y="468"/>
                </a:lnTo>
                <a:lnTo>
                  <a:pt x="261" y="476"/>
                </a:lnTo>
                <a:lnTo>
                  <a:pt x="275" y="488"/>
                </a:lnTo>
                <a:lnTo>
                  <a:pt x="291" y="501"/>
                </a:lnTo>
                <a:lnTo>
                  <a:pt x="309" y="519"/>
                </a:lnTo>
                <a:lnTo>
                  <a:pt x="328" y="539"/>
                </a:lnTo>
                <a:lnTo>
                  <a:pt x="347" y="562"/>
                </a:lnTo>
                <a:lnTo>
                  <a:pt x="365" y="589"/>
                </a:lnTo>
                <a:lnTo>
                  <a:pt x="386" y="618"/>
                </a:lnTo>
                <a:lnTo>
                  <a:pt x="403" y="652"/>
                </a:lnTo>
                <a:lnTo>
                  <a:pt x="421" y="688"/>
                </a:lnTo>
                <a:lnTo>
                  <a:pt x="435" y="729"/>
                </a:lnTo>
                <a:lnTo>
                  <a:pt x="442" y="750"/>
                </a:lnTo>
                <a:lnTo>
                  <a:pt x="447" y="773"/>
                </a:lnTo>
                <a:lnTo>
                  <a:pt x="454" y="797"/>
                </a:lnTo>
                <a:lnTo>
                  <a:pt x="458" y="822"/>
                </a:lnTo>
                <a:lnTo>
                  <a:pt x="462" y="847"/>
                </a:lnTo>
                <a:lnTo>
                  <a:pt x="465" y="873"/>
                </a:lnTo>
                <a:lnTo>
                  <a:pt x="468" y="901"/>
                </a:lnTo>
                <a:lnTo>
                  <a:pt x="469" y="929"/>
                </a:lnTo>
                <a:lnTo>
                  <a:pt x="469" y="959"/>
                </a:lnTo>
                <a:lnTo>
                  <a:pt x="469" y="988"/>
                </a:lnTo>
                <a:lnTo>
                  <a:pt x="469" y="988"/>
                </a:lnTo>
                <a:lnTo>
                  <a:pt x="468" y="992"/>
                </a:lnTo>
                <a:lnTo>
                  <a:pt x="468" y="1142"/>
                </a:lnTo>
                <a:lnTo>
                  <a:pt x="442" y="1142"/>
                </a:lnTo>
                <a:lnTo>
                  <a:pt x="442" y="1245"/>
                </a:lnTo>
                <a:lnTo>
                  <a:pt x="442" y="1245"/>
                </a:lnTo>
                <a:lnTo>
                  <a:pt x="412" y="1251"/>
                </a:lnTo>
                <a:lnTo>
                  <a:pt x="383" y="1257"/>
                </a:lnTo>
                <a:lnTo>
                  <a:pt x="355" y="1268"/>
                </a:lnTo>
                <a:lnTo>
                  <a:pt x="329" y="1280"/>
                </a:lnTo>
                <a:lnTo>
                  <a:pt x="304" y="1295"/>
                </a:lnTo>
                <a:lnTo>
                  <a:pt x="279" y="1312"/>
                </a:lnTo>
                <a:lnTo>
                  <a:pt x="258" y="1331"/>
                </a:lnTo>
                <a:lnTo>
                  <a:pt x="236" y="1353"/>
                </a:lnTo>
                <a:lnTo>
                  <a:pt x="219" y="1374"/>
                </a:lnTo>
                <a:lnTo>
                  <a:pt x="201" y="1399"/>
                </a:lnTo>
                <a:lnTo>
                  <a:pt x="188" y="1424"/>
                </a:lnTo>
                <a:lnTo>
                  <a:pt x="176" y="1452"/>
                </a:lnTo>
                <a:lnTo>
                  <a:pt x="166" y="1481"/>
                </a:lnTo>
                <a:lnTo>
                  <a:pt x="160" y="1509"/>
                </a:lnTo>
                <a:lnTo>
                  <a:pt x="154" y="1540"/>
                </a:lnTo>
                <a:lnTo>
                  <a:pt x="153" y="1571"/>
                </a:lnTo>
                <a:lnTo>
                  <a:pt x="153" y="2109"/>
                </a:lnTo>
                <a:lnTo>
                  <a:pt x="153" y="2109"/>
                </a:lnTo>
                <a:lnTo>
                  <a:pt x="154" y="2126"/>
                </a:lnTo>
                <a:lnTo>
                  <a:pt x="156" y="2142"/>
                </a:lnTo>
                <a:lnTo>
                  <a:pt x="157" y="2158"/>
                </a:lnTo>
                <a:lnTo>
                  <a:pt x="160" y="2175"/>
                </a:lnTo>
                <a:lnTo>
                  <a:pt x="164" y="2191"/>
                </a:lnTo>
                <a:lnTo>
                  <a:pt x="168" y="2207"/>
                </a:lnTo>
                <a:lnTo>
                  <a:pt x="180" y="2236"/>
                </a:lnTo>
                <a:lnTo>
                  <a:pt x="193" y="2265"/>
                </a:lnTo>
                <a:lnTo>
                  <a:pt x="209" y="2292"/>
                </a:lnTo>
                <a:lnTo>
                  <a:pt x="228" y="2317"/>
                </a:lnTo>
                <a:lnTo>
                  <a:pt x="250" y="2341"/>
                </a:lnTo>
                <a:lnTo>
                  <a:pt x="273" y="2361"/>
                </a:lnTo>
                <a:lnTo>
                  <a:pt x="298" y="2380"/>
                </a:lnTo>
                <a:lnTo>
                  <a:pt x="325" y="2398"/>
                </a:lnTo>
                <a:lnTo>
                  <a:pt x="353" y="2411"/>
                </a:lnTo>
                <a:lnTo>
                  <a:pt x="384" y="2422"/>
                </a:lnTo>
                <a:lnTo>
                  <a:pt x="399" y="2426"/>
                </a:lnTo>
                <a:lnTo>
                  <a:pt x="415" y="2430"/>
                </a:lnTo>
                <a:lnTo>
                  <a:pt x="431" y="2433"/>
                </a:lnTo>
                <a:lnTo>
                  <a:pt x="447" y="2435"/>
                </a:lnTo>
                <a:lnTo>
                  <a:pt x="465" y="2437"/>
                </a:lnTo>
                <a:lnTo>
                  <a:pt x="481" y="2437"/>
                </a:lnTo>
                <a:lnTo>
                  <a:pt x="481" y="2437"/>
                </a:lnTo>
                <a:lnTo>
                  <a:pt x="499" y="2437"/>
                </a:lnTo>
                <a:lnTo>
                  <a:pt x="515" y="2435"/>
                </a:lnTo>
                <a:lnTo>
                  <a:pt x="532" y="2433"/>
                </a:lnTo>
                <a:lnTo>
                  <a:pt x="548" y="2430"/>
                </a:lnTo>
                <a:lnTo>
                  <a:pt x="563" y="2426"/>
                </a:lnTo>
                <a:lnTo>
                  <a:pt x="579" y="2422"/>
                </a:lnTo>
                <a:lnTo>
                  <a:pt x="609" y="2411"/>
                </a:lnTo>
                <a:lnTo>
                  <a:pt x="638" y="2398"/>
                </a:lnTo>
                <a:lnTo>
                  <a:pt x="665" y="2380"/>
                </a:lnTo>
                <a:lnTo>
                  <a:pt x="691" y="2361"/>
                </a:lnTo>
                <a:lnTo>
                  <a:pt x="714" y="2341"/>
                </a:lnTo>
                <a:lnTo>
                  <a:pt x="735" y="2317"/>
                </a:lnTo>
                <a:lnTo>
                  <a:pt x="754" y="2292"/>
                </a:lnTo>
                <a:lnTo>
                  <a:pt x="770" y="2265"/>
                </a:lnTo>
                <a:lnTo>
                  <a:pt x="784" y="2236"/>
                </a:lnTo>
                <a:lnTo>
                  <a:pt x="794" y="2207"/>
                </a:lnTo>
                <a:lnTo>
                  <a:pt x="800" y="2191"/>
                </a:lnTo>
                <a:lnTo>
                  <a:pt x="802" y="2175"/>
                </a:lnTo>
                <a:lnTo>
                  <a:pt x="806" y="2158"/>
                </a:lnTo>
                <a:lnTo>
                  <a:pt x="808" y="2142"/>
                </a:lnTo>
                <a:lnTo>
                  <a:pt x="809" y="2126"/>
                </a:lnTo>
                <a:lnTo>
                  <a:pt x="809" y="2109"/>
                </a:lnTo>
                <a:lnTo>
                  <a:pt x="809" y="1571"/>
                </a:lnTo>
                <a:lnTo>
                  <a:pt x="809" y="1571"/>
                </a:lnTo>
                <a:lnTo>
                  <a:pt x="808" y="1540"/>
                </a:lnTo>
                <a:lnTo>
                  <a:pt x="804" y="1510"/>
                </a:lnTo>
                <a:lnTo>
                  <a:pt x="797" y="1481"/>
                </a:lnTo>
                <a:lnTo>
                  <a:pt x="788" y="1452"/>
                </a:lnTo>
                <a:lnTo>
                  <a:pt x="776" y="1425"/>
                </a:lnTo>
                <a:lnTo>
                  <a:pt x="762" y="1400"/>
                </a:lnTo>
                <a:lnTo>
                  <a:pt x="746" y="1376"/>
                </a:lnTo>
                <a:lnTo>
                  <a:pt x="727" y="1353"/>
                </a:lnTo>
                <a:lnTo>
                  <a:pt x="707" y="1333"/>
                </a:lnTo>
                <a:lnTo>
                  <a:pt x="685" y="1314"/>
                </a:lnTo>
                <a:lnTo>
                  <a:pt x="663" y="1296"/>
                </a:lnTo>
                <a:lnTo>
                  <a:pt x="637" y="1282"/>
                </a:lnTo>
                <a:lnTo>
                  <a:pt x="610" y="1269"/>
                </a:lnTo>
                <a:lnTo>
                  <a:pt x="583" y="1259"/>
                </a:lnTo>
                <a:lnTo>
                  <a:pt x="554" y="1251"/>
                </a:lnTo>
                <a:lnTo>
                  <a:pt x="524" y="1245"/>
                </a:lnTo>
                <a:close/>
                <a:moveTo>
                  <a:pt x="524" y="1494"/>
                </a:moveTo>
                <a:lnTo>
                  <a:pt x="524" y="1494"/>
                </a:lnTo>
                <a:lnTo>
                  <a:pt x="524" y="1503"/>
                </a:lnTo>
                <a:lnTo>
                  <a:pt x="521" y="1513"/>
                </a:lnTo>
                <a:lnTo>
                  <a:pt x="517" y="1521"/>
                </a:lnTo>
                <a:lnTo>
                  <a:pt x="512" y="1528"/>
                </a:lnTo>
                <a:lnTo>
                  <a:pt x="505" y="1534"/>
                </a:lnTo>
                <a:lnTo>
                  <a:pt x="497" y="1538"/>
                </a:lnTo>
                <a:lnTo>
                  <a:pt x="489" y="1541"/>
                </a:lnTo>
                <a:lnTo>
                  <a:pt x="478" y="1542"/>
                </a:lnTo>
                <a:lnTo>
                  <a:pt x="478" y="1542"/>
                </a:lnTo>
                <a:lnTo>
                  <a:pt x="469" y="1541"/>
                </a:lnTo>
                <a:lnTo>
                  <a:pt x="461" y="1538"/>
                </a:lnTo>
                <a:lnTo>
                  <a:pt x="453" y="1534"/>
                </a:lnTo>
                <a:lnTo>
                  <a:pt x="446" y="1528"/>
                </a:lnTo>
                <a:lnTo>
                  <a:pt x="441" y="1521"/>
                </a:lnTo>
                <a:lnTo>
                  <a:pt x="437" y="1513"/>
                </a:lnTo>
                <a:lnTo>
                  <a:pt x="434" y="1503"/>
                </a:lnTo>
                <a:lnTo>
                  <a:pt x="433" y="1494"/>
                </a:lnTo>
                <a:lnTo>
                  <a:pt x="433" y="1370"/>
                </a:lnTo>
                <a:lnTo>
                  <a:pt x="433" y="1370"/>
                </a:lnTo>
                <a:lnTo>
                  <a:pt x="434" y="1361"/>
                </a:lnTo>
                <a:lnTo>
                  <a:pt x="437" y="1351"/>
                </a:lnTo>
                <a:lnTo>
                  <a:pt x="441" y="1343"/>
                </a:lnTo>
                <a:lnTo>
                  <a:pt x="446" y="1335"/>
                </a:lnTo>
                <a:lnTo>
                  <a:pt x="453" y="1330"/>
                </a:lnTo>
                <a:lnTo>
                  <a:pt x="461" y="1326"/>
                </a:lnTo>
                <a:lnTo>
                  <a:pt x="469" y="1323"/>
                </a:lnTo>
                <a:lnTo>
                  <a:pt x="478" y="1322"/>
                </a:lnTo>
                <a:lnTo>
                  <a:pt x="478" y="1322"/>
                </a:lnTo>
                <a:lnTo>
                  <a:pt x="489" y="1323"/>
                </a:lnTo>
                <a:lnTo>
                  <a:pt x="497" y="1326"/>
                </a:lnTo>
                <a:lnTo>
                  <a:pt x="505" y="1330"/>
                </a:lnTo>
                <a:lnTo>
                  <a:pt x="512" y="1335"/>
                </a:lnTo>
                <a:lnTo>
                  <a:pt x="517" y="1343"/>
                </a:lnTo>
                <a:lnTo>
                  <a:pt x="521" y="1351"/>
                </a:lnTo>
                <a:lnTo>
                  <a:pt x="524" y="1361"/>
                </a:lnTo>
                <a:lnTo>
                  <a:pt x="524" y="1370"/>
                </a:lnTo>
                <a:lnTo>
                  <a:pt x="524" y="149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78" name="任意多边形: 形状 177">
            <a:extLst>
              <a:ext uri="{FF2B5EF4-FFF2-40B4-BE49-F238E27FC236}">
                <a16:creationId xmlns:a16="http://schemas.microsoft.com/office/drawing/2014/main" id="{F4BA5BA4-34F1-4A6E-869F-238C9FE4C8B5}"/>
              </a:ext>
            </a:extLst>
          </p:cNvPr>
          <p:cNvSpPr/>
          <p:nvPr/>
        </p:nvSpPr>
        <p:spPr bwMode="auto">
          <a:xfrm>
            <a:off x="4995946" y="4775115"/>
            <a:ext cx="1979285" cy="833352"/>
          </a:xfrm>
          <a:custGeom>
            <a:avLst/>
            <a:gdLst>
              <a:gd name="T0" fmla="*/ 3394 w 3459"/>
              <a:gd name="T1" fmla="*/ 1603 h 1603"/>
              <a:gd name="T2" fmla="*/ 2944 w 3459"/>
              <a:gd name="T3" fmla="*/ 367 h 1603"/>
              <a:gd name="T4" fmla="*/ 2975 w 3459"/>
              <a:gd name="T5" fmla="*/ 800 h 1603"/>
              <a:gd name="T6" fmla="*/ 2942 w 3459"/>
              <a:gd name="T7" fmla="*/ 1006 h 1603"/>
              <a:gd name="T8" fmla="*/ 694 w 3459"/>
              <a:gd name="T9" fmla="*/ 855 h 1603"/>
              <a:gd name="T10" fmla="*/ 581 w 3459"/>
              <a:gd name="T11" fmla="*/ 790 h 1603"/>
              <a:gd name="T12" fmla="*/ 651 w 3459"/>
              <a:gd name="T13" fmla="*/ 801 h 1603"/>
              <a:gd name="T14" fmla="*/ 652 w 3459"/>
              <a:gd name="T15" fmla="*/ 1077 h 1603"/>
              <a:gd name="T16" fmla="*/ 917 w 3459"/>
              <a:gd name="T17" fmla="*/ 858 h 1603"/>
              <a:gd name="T18" fmla="*/ 1030 w 3459"/>
              <a:gd name="T19" fmla="*/ 1229 h 1603"/>
              <a:gd name="T20" fmla="*/ 980 w 3459"/>
              <a:gd name="T21" fmla="*/ 1010 h 1603"/>
              <a:gd name="T22" fmla="*/ 1087 w 3459"/>
              <a:gd name="T23" fmla="*/ 640 h 1603"/>
              <a:gd name="T24" fmla="*/ 1248 w 3459"/>
              <a:gd name="T25" fmla="*/ 1221 h 1603"/>
              <a:gd name="T26" fmla="*/ 1302 w 3459"/>
              <a:gd name="T27" fmla="*/ 801 h 1603"/>
              <a:gd name="T28" fmla="*/ 1307 w 3459"/>
              <a:gd name="T29" fmla="*/ 1081 h 1603"/>
              <a:gd name="T30" fmla="*/ 1571 w 3459"/>
              <a:gd name="T31" fmla="*/ 856 h 1603"/>
              <a:gd name="T32" fmla="*/ 1684 w 3459"/>
              <a:gd name="T33" fmla="*/ 1225 h 1603"/>
              <a:gd name="T34" fmla="*/ 1634 w 3459"/>
              <a:gd name="T35" fmla="*/ 1014 h 1603"/>
              <a:gd name="T36" fmla="*/ 1733 w 3459"/>
              <a:gd name="T37" fmla="*/ 641 h 1603"/>
              <a:gd name="T38" fmla="*/ 1904 w 3459"/>
              <a:gd name="T39" fmla="*/ 1081 h 1603"/>
              <a:gd name="T40" fmla="*/ 2098 w 3459"/>
              <a:gd name="T41" fmla="*/ 801 h 1603"/>
              <a:gd name="T42" fmla="*/ 1958 w 3459"/>
              <a:gd name="T43" fmla="*/ 1081 h 1603"/>
              <a:gd name="T44" fmla="*/ 2216 w 3459"/>
              <a:gd name="T45" fmla="*/ 855 h 1603"/>
              <a:gd name="T46" fmla="*/ 2340 w 3459"/>
              <a:gd name="T47" fmla="*/ 1221 h 1603"/>
              <a:gd name="T48" fmla="*/ 2293 w 3459"/>
              <a:gd name="T49" fmla="*/ 1015 h 1603"/>
              <a:gd name="T50" fmla="*/ 2387 w 3459"/>
              <a:gd name="T51" fmla="*/ 643 h 1603"/>
              <a:gd name="T52" fmla="*/ 2555 w 3459"/>
              <a:gd name="T53" fmla="*/ 1077 h 1603"/>
              <a:gd name="T54" fmla="*/ 2754 w 3459"/>
              <a:gd name="T55" fmla="*/ 800 h 1603"/>
              <a:gd name="T56" fmla="*/ 2614 w 3459"/>
              <a:gd name="T57" fmla="*/ 1221 h 1603"/>
              <a:gd name="T58" fmla="*/ 2872 w 3459"/>
              <a:gd name="T59" fmla="*/ 855 h 1603"/>
              <a:gd name="T60" fmla="*/ 2501 w 3459"/>
              <a:gd name="T61" fmla="*/ 270 h 1603"/>
              <a:gd name="T62" fmla="*/ 2512 w 3459"/>
              <a:gd name="T63" fmla="*/ 586 h 1603"/>
              <a:gd name="T64" fmla="*/ 2447 w 3459"/>
              <a:gd name="T65" fmla="*/ 367 h 1603"/>
              <a:gd name="T66" fmla="*/ 2445 w 3459"/>
              <a:gd name="T67" fmla="*/ 427 h 1603"/>
              <a:gd name="T68" fmla="*/ 2224 w 3459"/>
              <a:gd name="T69" fmla="*/ 583 h 1603"/>
              <a:gd name="T70" fmla="*/ 2012 w 3459"/>
              <a:gd name="T71" fmla="*/ 267 h 1603"/>
              <a:gd name="T72" fmla="*/ 1861 w 3459"/>
              <a:gd name="T73" fmla="*/ 425 h 1603"/>
              <a:gd name="T74" fmla="*/ 1630 w 3459"/>
              <a:gd name="T75" fmla="*/ 270 h 1603"/>
              <a:gd name="T76" fmla="*/ 1568 w 3459"/>
              <a:gd name="T77" fmla="*/ 263 h 1603"/>
              <a:gd name="T78" fmla="*/ 1415 w 3459"/>
              <a:gd name="T79" fmla="*/ 435 h 1603"/>
              <a:gd name="T80" fmla="*/ 1204 w 3459"/>
              <a:gd name="T81" fmla="*/ 371 h 1603"/>
              <a:gd name="T82" fmla="*/ 980 w 3459"/>
              <a:gd name="T83" fmla="*/ 267 h 1603"/>
              <a:gd name="T84" fmla="*/ 983 w 3459"/>
              <a:gd name="T85" fmla="*/ 583 h 1603"/>
              <a:gd name="T86" fmla="*/ 916 w 3459"/>
              <a:gd name="T87" fmla="*/ 371 h 1603"/>
              <a:gd name="T88" fmla="*/ 920 w 3459"/>
              <a:gd name="T89" fmla="*/ 435 h 1603"/>
              <a:gd name="T90" fmla="*/ 694 w 3459"/>
              <a:gd name="T91" fmla="*/ 586 h 1603"/>
              <a:gd name="T92" fmla="*/ 484 w 3459"/>
              <a:gd name="T93" fmla="*/ 364 h 1603"/>
              <a:gd name="T94" fmla="*/ 473 w 3459"/>
              <a:gd name="T95" fmla="*/ 425 h 1603"/>
              <a:gd name="T96" fmla="*/ 269 w 3459"/>
              <a:gd name="T97" fmla="*/ 575 h 1603"/>
              <a:gd name="T98" fmla="*/ 352 w 3459"/>
              <a:gd name="T99" fmla="*/ 640 h 1603"/>
              <a:gd name="T100" fmla="*/ 484 w 3459"/>
              <a:gd name="T101" fmla="*/ 1007 h 1603"/>
              <a:gd name="T102" fmla="*/ 369 w 3459"/>
              <a:gd name="T103" fmla="*/ 1230 h 1603"/>
              <a:gd name="T104" fmla="*/ 269 w 3459"/>
              <a:gd name="T105" fmla="*/ 1303 h 1603"/>
              <a:gd name="T106" fmla="*/ 699 w 3459"/>
              <a:gd name="T107" fmla="*/ 1456 h 1603"/>
              <a:gd name="T108" fmla="*/ 767 w 3459"/>
              <a:gd name="T109" fmla="*/ 1451 h 1603"/>
              <a:gd name="T110" fmla="*/ 2287 w 3459"/>
              <a:gd name="T111" fmla="*/ 1303 h 1603"/>
              <a:gd name="T112" fmla="*/ 2660 w 3459"/>
              <a:gd name="T113" fmla="*/ 1299 h 1603"/>
              <a:gd name="T114" fmla="*/ 3102 w 3459"/>
              <a:gd name="T115" fmla="*/ 1456 h 1603"/>
              <a:gd name="T116" fmla="*/ 2942 w 3459"/>
              <a:gd name="T117" fmla="*/ 1355 h 1603"/>
              <a:gd name="T118" fmla="*/ 3311 w 3459"/>
              <a:gd name="T119" fmla="*/ 1366 h 1603"/>
              <a:gd name="T120" fmla="*/ 3317 w 3459"/>
              <a:gd name="T121" fmla="*/ 1078 h 1603"/>
              <a:gd name="T122" fmla="*/ 3171 w 3459"/>
              <a:gd name="T123" fmla="*/ 634 h 1603"/>
              <a:gd name="T124" fmla="*/ 3313 w 3459"/>
              <a:gd name="T125" fmla="*/ 429 h 16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459" h="1603">
                <a:moveTo>
                  <a:pt x="3459" y="64"/>
                </a:moveTo>
                <a:lnTo>
                  <a:pt x="3459" y="64"/>
                </a:lnTo>
                <a:lnTo>
                  <a:pt x="3457" y="51"/>
                </a:lnTo>
                <a:lnTo>
                  <a:pt x="3455" y="39"/>
                </a:lnTo>
                <a:lnTo>
                  <a:pt x="3448" y="28"/>
                </a:lnTo>
                <a:lnTo>
                  <a:pt x="3440" y="18"/>
                </a:lnTo>
                <a:lnTo>
                  <a:pt x="3430" y="10"/>
                </a:lnTo>
                <a:lnTo>
                  <a:pt x="3420" y="5"/>
                </a:lnTo>
                <a:lnTo>
                  <a:pt x="3408" y="1"/>
                </a:lnTo>
                <a:lnTo>
                  <a:pt x="3394" y="0"/>
                </a:lnTo>
                <a:lnTo>
                  <a:pt x="65" y="0"/>
                </a:lnTo>
                <a:lnTo>
                  <a:pt x="65" y="0"/>
                </a:lnTo>
                <a:lnTo>
                  <a:pt x="53" y="1"/>
                </a:lnTo>
                <a:lnTo>
                  <a:pt x="40" y="5"/>
                </a:lnTo>
                <a:lnTo>
                  <a:pt x="30" y="10"/>
                </a:lnTo>
                <a:lnTo>
                  <a:pt x="19" y="18"/>
                </a:lnTo>
                <a:lnTo>
                  <a:pt x="12" y="28"/>
                </a:lnTo>
                <a:lnTo>
                  <a:pt x="6" y="39"/>
                </a:lnTo>
                <a:lnTo>
                  <a:pt x="1" y="51"/>
                </a:lnTo>
                <a:lnTo>
                  <a:pt x="0" y="64"/>
                </a:lnTo>
                <a:lnTo>
                  <a:pt x="0" y="1538"/>
                </a:lnTo>
                <a:lnTo>
                  <a:pt x="0" y="1538"/>
                </a:lnTo>
                <a:lnTo>
                  <a:pt x="1" y="1552"/>
                </a:lnTo>
                <a:lnTo>
                  <a:pt x="6" y="1564"/>
                </a:lnTo>
                <a:lnTo>
                  <a:pt x="12" y="1575"/>
                </a:lnTo>
                <a:lnTo>
                  <a:pt x="19" y="1584"/>
                </a:lnTo>
                <a:lnTo>
                  <a:pt x="30" y="1592"/>
                </a:lnTo>
                <a:lnTo>
                  <a:pt x="40" y="1597"/>
                </a:lnTo>
                <a:lnTo>
                  <a:pt x="53" y="1601"/>
                </a:lnTo>
                <a:lnTo>
                  <a:pt x="65" y="1603"/>
                </a:lnTo>
                <a:lnTo>
                  <a:pt x="3394" y="1603"/>
                </a:lnTo>
                <a:lnTo>
                  <a:pt x="3394" y="1603"/>
                </a:lnTo>
                <a:lnTo>
                  <a:pt x="3408" y="1601"/>
                </a:lnTo>
                <a:lnTo>
                  <a:pt x="3420" y="1597"/>
                </a:lnTo>
                <a:lnTo>
                  <a:pt x="3430" y="1592"/>
                </a:lnTo>
                <a:lnTo>
                  <a:pt x="3440" y="1584"/>
                </a:lnTo>
                <a:lnTo>
                  <a:pt x="3448" y="1575"/>
                </a:lnTo>
                <a:lnTo>
                  <a:pt x="3455" y="1564"/>
                </a:lnTo>
                <a:lnTo>
                  <a:pt x="3457" y="1552"/>
                </a:lnTo>
                <a:lnTo>
                  <a:pt x="3459" y="1538"/>
                </a:lnTo>
                <a:lnTo>
                  <a:pt x="3459" y="64"/>
                </a:lnTo>
                <a:close/>
                <a:moveTo>
                  <a:pt x="2942" y="270"/>
                </a:moveTo>
                <a:lnTo>
                  <a:pt x="2942" y="270"/>
                </a:lnTo>
                <a:lnTo>
                  <a:pt x="2944" y="267"/>
                </a:lnTo>
                <a:lnTo>
                  <a:pt x="2948" y="266"/>
                </a:lnTo>
                <a:lnTo>
                  <a:pt x="2952" y="263"/>
                </a:lnTo>
                <a:lnTo>
                  <a:pt x="2956" y="263"/>
                </a:lnTo>
                <a:lnTo>
                  <a:pt x="3096" y="263"/>
                </a:lnTo>
                <a:lnTo>
                  <a:pt x="3096" y="263"/>
                </a:lnTo>
                <a:lnTo>
                  <a:pt x="3100" y="263"/>
                </a:lnTo>
                <a:lnTo>
                  <a:pt x="3102" y="266"/>
                </a:lnTo>
                <a:lnTo>
                  <a:pt x="3104" y="267"/>
                </a:lnTo>
                <a:lnTo>
                  <a:pt x="3104" y="270"/>
                </a:lnTo>
                <a:lnTo>
                  <a:pt x="3104" y="364"/>
                </a:lnTo>
                <a:lnTo>
                  <a:pt x="3104" y="364"/>
                </a:lnTo>
                <a:lnTo>
                  <a:pt x="3104" y="367"/>
                </a:lnTo>
                <a:lnTo>
                  <a:pt x="3102" y="368"/>
                </a:lnTo>
                <a:lnTo>
                  <a:pt x="3100" y="371"/>
                </a:lnTo>
                <a:lnTo>
                  <a:pt x="3096" y="371"/>
                </a:lnTo>
                <a:lnTo>
                  <a:pt x="2956" y="371"/>
                </a:lnTo>
                <a:lnTo>
                  <a:pt x="2956" y="371"/>
                </a:lnTo>
                <a:lnTo>
                  <a:pt x="2952" y="371"/>
                </a:lnTo>
                <a:lnTo>
                  <a:pt x="2948" y="368"/>
                </a:lnTo>
                <a:lnTo>
                  <a:pt x="2944" y="367"/>
                </a:lnTo>
                <a:lnTo>
                  <a:pt x="2942" y="364"/>
                </a:lnTo>
                <a:lnTo>
                  <a:pt x="2942" y="270"/>
                </a:lnTo>
                <a:close/>
                <a:moveTo>
                  <a:pt x="2722" y="270"/>
                </a:moveTo>
                <a:lnTo>
                  <a:pt x="2722" y="270"/>
                </a:lnTo>
                <a:lnTo>
                  <a:pt x="2723" y="267"/>
                </a:lnTo>
                <a:lnTo>
                  <a:pt x="2727" y="266"/>
                </a:lnTo>
                <a:lnTo>
                  <a:pt x="2731" y="263"/>
                </a:lnTo>
                <a:lnTo>
                  <a:pt x="2735" y="263"/>
                </a:lnTo>
                <a:lnTo>
                  <a:pt x="2875" y="263"/>
                </a:lnTo>
                <a:lnTo>
                  <a:pt x="2875" y="263"/>
                </a:lnTo>
                <a:lnTo>
                  <a:pt x="2879" y="263"/>
                </a:lnTo>
                <a:lnTo>
                  <a:pt x="2882" y="266"/>
                </a:lnTo>
                <a:lnTo>
                  <a:pt x="2883" y="267"/>
                </a:lnTo>
                <a:lnTo>
                  <a:pt x="2883" y="270"/>
                </a:lnTo>
                <a:lnTo>
                  <a:pt x="2883" y="364"/>
                </a:lnTo>
                <a:lnTo>
                  <a:pt x="2883" y="364"/>
                </a:lnTo>
                <a:lnTo>
                  <a:pt x="2883" y="367"/>
                </a:lnTo>
                <a:lnTo>
                  <a:pt x="2882" y="368"/>
                </a:lnTo>
                <a:lnTo>
                  <a:pt x="2879" y="371"/>
                </a:lnTo>
                <a:lnTo>
                  <a:pt x="2875" y="371"/>
                </a:lnTo>
                <a:lnTo>
                  <a:pt x="2735" y="371"/>
                </a:lnTo>
                <a:lnTo>
                  <a:pt x="2735" y="371"/>
                </a:lnTo>
                <a:lnTo>
                  <a:pt x="2731" y="371"/>
                </a:lnTo>
                <a:lnTo>
                  <a:pt x="2727" y="368"/>
                </a:lnTo>
                <a:lnTo>
                  <a:pt x="2723" y="367"/>
                </a:lnTo>
                <a:lnTo>
                  <a:pt x="2722" y="364"/>
                </a:lnTo>
                <a:lnTo>
                  <a:pt x="2722" y="270"/>
                </a:lnTo>
                <a:close/>
                <a:moveTo>
                  <a:pt x="2980" y="790"/>
                </a:moveTo>
                <a:lnTo>
                  <a:pt x="2980" y="790"/>
                </a:lnTo>
                <a:lnTo>
                  <a:pt x="2980" y="794"/>
                </a:lnTo>
                <a:lnTo>
                  <a:pt x="2977" y="799"/>
                </a:lnTo>
                <a:lnTo>
                  <a:pt x="2975" y="800"/>
                </a:lnTo>
                <a:lnTo>
                  <a:pt x="2969" y="801"/>
                </a:lnTo>
                <a:lnTo>
                  <a:pt x="2829" y="801"/>
                </a:lnTo>
                <a:lnTo>
                  <a:pt x="2829" y="801"/>
                </a:lnTo>
                <a:lnTo>
                  <a:pt x="2825" y="800"/>
                </a:lnTo>
                <a:lnTo>
                  <a:pt x="2823" y="799"/>
                </a:lnTo>
                <a:lnTo>
                  <a:pt x="2820" y="794"/>
                </a:lnTo>
                <a:lnTo>
                  <a:pt x="2819" y="790"/>
                </a:lnTo>
                <a:lnTo>
                  <a:pt x="2819" y="651"/>
                </a:lnTo>
                <a:lnTo>
                  <a:pt x="2819" y="651"/>
                </a:lnTo>
                <a:lnTo>
                  <a:pt x="2820" y="647"/>
                </a:lnTo>
                <a:lnTo>
                  <a:pt x="2823" y="643"/>
                </a:lnTo>
                <a:lnTo>
                  <a:pt x="2825" y="641"/>
                </a:lnTo>
                <a:lnTo>
                  <a:pt x="2829" y="640"/>
                </a:lnTo>
                <a:lnTo>
                  <a:pt x="2969" y="640"/>
                </a:lnTo>
                <a:lnTo>
                  <a:pt x="2969" y="640"/>
                </a:lnTo>
                <a:lnTo>
                  <a:pt x="2975" y="641"/>
                </a:lnTo>
                <a:lnTo>
                  <a:pt x="2977" y="643"/>
                </a:lnTo>
                <a:lnTo>
                  <a:pt x="2980" y="647"/>
                </a:lnTo>
                <a:lnTo>
                  <a:pt x="2980" y="651"/>
                </a:lnTo>
                <a:lnTo>
                  <a:pt x="2980" y="790"/>
                </a:lnTo>
                <a:close/>
                <a:moveTo>
                  <a:pt x="3104" y="1006"/>
                </a:moveTo>
                <a:lnTo>
                  <a:pt x="3104" y="1006"/>
                </a:lnTo>
                <a:lnTo>
                  <a:pt x="3104" y="1010"/>
                </a:lnTo>
                <a:lnTo>
                  <a:pt x="3101" y="1014"/>
                </a:lnTo>
                <a:lnTo>
                  <a:pt x="3098" y="1015"/>
                </a:lnTo>
                <a:lnTo>
                  <a:pt x="3093" y="1016"/>
                </a:lnTo>
                <a:lnTo>
                  <a:pt x="2953" y="1016"/>
                </a:lnTo>
                <a:lnTo>
                  <a:pt x="2953" y="1016"/>
                </a:lnTo>
                <a:lnTo>
                  <a:pt x="2949" y="1015"/>
                </a:lnTo>
                <a:lnTo>
                  <a:pt x="2946" y="1014"/>
                </a:lnTo>
                <a:lnTo>
                  <a:pt x="2944" y="1010"/>
                </a:lnTo>
                <a:lnTo>
                  <a:pt x="2942" y="1006"/>
                </a:lnTo>
                <a:lnTo>
                  <a:pt x="2942" y="866"/>
                </a:lnTo>
                <a:lnTo>
                  <a:pt x="2942" y="866"/>
                </a:lnTo>
                <a:lnTo>
                  <a:pt x="2944" y="862"/>
                </a:lnTo>
                <a:lnTo>
                  <a:pt x="2946" y="858"/>
                </a:lnTo>
                <a:lnTo>
                  <a:pt x="2949" y="856"/>
                </a:lnTo>
                <a:lnTo>
                  <a:pt x="2953" y="855"/>
                </a:lnTo>
                <a:lnTo>
                  <a:pt x="3093" y="855"/>
                </a:lnTo>
                <a:lnTo>
                  <a:pt x="3093" y="855"/>
                </a:lnTo>
                <a:lnTo>
                  <a:pt x="3098" y="856"/>
                </a:lnTo>
                <a:lnTo>
                  <a:pt x="3101" y="858"/>
                </a:lnTo>
                <a:lnTo>
                  <a:pt x="3104" y="862"/>
                </a:lnTo>
                <a:lnTo>
                  <a:pt x="3104" y="866"/>
                </a:lnTo>
                <a:lnTo>
                  <a:pt x="3104" y="1006"/>
                </a:lnTo>
                <a:close/>
                <a:moveTo>
                  <a:pt x="705" y="1006"/>
                </a:moveTo>
                <a:lnTo>
                  <a:pt x="705" y="1006"/>
                </a:lnTo>
                <a:lnTo>
                  <a:pt x="705" y="1010"/>
                </a:lnTo>
                <a:lnTo>
                  <a:pt x="702" y="1014"/>
                </a:lnTo>
                <a:lnTo>
                  <a:pt x="699" y="1015"/>
                </a:lnTo>
                <a:lnTo>
                  <a:pt x="694" y="1016"/>
                </a:lnTo>
                <a:lnTo>
                  <a:pt x="554" y="1016"/>
                </a:lnTo>
                <a:lnTo>
                  <a:pt x="554" y="1016"/>
                </a:lnTo>
                <a:lnTo>
                  <a:pt x="550" y="1015"/>
                </a:lnTo>
                <a:lnTo>
                  <a:pt x="547" y="1014"/>
                </a:lnTo>
                <a:lnTo>
                  <a:pt x="545" y="1010"/>
                </a:lnTo>
                <a:lnTo>
                  <a:pt x="543" y="1006"/>
                </a:lnTo>
                <a:lnTo>
                  <a:pt x="543" y="866"/>
                </a:lnTo>
                <a:lnTo>
                  <a:pt x="543" y="866"/>
                </a:lnTo>
                <a:lnTo>
                  <a:pt x="545" y="862"/>
                </a:lnTo>
                <a:lnTo>
                  <a:pt x="547" y="858"/>
                </a:lnTo>
                <a:lnTo>
                  <a:pt x="550" y="856"/>
                </a:lnTo>
                <a:lnTo>
                  <a:pt x="554" y="855"/>
                </a:lnTo>
                <a:lnTo>
                  <a:pt x="694" y="855"/>
                </a:lnTo>
                <a:lnTo>
                  <a:pt x="694" y="855"/>
                </a:lnTo>
                <a:lnTo>
                  <a:pt x="699" y="856"/>
                </a:lnTo>
                <a:lnTo>
                  <a:pt x="702" y="858"/>
                </a:lnTo>
                <a:lnTo>
                  <a:pt x="705" y="862"/>
                </a:lnTo>
                <a:lnTo>
                  <a:pt x="705" y="866"/>
                </a:lnTo>
                <a:lnTo>
                  <a:pt x="705" y="1006"/>
                </a:lnTo>
                <a:close/>
                <a:moveTo>
                  <a:pt x="597" y="1221"/>
                </a:moveTo>
                <a:lnTo>
                  <a:pt x="597" y="1221"/>
                </a:lnTo>
                <a:lnTo>
                  <a:pt x="597" y="1225"/>
                </a:lnTo>
                <a:lnTo>
                  <a:pt x="594" y="1229"/>
                </a:lnTo>
                <a:lnTo>
                  <a:pt x="592" y="1230"/>
                </a:lnTo>
                <a:lnTo>
                  <a:pt x="586" y="1232"/>
                </a:lnTo>
                <a:lnTo>
                  <a:pt x="447" y="1232"/>
                </a:lnTo>
                <a:lnTo>
                  <a:pt x="447" y="1232"/>
                </a:lnTo>
                <a:lnTo>
                  <a:pt x="443" y="1230"/>
                </a:lnTo>
                <a:lnTo>
                  <a:pt x="440" y="1229"/>
                </a:lnTo>
                <a:lnTo>
                  <a:pt x="437" y="1225"/>
                </a:lnTo>
                <a:lnTo>
                  <a:pt x="436" y="1221"/>
                </a:lnTo>
                <a:lnTo>
                  <a:pt x="436" y="1081"/>
                </a:lnTo>
                <a:lnTo>
                  <a:pt x="436" y="1081"/>
                </a:lnTo>
                <a:lnTo>
                  <a:pt x="437" y="1077"/>
                </a:lnTo>
                <a:lnTo>
                  <a:pt x="440" y="1073"/>
                </a:lnTo>
                <a:lnTo>
                  <a:pt x="443" y="1072"/>
                </a:lnTo>
                <a:lnTo>
                  <a:pt x="447" y="1070"/>
                </a:lnTo>
                <a:lnTo>
                  <a:pt x="586" y="1070"/>
                </a:lnTo>
                <a:lnTo>
                  <a:pt x="586" y="1070"/>
                </a:lnTo>
                <a:lnTo>
                  <a:pt x="592" y="1072"/>
                </a:lnTo>
                <a:lnTo>
                  <a:pt x="594" y="1073"/>
                </a:lnTo>
                <a:lnTo>
                  <a:pt x="597" y="1077"/>
                </a:lnTo>
                <a:lnTo>
                  <a:pt x="597" y="1081"/>
                </a:lnTo>
                <a:lnTo>
                  <a:pt x="597" y="1221"/>
                </a:lnTo>
                <a:close/>
                <a:moveTo>
                  <a:pt x="581" y="790"/>
                </a:moveTo>
                <a:lnTo>
                  <a:pt x="581" y="790"/>
                </a:lnTo>
                <a:lnTo>
                  <a:pt x="581" y="794"/>
                </a:lnTo>
                <a:lnTo>
                  <a:pt x="578" y="799"/>
                </a:lnTo>
                <a:lnTo>
                  <a:pt x="576" y="800"/>
                </a:lnTo>
                <a:lnTo>
                  <a:pt x="570" y="801"/>
                </a:lnTo>
                <a:lnTo>
                  <a:pt x="430" y="801"/>
                </a:lnTo>
                <a:lnTo>
                  <a:pt x="430" y="801"/>
                </a:lnTo>
                <a:lnTo>
                  <a:pt x="426" y="800"/>
                </a:lnTo>
                <a:lnTo>
                  <a:pt x="424" y="799"/>
                </a:lnTo>
                <a:lnTo>
                  <a:pt x="421" y="794"/>
                </a:lnTo>
                <a:lnTo>
                  <a:pt x="420" y="790"/>
                </a:lnTo>
                <a:lnTo>
                  <a:pt x="420" y="651"/>
                </a:lnTo>
                <a:lnTo>
                  <a:pt x="420" y="651"/>
                </a:lnTo>
                <a:lnTo>
                  <a:pt x="421" y="647"/>
                </a:lnTo>
                <a:lnTo>
                  <a:pt x="424" y="643"/>
                </a:lnTo>
                <a:lnTo>
                  <a:pt x="426" y="641"/>
                </a:lnTo>
                <a:lnTo>
                  <a:pt x="430" y="640"/>
                </a:lnTo>
                <a:lnTo>
                  <a:pt x="570" y="640"/>
                </a:lnTo>
                <a:lnTo>
                  <a:pt x="570" y="640"/>
                </a:lnTo>
                <a:lnTo>
                  <a:pt x="576" y="641"/>
                </a:lnTo>
                <a:lnTo>
                  <a:pt x="578" y="643"/>
                </a:lnTo>
                <a:lnTo>
                  <a:pt x="581" y="647"/>
                </a:lnTo>
                <a:lnTo>
                  <a:pt x="581" y="651"/>
                </a:lnTo>
                <a:lnTo>
                  <a:pt x="581" y="790"/>
                </a:lnTo>
                <a:close/>
                <a:moveTo>
                  <a:pt x="802" y="790"/>
                </a:moveTo>
                <a:lnTo>
                  <a:pt x="802" y="790"/>
                </a:lnTo>
                <a:lnTo>
                  <a:pt x="802" y="794"/>
                </a:lnTo>
                <a:lnTo>
                  <a:pt x="799" y="799"/>
                </a:lnTo>
                <a:lnTo>
                  <a:pt x="796" y="800"/>
                </a:lnTo>
                <a:lnTo>
                  <a:pt x="791" y="801"/>
                </a:lnTo>
                <a:lnTo>
                  <a:pt x="651" y="801"/>
                </a:lnTo>
                <a:lnTo>
                  <a:pt x="651" y="801"/>
                </a:lnTo>
                <a:lnTo>
                  <a:pt x="647" y="800"/>
                </a:lnTo>
                <a:lnTo>
                  <a:pt x="644" y="799"/>
                </a:lnTo>
                <a:lnTo>
                  <a:pt x="642" y="794"/>
                </a:lnTo>
                <a:lnTo>
                  <a:pt x="640" y="790"/>
                </a:lnTo>
                <a:lnTo>
                  <a:pt x="640" y="651"/>
                </a:lnTo>
                <a:lnTo>
                  <a:pt x="640" y="651"/>
                </a:lnTo>
                <a:lnTo>
                  <a:pt x="642" y="647"/>
                </a:lnTo>
                <a:lnTo>
                  <a:pt x="644" y="643"/>
                </a:lnTo>
                <a:lnTo>
                  <a:pt x="647" y="641"/>
                </a:lnTo>
                <a:lnTo>
                  <a:pt x="651" y="640"/>
                </a:lnTo>
                <a:lnTo>
                  <a:pt x="791" y="640"/>
                </a:lnTo>
                <a:lnTo>
                  <a:pt x="791" y="640"/>
                </a:lnTo>
                <a:lnTo>
                  <a:pt x="796" y="641"/>
                </a:lnTo>
                <a:lnTo>
                  <a:pt x="799" y="643"/>
                </a:lnTo>
                <a:lnTo>
                  <a:pt x="802" y="647"/>
                </a:lnTo>
                <a:lnTo>
                  <a:pt x="802" y="651"/>
                </a:lnTo>
                <a:lnTo>
                  <a:pt x="802" y="790"/>
                </a:lnTo>
                <a:close/>
                <a:moveTo>
                  <a:pt x="812" y="1221"/>
                </a:moveTo>
                <a:lnTo>
                  <a:pt x="812" y="1221"/>
                </a:lnTo>
                <a:lnTo>
                  <a:pt x="812" y="1225"/>
                </a:lnTo>
                <a:lnTo>
                  <a:pt x="810" y="1229"/>
                </a:lnTo>
                <a:lnTo>
                  <a:pt x="807" y="1230"/>
                </a:lnTo>
                <a:lnTo>
                  <a:pt x="802" y="1232"/>
                </a:lnTo>
                <a:lnTo>
                  <a:pt x="662" y="1232"/>
                </a:lnTo>
                <a:lnTo>
                  <a:pt x="662" y="1232"/>
                </a:lnTo>
                <a:lnTo>
                  <a:pt x="658" y="1230"/>
                </a:lnTo>
                <a:lnTo>
                  <a:pt x="655" y="1229"/>
                </a:lnTo>
                <a:lnTo>
                  <a:pt x="652" y="1225"/>
                </a:lnTo>
                <a:lnTo>
                  <a:pt x="651" y="1221"/>
                </a:lnTo>
                <a:lnTo>
                  <a:pt x="651" y="1081"/>
                </a:lnTo>
                <a:lnTo>
                  <a:pt x="651" y="1081"/>
                </a:lnTo>
                <a:lnTo>
                  <a:pt x="652" y="1077"/>
                </a:lnTo>
                <a:lnTo>
                  <a:pt x="655" y="1073"/>
                </a:lnTo>
                <a:lnTo>
                  <a:pt x="658" y="1072"/>
                </a:lnTo>
                <a:lnTo>
                  <a:pt x="662" y="1070"/>
                </a:lnTo>
                <a:lnTo>
                  <a:pt x="802" y="1070"/>
                </a:lnTo>
                <a:lnTo>
                  <a:pt x="802" y="1070"/>
                </a:lnTo>
                <a:lnTo>
                  <a:pt x="807" y="1072"/>
                </a:lnTo>
                <a:lnTo>
                  <a:pt x="810" y="1073"/>
                </a:lnTo>
                <a:lnTo>
                  <a:pt x="812" y="1077"/>
                </a:lnTo>
                <a:lnTo>
                  <a:pt x="812" y="1081"/>
                </a:lnTo>
                <a:lnTo>
                  <a:pt x="812" y="1221"/>
                </a:lnTo>
                <a:close/>
                <a:moveTo>
                  <a:pt x="920" y="1006"/>
                </a:moveTo>
                <a:lnTo>
                  <a:pt x="920" y="1006"/>
                </a:lnTo>
                <a:lnTo>
                  <a:pt x="920" y="1010"/>
                </a:lnTo>
                <a:lnTo>
                  <a:pt x="917" y="1014"/>
                </a:lnTo>
                <a:lnTo>
                  <a:pt x="915" y="1015"/>
                </a:lnTo>
                <a:lnTo>
                  <a:pt x="909" y="1016"/>
                </a:lnTo>
                <a:lnTo>
                  <a:pt x="769" y="1016"/>
                </a:lnTo>
                <a:lnTo>
                  <a:pt x="769" y="1016"/>
                </a:lnTo>
                <a:lnTo>
                  <a:pt x="765" y="1015"/>
                </a:lnTo>
                <a:lnTo>
                  <a:pt x="763" y="1014"/>
                </a:lnTo>
                <a:lnTo>
                  <a:pt x="760" y="1010"/>
                </a:lnTo>
                <a:lnTo>
                  <a:pt x="759" y="1006"/>
                </a:lnTo>
                <a:lnTo>
                  <a:pt x="759" y="866"/>
                </a:lnTo>
                <a:lnTo>
                  <a:pt x="759" y="866"/>
                </a:lnTo>
                <a:lnTo>
                  <a:pt x="760" y="862"/>
                </a:lnTo>
                <a:lnTo>
                  <a:pt x="763" y="858"/>
                </a:lnTo>
                <a:lnTo>
                  <a:pt x="765" y="856"/>
                </a:lnTo>
                <a:lnTo>
                  <a:pt x="769" y="855"/>
                </a:lnTo>
                <a:lnTo>
                  <a:pt x="909" y="855"/>
                </a:lnTo>
                <a:lnTo>
                  <a:pt x="909" y="855"/>
                </a:lnTo>
                <a:lnTo>
                  <a:pt x="915" y="856"/>
                </a:lnTo>
                <a:lnTo>
                  <a:pt x="917" y="858"/>
                </a:lnTo>
                <a:lnTo>
                  <a:pt x="920" y="862"/>
                </a:lnTo>
                <a:lnTo>
                  <a:pt x="920" y="866"/>
                </a:lnTo>
                <a:lnTo>
                  <a:pt x="920" y="1006"/>
                </a:lnTo>
                <a:close/>
                <a:moveTo>
                  <a:pt x="1017" y="790"/>
                </a:moveTo>
                <a:lnTo>
                  <a:pt x="1017" y="790"/>
                </a:lnTo>
                <a:lnTo>
                  <a:pt x="1017" y="794"/>
                </a:lnTo>
                <a:lnTo>
                  <a:pt x="1014" y="799"/>
                </a:lnTo>
                <a:lnTo>
                  <a:pt x="1011" y="800"/>
                </a:lnTo>
                <a:lnTo>
                  <a:pt x="1006" y="801"/>
                </a:lnTo>
                <a:lnTo>
                  <a:pt x="866" y="801"/>
                </a:lnTo>
                <a:lnTo>
                  <a:pt x="866" y="801"/>
                </a:lnTo>
                <a:lnTo>
                  <a:pt x="862" y="800"/>
                </a:lnTo>
                <a:lnTo>
                  <a:pt x="859" y="799"/>
                </a:lnTo>
                <a:lnTo>
                  <a:pt x="857" y="794"/>
                </a:lnTo>
                <a:lnTo>
                  <a:pt x="855" y="790"/>
                </a:lnTo>
                <a:lnTo>
                  <a:pt x="855" y="651"/>
                </a:lnTo>
                <a:lnTo>
                  <a:pt x="855" y="651"/>
                </a:lnTo>
                <a:lnTo>
                  <a:pt x="857" y="647"/>
                </a:lnTo>
                <a:lnTo>
                  <a:pt x="859" y="643"/>
                </a:lnTo>
                <a:lnTo>
                  <a:pt x="862" y="641"/>
                </a:lnTo>
                <a:lnTo>
                  <a:pt x="866" y="640"/>
                </a:lnTo>
                <a:lnTo>
                  <a:pt x="1006" y="640"/>
                </a:lnTo>
                <a:lnTo>
                  <a:pt x="1006" y="640"/>
                </a:lnTo>
                <a:lnTo>
                  <a:pt x="1011" y="641"/>
                </a:lnTo>
                <a:lnTo>
                  <a:pt x="1014" y="643"/>
                </a:lnTo>
                <a:lnTo>
                  <a:pt x="1017" y="647"/>
                </a:lnTo>
                <a:lnTo>
                  <a:pt x="1017" y="651"/>
                </a:lnTo>
                <a:lnTo>
                  <a:pt x="1017" y="790"/>
                </a:lnTo>
                <a:close/>
                <a:moveTo>
                  <a:pt x="1033" y="1221"/>
                </a:moveTo>
                <a:lnTo>
                  <a:pt x="1033" y="1221"/>
                </a:lnTo>
                <a:lnTo>
                  <a:pt x="1033" y="1225"/>
                </a:lnTo>
                <a:lnTo>
                  <a:pt x="1030" y="1229"/>
                </a:lnTo>
                <a:lnTo>
                  <a:pt x="1027" y="1230"/>
                </a:lnTo>
                <a:lnTo>
                  <a:pt x="1022" y="1232"/>
                </a:lnTo>
                <a:lnTo>
                  <a:pt x="882" y="1232"/>
                </a:lnTo>
                <a:lnTo>
                  <a:pt x="882" y="1232"/>
                </a:lnTo>
                <a:lnTo>
                  <a:pt x="878" y="1230"/>
                </a:lnTo>
                <a:lnTo>
                  <a:pt x="876" y="1229"/>
                </a:lnTo>
                <a:lnTo>
                  <a:pt x="873" y="1225"/>
                </a:lnTo>
                <a:lnTo>
                  <a:pt x="871" y="1221"/>
                </a:lnTo>
                <a:lnTo>
                  <a:pt x="871" y="1081"/>
                </a:lnTo>
                <a:lnTo>
                  <a:pt x="871" y="1081"/>
                </a:lnTo>
                <a:lnTo>
                  <a:pt x="873" y="1077"/>
                </a:lnTo>
                <a:lnTo>
                  <a:pt x="876" y="1073"/>
                </a:lnTo>
                <a:lnTo>
                  <a:pt x="878" y="1072"/>
                </a:lnTo>
                <a:lnTo>
                  <a:pt x="882" y="1070"/>
                </a:lnTo>
                <a:lnTo>
                  <a:pt x="1022" y="1070"/>
                </a:lnTo>
                <a:lnTo>
                  <a:pt x="1022" y="1070"/>
                </a:lnTo>
                <a:lnTo>
                  <a:pt x="1027" y="1072"/>
                </a:lnTo>
                <a:lnTo>
                  <a:pt x="1030" y="1073"/>
                </a:lnTo>
                <a:lnTo>
                  <a:pt x="1033" y="1077"/>
                </a:lnTo>
                <a:lnTo>
                  <a:pt x="1033" y="1081"/>
                </a:lnTo>
                <a:lnTo>
                  <a:pt x="1033" y="1221"/>
                </a:lnTo>
                <a:close/>
                <a:moveTo>
                  <a:pt x="1140" y="1006"/>
                </a:moveTo>
                <a:lnTo>
                  <a:pt x="1140" y="1006"/>
                </a:lnTo>
                <a:lnTo>
                  <a:pt x="1140" y="1010"/>
                </a:lnTo>
                <a:lnTo>
                  <a:pt x="1138" y="1014"/>
                </a:lnTo>
                <a:lnTo>
                  <a:pt x="1135" y="1015"/>
                </a:lnTo>
                <a:lnTo>
                  <a:pt x="1130" y="1016"/>
                </a:lnTo>
                <a:lnTo>
                  <a:pt x="990" y="1016"/>
                </a:lnTo>
                <a:lnTo>
                  <a:pt x="990" y="1016"/>
                </a:lnTo>
                <a:lnTo>
                  <a:pt x="986" y="1015"/>
                </a:lnTo>
                <a:lnTo>
                  <a:pt x="983" y="1014"/>
                </a:lnTo>
                <a:lnTo>
                  <a:pt x="980" y="1010"/>
                </a:lnTo>
                <a:lnTo>
                  <a:pt x="979" y="1006"/>
                </a:lnTo>
                <a:lnTo>
                  <a:pt x="979" y="866"/>
                </a:lnTo>
                <a:lnTo>
                  <a:pt x="979" y="866"/>
                </a:lnTo>
                <a:lnTo>
                  <a:pt x="980" y="862"/>
                </a:lnTo>
                <a:lnTo>
                  <a:pt x="983" y="858"/>
                </a:lnTo>
                <a:lnTo>
                  <a:pt x="986" y="856"/>
                </a:lnTo>
                <a:lnTo>
                  <a:pt x="990" y="855"/>
                </a:lnTo>
                <a:lnTo>
                  <a:pt x="1130" y="855"/>
                </a:lnTo>
                <a:lnTo>
                  <a:pt x="1130" y="855"/>
                </a:lnTo>
                <a:lnTo>
                  <a:pt x="1135" y="856"/>
                </a:lnTo>
                <a:lnTo>
                  <a:pt x="1138" y="858"/>
                </a:lnTo>
                <a:lnTo>
                  <a:pt x="1140" y="862"/>
                </a:lnTo>
                <a:lnTo>
                  <a:pt x="1140" y="866"/>
                </a:lnTo>
                <a:lnTo>
                  <a:pt x="1140" y="1006"/>
                </a:lnTo>
                <a:close/>
                <a:moveTo>
                  <a:pt x="1237" y="790"/>
                </a:moveTo>
                <a:lnTo>
                  <a:pt x="1237" y="790"/>
                </a:lnTo>
                <a:lnTo>
                  <a:pt x="1237" y="794"/>
                </a:lnTo>
                <a:lnTo>
                  <a:pt x="1235" y="799"/>
                </a:lnTo>
                <a:lnTo>
                  <a:pt x="1232" y="800"/>
                </a:lnTo>
                <a:lnTo>
                  <a:pt x="1226" y="801"/>
                </a:lnTo>
                <a:lnTo>
                  <a:pt x="1087" y="801"/>
                </a:lnTo>
                <a:lnTo>
                  <a:pt x="1087" y="801"/>
                </a:lnTo>
                <a:lnTo>
                  <a:pt x="1083" y="800"/>
                </a:lnTo>
                <a:lnTo>
                  <a:pt x="1080" y="799"/>
                </a:lnTo>
                <a:lnTo>
                  <a:pt x="1077" y="794"/>
                </a:lnTo>
                <a:lnTo>
                  <a:pt x="1076" y="790"/>
                </a:lnTo>
                <a:lnTo>
                  <a:pt x="1076" y="651"/>
                </a:lnTo>
                <a:lnTo>
                  <a:pt x="1076" y="651"/>
                </a:lnTo>
                <a:lnTo>
                  <a:pt x="1077" y="647"/>
                </a:lnTo>
                <a:lnTo>
                  <a:pt x="1080" y="643"/>
                </a:lnTo>
                <a:lnTo>
                  <a:pt x="1083" y="641"/>
                </a:lnTo>
                <a:lnTo>
                  <a:pt x="1087" y="640"/>
                </a:lnTo>
                <a:lnTo>
                  <a:pt x="1226" y="640"/>
                </a:lnTo>
                <a:lnTo>
                  <a:pt x="1226" y="640"/>
                </a:lnTo>
                <a:lnTo>
                  <a:pt x="1232" y="641"/>
                </a:lnTo>
                <a:lnTo>
                  <a:pt x="1235" y="643"/>
                </a:lnTo>
                <a:lnTo>
                  <a:pt x="1237" y="647"/>
                </a:lnTo>
                <a:lnTo>
                  <a:pt x="1237" y="651"/>
                </a:lnTo>
                <a:lnTo>
                  <a:pt x="1237" y="790"/>
                </a:lnTo>
                <a:close/>
                <a:moveTo>
                  <a:pt x="1248" y="1221"/>
                </a:moveTo>
                <a:lnTo>
                  <a:pt x="1248" y="1221"/>
                </a:lnTo>
                <a:lnTo>
                  <a:pt x="1248" y="1225"/>
                </a:lnTo>
                <a:lnTo>
                  <a:pt x="1245" y="1229"/>
                </a:lnTo>
                <a:lnTo>
                  <a:pt x="1243" y="1230"/>
                </a:lnTo>
                <a:lnTo>
                  <a:pt x="1237" y="1232"/>
                </a:lnTo>
                <a:lnTo>
                  <a:pt x="1097" y="1232"/>
                </a:lnTo>
                <a:lnTo>
                  <a:pt x="1097" y="1232"/>
                </a:lnTo>
                <a:lnTo>
                  <a:pt x="1093" y="1230"/>
                </a:lnTo>
                <a:lnTo>
                  <a:pt x="1091" y="1229"/>
                </a:lnTo>
                <a:lnTo>
                  <a:pt x="1088" y="1225"/>
                </a:lnTo>
                <a:lnTo>
                  <a:pt x="1087" y="1221"/>
                </a:lnTo>
                <a:lnTo>
                  <a:pt x="1087" y="1081"/>
                </a:lnTo>
                <a:lnTo>
                  <a:pt x="1087" y="1081"/>
                </a:lnTo>
                <a:lnTo>
                  <a:pt x="1088" y="1077"/>
                </a:lnTo>
                <a:lnTo>
                  <a:pt x="1091" y="1073"/>
                </a:lnTo>
                <a:lnTo>
                  <a:pt x="1093" y="1072"/>
                </a:lnTo>
                <a:lnTo>
                  <a:pt x="1097" y="1070"/>
                </a:lnTo>
                <a:lnTo>
                  <a:pt x="1237" y="1070"/>
                </a:lnTo>
                <a:lnTo>
                  <a:pt x="1237" y="1070"/>
                </a:lnTo>
                <a:lnTo>
                  <a:pt x="1243" y="1072"/>
                </a:lnTo>
                <a:lnTo>
                  <a:pt x="1245" y="1073"/>
                </a:lnTo>
                <a:lnTo>
                  <a:pt x="1248" y="1077"/>
                </a:lnTo>
                <a:lnTo>
                  <a:pt x="1248" y="1081"/>
                </a:lnTo>
                <a:lnTo>
                  <a:pt x="1248" y="1221"/>
                </a:lnTo>
                <a:close/>
                <a:moveTo>
                  <a:pt x="1356" y="1006"/>
                </a:moveTo>
                <a:lnTo>
                  <a:pt x="1356" y="1006"/>
                </a:lnTo>
                <a:lnTo>
                  <a:pt x="1356" y="1010"/>
                </a:lnTo>
                <a:lnTo>
                  <a:pt x="1353" y="1014"/>
                </a:lnTo>
                <a:lnTo>
                  <a:pt x="1350" y="1015"/>
                </a:lnTo>
                <a:lnTo>
                  <a:pt x="1345" y="1016"/>
                </a:lnTo>
                <a:lnTo>
                  <a:pt x="1205" y="1016"/>
                </a:lnTo>
                <a:lnTo>
                  <a:pt x="1205" y="1016"/>
                </a:lnTo>
                <a:lnTo>
                  <a:pt x="1201" y="1015"/>
                </a:lnTo>
                <a:lnTo>
                  <a:pt x="1198" y="1014"/>
                </a:lnTo>
                <a:lnTo>
                  <a:pt x="1196" y="1010"/>
                </a:lnTo>
                <a:lnTo>
                  <a:pt x="1194" y="1006"/>
                </a:lnTo>
                <a:lnTo>
                  <a:pt x="1194" y="866"/>
                </a:lnTo>
                <a:lnTo>
                  <a:pt x="1194" y="866"/>
                </a:lnTo>
                <a:lnTo>
                  <a:pt x="1196" y="862"/>
                </a:lnTo>
                <a:lnTo>
                  <a:pt x="1198" y="858"/>
                </a:lnTo>
                <a:lnTo>
                  <a:pt x="1201" y="856"/>
                </a:lnTo>
                <a:lnTo>
                  <a:pt x="1205" y="855"/>
                </a:lnTo>
                <a:lnTo>
                  <a:pt x="1345" y="855"/>
                </a:lnTo>
                <a:lnTo>
                  <a:pt x="1345" y="855"/>
                </a:lnTo>
                <a:lnTo>
                  <a:pt x="1350" y="856"/>
                </a:lnTo>
                <a:lnTo>
                  <a:pt x="1353" y="858"/>
                </a:lnTo>
                <a:lnTo>
                  <a:pt x="1356" y="862"/>
                </a:lnTo>
                <a:lnTo>
                  <a:pt x="1356" y="866"/>
                </a:lnTo>
                <a:lnTo>
                  <a:pt x="1356" y="1006"/>
                </a:lnTo>
                <a:close/>
                <a:moveTo>
                  <a:pt x="1452" y="790"/>
                </a:moveTo>
                <a:lnTo>
                  <a:pt x="1452" y="790"/>
                </a:lnTo>
                <a:lnTo>
                  <a:pt x="1452" y="794"/>
                </a:lnTo>
                <a:lnTo>
                  <a:pt x="1450" y="799"/>
                </a:lnTo>
                <a:lnTo>
                  <a:pt x="1447" y="800"/>
                </a:lnTo>
                <a:lnTo>
                  <a:pt x="1442" y="801"/>
                </a:lnTo>
                <a:lnTo>
                  <a:pt x="1302" y="801"/>
                </a:lnTo>
                <a:lnTo>
                  <a:pt x="1302" y="801"/>
                </a:lnTo>
                <a:lnTo>
                  <a:pt x="1298" y="800"/>
                </a:lnTo>
                <a:lnTo>
                  <a:pt x="1295" y="799"/>
                </a:lnTo>
                <a:lnTo>
                  <a:pt x="1292" y="794"/>
                </a:lnTo>
                <a:lnTo>
                  <a:pt x="1291" y="790"/>
                </a:lnTo>
                <a:lnTo>
                  <a:pt x="1291" y="651"/>
                </a:lnTo>
                <a:lnTo>
                  <a:pt x="1291" y="651"/>
                </a:lnTo>
                <a:lnTo>
                  <a:pt x="1292" y="647"/>
                </a:lnTo>
                <a:lnTo>
                  <a:pt x="1295" y="643"/>
                </a:lnTo>
                <a:lnTo>
                  <a:pt x="1298" y="641"/>
                </a:lnTo>
                <a:lnTo>
                  <a:pt x="1302" y="640"/>
                </a:lnTo>
                <a:lnTo>
                  <a:pt x="1442" y="640"/>
                </a:lnTo>
                <a:lnTo>
                  <a:pt x="1442" y="640"/>
                </a:lnTo>
                <a:lnTo>
                  <a:pt x="1447" y="641"/>
                </a:lnTo>
                <a:lnTo>
                  <a:pt x="1450" y="643"/>
                </a:lnTo>
                <a:lnTo>
                  <a:pt x="1452" y="647"/>
                </a:lnTo>
                <a:lnTo>
                  <a:pt x="1452" y="651"/>
                </a:lnTo>
                <a:lnTo>
                  <a:pt x="1452" y="790"/>
                </a:lnTo>
                <a:close/>
                <a:moveTo>
                  <a:pt x="1469" y="1221"/>
                </a:moveTo>
                <a:lnTo>
                  <a:pt x="1469" y="1221"/>
                </a:lnTo>
                <a:lnTo>
                  <a:pt x="1469" y="1225"/>
                </a:lnTo>
                <a:lnTo>
                  <a:pt x="1466" y="1229"/>
                </a:lnTo>
                <a:lnTo>
                  <a:pt x="1463" y="1230"/>
                </a:lnTo>
                <a:lnTo>
                  <a:pt x="1458" y="1232"/>
                </a:lnTo>
                <a:lnTo>
                  <a:pt x="1318" y="1232"/>
                </a:lnTo>
                <a:lnTo>
                  <a:pt x="1318" y="1232"/>
                </a:lnTo>
                <a:lnTo>
                  <a:pt x="1314" y="1230"/>
                </a:lnTo>
                <a:lnTo>
                  <a:pt x="1311" y="1229"/>
                </a:lnTo>
                <a:lnTo>
                  <a:pt x="1309" y="1225"/>
                </a:lnTo>
                <a:lnTo>
                  <a:pt x="1307" y="1221"/>
                </a:lnTo>
                <a:lnTo>
                  <a:pt x="1307" y="1081"/>
                </a:lnTo>
                <a:lnTo>
                  <a:pt x="1307" y="1081"/>
                </a:lnTo>
                <a:lnTo>
                  <a:pt x="1309" y="1077"/>
                </a:lnTo>
                <a:lnTo>
                  <a:pt x="1311" y="1073"/>
                </a:lnTo>
                <a:lnTo>
                  <a:pt x="1314" y="1072"/>
                </a:lnTo>
                <a:lnTo>
                  <a:pt x="1318" y="1070"/>
                </a:lnTo>
                <a:lnTo>
                  <a:pt x="1458" y="1070"/>
                </a:lnTo>
                <a:lnTo>
                  <a:pt x="1458" y="1070"/>
                </a:lnTo>
                <a:lnTo>
                  <a:pt x="1463" y="1072"/>
                </a:lnTo>
                <a:lnTo>
                  <a:pt x="1466" y="1073"/>
                </a:lnTo>
                <a:lnTo>
                  <a:pt x="1469" y="1077"/>
                </a:lnTo>
                <a:lnTo>
                  <a:pt x="1469" y="1081"/>
                </a:lnTo>
                <a:lnTo>
                  <a:pt x="1469" y="1221"/>
                </a:lnTo>
                <a:close/>
                <a:moveTo>
                  <a:pt x="1576" y="1006"/>
                </a:moveTo>
                <a:lnTo>
                  <a:pt x="1576" y="1006"/>
                </a:lnTo>
                <a:lnTo>
                  <a:pt x="1576" y="1010"/>
                </a:lnTo>
                <a:lnTo>
                  <a:pt x="1573" y="1014"/>
                </a:lnTo>
                <a:lnTo>
                  <a:pt x="1571" y="1015"/>
                </a:lnTo>
                <a:lnTo>
                  <a:pt x="1565" y="1016"/>
                </a:lnTo>
                <a:lnTo>
                  <a:pt x="1426" y="1016"/>
                </a:lnTo>
                <a:lnTo>
                  <a:pt x="1426" y="1016"/>
                </a:lnTo>
                <a:lnTo>
                  <a:pt x="1421" y="1015"/>
                </a:lnTo>
                <a:lnTo>
                  <a:pt x="1419" y="1014"/>
                </a:lnTo>
                <a:lnTo>
                  <a:pt x="1416" y="1010"/>
                </a:lnTo>
                <a:lnTo>
                  <a:pt x="1415" y="1006"/>
                </a:lnTo>
                <a:lnTo>
                  <a:pt x="1415" y="866"/>
                </a:lnTo>
                <a:lnTo>
                  <a:pt x="1415" y="866"/>
                </a:lnTo>
                <a:lnTo>
                  <a:pt x="1416" y="862"/>
                </a:lnTo>
                <a:lnTo>
                  <a:pt x="1419" y="858"/>
                </a:lnTo>
                <a:lnTo>
                  <a:pt x="1421" y="856"/>
                </a:lnTo>
                <a:lnTo>
                  <a:pt x="1426" y="855"/>
                </a:lnTo>
                <a:lnTo>
                  <a:pt x="1565" y="855"/>
                </a:lnTo>
                <a:lnTo>
                  <a:pt x="1565" y="855"/>
                </a:lnTo>
                <a:lnTo>
                  <a:pt x="1571" y="856"/>
                </a:lnTo>
                <a:lnTo>
                  <a:pt x="1573" y="858"/>
                </a:lnTo>
                <a:lnTo>
                  <a:pt x="1576" y="862"/>
                </a:lnTo>
                <a:lnTo>
                  <a:pt x="1576" y="866"/>
                </a:lnTo>
                <a:lnTo>
                  <a:pt x="1576" y="1006"/>
                </a:lnTo>
                <a:close/>
                <a:moveTo>
                  <a:pt x="1673" y="790"/>
                </a:moveTo>
                <a:lnTo>
                  <a:pt x="1673" y="790"/>
                </a:lnTo>
                <a:lnTo>
                  <a:pt x="1673" y="794"/>
                </a:lnTo>
                <a:lnTo>
                  <a:pt x="1670" y="799"/>
                </a:lnTo>
                <a:lnTo>
                  <a:pt x="1668" y="800"/>
                </a:lnTo>
                <a:lnTo>
                  <a:pt x="1662" y="801"/>
                </a:lnTo>
                <a:lnTo>
                  <a:pt x="1522" y="801"/>
                </a:lnTo>
                <a:lnTo>
                  <a:pt x="1522" y="801"/>
                </a:lnTo>
                <a:lnTo>
                  <a:pt x="1518" y="800"/>
                </a:lnTo>
                <a:lnTo>
                  <a:pt x="1516" y="799"/>
                </a:lnTo>
                <a:lnTo>
                  <a:pt x="1513" y="794"/>
                </a:lnTo>
                <a:lnTo>
                  <a:pt x="1512" y="790"/>
                </a:lnTo>
                <a:lnTo>
                  <a:pt x="1512" y="651"/>
                </a:lnTo>
                <a:lnTo>
                  <a:pt x="1512" y="651"/>
                </a:lnTo>
                <a:lnTo>
                  <a:pt x="1513" y="647"/>
                </a:lnTo>
                <a:lnTo>
                  <a:pt x="1516" y="643"/>
                </a:lnTo>
                <a:lnTo>
                  <a:pt x="1518" y="641"/>
                </a:lnTo>
                <a:lnTo>
                  <a:pt x="1522" y="640"/>
                </a:lnTo>
                <a:lnTo>
                  <a:pt x="1662" y="640"/>
                </a:lnTo>
                <a:lnTo>
                  <a:pt x="1662" y="640"/>
                </a:lnTo>
                <a:lnTo>
                  <a:pt x="1668" y="641"/>
                </a:lnTo>
                <a:lnTo>
                  <a:pt x="1670" y="643"/>
                </a:lnTo>
                <a:lnTo>
                  <a:pt x="1673" y="647"/>
                </a:lnTo>
                <a:lnTo>
                  <a:pt x="1673" y="651"/>
                </a:lnTo>
                <a:lnTo>
                  <a:pt x="1673" y="790"/>
                </a:lnTo>
                <a:close/>
                <a:moveTo>
                  <a:pt x="1684" y="1221"/>
                </a:moveTo>
                <a:lnTo>
                  <a:pt x="1684" y="1221"/>
                </a:lnTo>
                <a:lnTo>
                  <a:pt x="1684" y="1225"/>
                </a:lnTo>
                <a:lnTo>
                  <a:pt x="1681" y="1229"/>
                </a:lnTo>
                <a:lnTo>
                  <a:pt x="1678" y="1230"/>
                </a:lnTo>
                <a:lnTo>
                  <a:pt x="1673" y="1232"/>
                </a:lnTo>
                <a:lnTo>
                  <a:pt x="1533" y="1232"/>
                </a:lnTo>
                <a:lnTo>
                  <a:pt x="1533" y="1232"/>
                </a:lnTo>
                <a:lnTo>
                  <a:pt x="1529" y="1230"/>
                </a:lnTo>
                <a:lnTo>
                  <a:pt x="1526" y="1229"/>
                </a:lnTo>
                <a:lnTo>
                  <a:pt x="1524" y="1225"/>
                </a:lnTo>
                <a:lnTo>
                  <a:pt x="1522" y="1221"/>
                </a:lnTo>
                <a:lnTo>
                  <a:pt x="1522" y="1081"/>
                </a:lnTo>
                <a:lnTo>
                  <a:pt x="1522" y="1081"/>
                </a:lnTo>
                <a:lnTo>
                  <a:pt x="1524" y="1077"/>
                </a:lnTo>
                <a:lnTo>
                  <a:pt x="1526" y="1073"/>
                </a:lnTo>
                <a:lnTo>
                  <a:pt x="1529" y="1072"/>
                </a:lnTo>
                <a:lnTo>
                  <a:pt x="1533" y="1070"/>
                </a:lnTo>
                <a:lnTo>
                  <a:pt x="1673" y="1070"/>
                </a:lnTo>
                <a:lnTo>
                  <a:pt x="1673" y="1070"/>
                </a:lnTo>
                <a:lnTo>
                  <a:pt x="1678" y="1072"/>
                </a:lnTo>
                <a:lnTo>
                  <a:pt x="1681" y="1073"/>
                </a:lnTo>
                <a:lnTo>
                  <a:pt x="1684" y="1077"/>
                </a:lnTo>
                <a:lnTo>
                  <a:pt x="1684" y="1081"/>
                </a:lnTo>
                <a:lnTo>
                  <a:pt x="1684" y="1221"/>
                </a:lnTo>
                <a:close/>
                <a:moveTo>
                  <a:pt x="1791" y="1006"/>
                </a:moveTo>
                <a:lnTo>
                  <a:pt x="1791" y="1006"/>
                </a:lnTo>
                <a:lnTo>
                  <a:pt x="1791" y="1010"/>
                </a:lnTo>
                <a:lnTo>
                  <a:pt x="1789" y="1014"/>
                </a:lnTo>
                <a:lnTo>
                  <a:pt x="1786" y="1015"/>
                </a:lnTo>
                <a:lnTo>
                  <a:pt x="1781" y="1016"/>
                </a:lnTo>
                <a:lnTo>
                  <a:pt x="1641" y="1016"/>
                </a:lnTo>
                <a:lnTo>
                  <a:pt x="1641" y="1016"/>
                </a:lnTo>
                <a:lnTo>
                  <a:pt x="1637" y="1015"/>
                </a:lnTo>
                <a:lnTo>
                  <a:pt x="1634" y="1014"/>
                </a:lnTo>
                <a:lnTo>
                  <a:pt x="1631" y="1010"/>
                </a:lnTo>
                <a:lnTo>
                  <a:pt x="1630" y="1006"/>
                </a:lnTo>
                <a:lnTo>
                  <a:pt x="1630" y="866"/>
                </a:lnTo>
                <a:lnTo>
                  <a:pt x="1630" y="866"/>
                </a:lnTo>
                <a:lnTo>
                  <a:pt x="1631" y="862"/>
                </a:lnTo>
                <a:lnTo>
                  <a:pt x="1634" y="858"/>
                </a:lnTo>
                <a:lnTo>
                  <a:pt x="1637" y="856"/>
                </a:lnTo>
                <a:lnTo>
                  <a:pt x="1641" y="855"/>
                </a:lnTo>
                <a:lnTo>
                  <a:pt x="1781" y="855"/>
                </a:lnTo>
                <a:lnTo>
                  <a:pt x="1781" y="855"/>
                </a:lnTo>
                <a:lnTo>
                  <a:pt x="1786" y="856"/>
                </a:lnTo>
                <a:lnTo>
                  <a:pt x="1789" y="858"/>
                </a:lnTo>
                <a:lnTo>
                  <a:pt x="1791" y="862"/>
                </a:lnTo>
                <a:lnTo>
                  <a:pt x="1791" y="866"/>
                </a:lnTo>
                <a:lnTo>
                  <a:pt x="1791" y="1006"/>
                </a:lnTo>
                <a:close/>
                <a:moveTo>
                  <a:pt x="1888" y="790"/>
                </a:moveTo>
                <a:lnTo>
                  <a:pt x="1888" y="790"/>
                </a:lnTo>
                <a:lnTo>
                  <a:pt x="1888" y="794"/>
                </a:lnTo>
                <a:lnTo>
                  <a:pt x="1885" y="799"/>
                </a:lnTo>
                <a:lnTo>
                  <a:pt x="1883" y="800"/>
                </a:lnTo>
                <a:lnTo>
                  <a:pt x="1877" y="801"/>
                </a:lnTo>
                <a:lnTo>
                  <a:pt x="1737" y="801"/>
                </a:lnTo>
                <a:lnTo>
                  <a:pt x="1737" y="801"/>
                </a:lnTo>
                <a:lnTo>
                  <a:pt x="1733" y="800"/>
                </a:lnTo>
                <a:lnTo>
                  <a:pt x="1731" y="799"/>
                </a:lnTo>
                <a:lnTo>
                  <a:pt x="1728" y="794"/>
                </a:lnTo>
                <a:lnTo>
                  <a:pt x="1727" y="790"/>
                </a:lnTo>
                <a:lnTo>
                  <a:pt x="1727" y="651"/>
                </a:lnTo>
                <a:lnTo>
                  <a:pt x="1727" y="651"/>
                </a:lnTo>
                <a:lnTo>
                  <a:pt x="1728" y="647"/>
                </a:lnTo>
                <a:lnTo>
                  <a:pt x="1731" y="643"/>
                </a:lnTo>
                <a:lnTo>
                  <a:pt x="1733" y="641"/>
                </a:lnTo>
                <a:lnTo>
                  <a:pt x="1737" y="640"/>
                </a:lnTo>
                <a:lnTo>
                  <a:pt x="1877" y="640"/>
                </a:lnTo>
                <a:lnTo>
                  <a:pt x="1877" y="640"/>
                </a:lnTo>
                <a:lnTo>
                  <a:pt x="1883" y="641"/>
                </a:lnTo>
                <a:lnTo>
                  <a:pt x="1885" y="643"/>
                </a:lnTo>
                <a:lnTo>
                  <a:pt x="1888" y="647"/>
                </a:lnTo>
                <a:lnTo>
                  <a:pt x="1888" y="651"/>
                </a:lnTo>
                <a:lnTo>
                  <a:pt x="1888" y="790"/>
                </a:lnTo>
                <a:close/>
                <a:moveTo>
                  <a:pt x="1904" y="1221"/>
                </a:moveTo>
                <a:lnTo>
                  <a:pt x="1904" y="1221"/>
                </a:lnTo>
                <a:lnTo>
                  <a:pt x="1904" y="1225"/>
                </a:lnTo>
                <a:lnTo>
                  <a:pt x="1902" y="1229"/>
                </a:lnTo>
                <a:lnTo>
                  <a:pt x="1899" y="1230"/>
                </a:lnTo>
                <a:lnTo>
                  <a:pt x="1893" y="1232"/>
                </a:lnTo>
                <a:lnTo>
                  <a:pt x="1754" y="1232"/>
                </a:lnTo>
                <a:lnTo>
                  <a:pt x="1754" y="1232"/>
                </a:lnTo>
                <a:lnTo>
                  <a:pt x="1750" y="1230"/>
                </a:lnTo>
                <a:lnTo>
                  <a:pt x="1747" y="1229"/>
                </a:lnTo>
                <a:lnTo>
                  <a:pt x="1744" y="1225"/>
                </a:lnTo>
                <a:lnTo>
                  <a:pt x="1743" y="1221"/>
                </a:lnTo>
                <a:lnTo>
                  <a:pt x="1743" y="1081"/>
                </a:lnTo>
                <a:lnTo>
                  <a:pt x="1743" y="1081"/>
                </a:lnTo>
                <a:lnTo>
                  <a:pt x="1744" y="1077"/>
                </a:lnTo>
                <a:lnTo>
                  <a:pt x="1747" y="1073"/>
                </a:lnTo>
                <a:lnTo>
                  <a:pt x="1750" y="1072"/>
                </a:lnTo>
                <a:lnTo>
                  <a:pt x="1754" y="1070"/>
                </a:lnTo>
                <a:lnTo>
                  <a:pt x="1893" y="1070"/>
                </a:lnTo>
                <a:lnTo>
                  <a:pt x="1893" y="1070"/>
                </a:lnTo>
                <a:lnTo>
                  <a:pt x="1899" y="1072"/>
                </a:lnTo>
                <a:lnTo>
                  <a:pt x="1902" y="1073"/>
                </a:lnTo>
                <a:lnTo>
                  <a:pt x="1904" y="1077"/>
                </a:lnTo>
                <a:lnTo>
                  <a:pt x="1904" y="1081"/>
                </a:lnTo>
                <a:lnTo>
                  <a:pt x="1904" y="1221"/>
                </a:lnTo>
                <a:close/>
                <a:moveTo>
                  <a:pt x="2012" y="1006"/>
                </a:moveTo>
                <a:lnTo>
                  <a:pt x="2012" y="1006"/>
                </a:lnTo>
                <a:lnTo>
                  <a:pt x="2012" y="1010"/>
                </a:lnTo>
                <a:lnTo>
                  <a:pt x="2009" y="1014"/>
                </a:lnTo>
                <a:lnTo>
                  <a:pt x="2006" y="1015"/>
                </a:lnTo>
                <a:lnTo>
                  <a:pt x="2001" y="1016"/>
                </a:lnTo>
                <a:lnTo>
                  <a:pt x="1861" y="1016"/>
                </a:lnTo>
                <a:lnTo>
                  <a:pt x="1861" y="1016"/>
                </a:lnTo>
                <a:lnTo>
                  <a:pt x="1857" y="1015"/>
                </a:lnTo>
                <a:lnTo>
                  <a:pt x="1854" y="1014"/>
                </a:lnTo>
                <a:lnTo>
                  <a:pt x="1852" y="1010"/>
                </a:lnTo>
                <a:lnTo>
                  <a:pt x="1850" y="1006"/>
                </a:lnTo>
                <a:lnTo>
                  <a:pt x="1850" y="866"/>
                </a:lnTo>
                <a:lnTo>
                  <a:pt x="1850" y="866"/>
                </a:lnTo>
                <a:lnTo>
                  <a:pt x="1852" y="862"/>
                </a:lnTo>
                <a:lnTo>
                  <a:pt x="1854" y="858"/>
                </a:lnTo>
                <a:lnTo>
                  <a:pt x="1857" y="856"/>
                </a:lnTo>
                <a:lnTo>
                  <a:pt x="1861" y="855"/>
                </a:lnTo>
                <a:lnTo>
                  <a:pt x="2001" y="855"/>
                </a:lnTo>
                <a:lnTo>
                  <a:pt x="2001" y="855"/>
                </a:lnTo>
                <a:lnTo>
                  <a:pt x="2006" y="856"/>
                </a:lnTo>
                <a:lnTo>
                  <a:pt x="2009" y="858"/>
                </a:lnTo>
                <a:lnTo>
                  <a:pt x="2012" y="862"/>
                </a:lnTo>
                <a:lnTo>
                  <a:pt x="2012" y="866"/>
                </a:lnTo>
                <a:lnTo>
                  <a:pt x="2012" y="1006"/>
                </a:lnTo>
                <a:close/>
                <a:moveTo>
                  <a:pt x="2109" y="790"/>
                </a:moveTo>
                <a:lnTo>
                  <a:pt x="2109" y="790"/>
                </a:lnTo>
                <a:lnTo>
                  <a:pt x="2109" y="794"/>
                </a:lnTo>
                <a:lnTo>
                  <a:pt x="2106" y="799"/>
                </a:lnTo>
                <a:lnTo>
                  <a:pt x="2103" y="800"/>
                </a:lnTo>
                <a:lnTo>
                  <a:pt x="2098" y="801"/>
                </a:lnTo>
                <a:lnTo>
                  <a:pt x="1958" y="801"/>
                </a:lnTo>
                <a:lnTo>
                  <a:pt x="1958" y="801"/>
                </a:lnTo>
                <a:lnTo>
                  <a:pt x="1954" y="800"/>
                </a:lnTo>
                <a:lnTo>
                  <a:pt x="1951" y="799"/>
                </a:lnTo>
                <a:lnTo>
                  <a:pt x="1949" y="794"/>
                </a:lnTo>
                <a:lnTo>
                  <a:pt x="1947" y="790"/>
                </a:lnTo>
                <a:lnTo>
                  <a:pt x="1947" y="651"/>
                </a:lnTo>
                <a:lnTo>
                  <a:pt x="1947" y="651"/>
                </a:lnTo>
                <a:lnTo>
                  <a:pt x="1949" y="647"/>
                </a:lnTo>
                <a:lnTo>
                  <a:pt x="1951" y="643"/>
                </a:lnTo>
                <a:lnTo>
                  <a:pt x="1954" y="641"/>
                </a:lnTo>
                <a:lnTo>
                  <a:pt x="1958" y="640"/>
                </a:lnTo>
                <a:lnTo>
                  <a:pt x="2098" y="640"/>
                </a:lnTo>
                <a:lnTo>
                  <a:pt x="2098" y="640"/>
                </a:lnTo>
                <a:lnTo>
                  <a:pt x="2103" y="641"/>
                </a:lnTo>
                <a:lnTo>
                  <a:pt x="2106" y="643"/>
                </a:lnTo>
                <a:lnTo>
                  <a:pt x="2109" y="647"/>
                </a:lnTo>
                <a:lnTo>
                  <a:pt x="2109" y="651"/>
                </a:lnTo>
                <a:lnTo>
                  <a:pt x="2109" y="790"/>
                </a:lnTo>
                <a:close/>
                <a:moveTo>
                  <a:pt x="2119" y="1221"/>
                </a:moveTo>
                <a:lnTo>
                  <a:pt x="2119" y="1221"/>
                </a:lnTo>
                <a:lnTo>
                  <a:pt x="2119" y="1225"/>
                </a:lnTo>
                <a:lnTo>
                  <a:pt x="2117" y="1229"/>
                </a:lnTo>
                <a:lnTo>
                  <a:pt x="2114" y="1230"/>
                </a:lnTo>
                <a:lnTo>
                  <a:pt x="2109" y="1232"/>
                </a:lnTo>
                <a:lnTo>
                  <a:pt x="1969" y="1232"/>
                </a:lnTo>
                <a:lnTo>
                  <a:pt x="1969" y="1232"/>
                </a:lnTo>
                <a:lnTo>
                  <a:pt x="1965" y="1230"/>
                </a:lnTo>
                <a:lnTo>
                  <a:pt x="1962" y="1229"/>
                </a:lnTo>
                <a:lnTo>
                  <a:pt x="1959" y="1225"/>
                </a:lnTo>
                <a:lnTo>
                  <a:pt x="1958" y="1221"/>
                </a:lnTo>
                <a:lnTo>
                  <a:pt x="1958" y="1081"/>
                </a:lnTo>
                <a:lnTo>
                  <a:pt x="1958" y="1081"/>
                </a:lnTo>
                <a:lnTo>
                  <a:pt x="1959" y="1077"/>
                </a:lnTo>
                <a:lnTo>
                  <a:pt x="1962" y="1073"/>
                </a:lnTo>
                <a:lnTo>
                  <a:pt x="1965" y="1072"/>
                </a:lnTo>
                <a:lnTo>
                  <a:pt x="1969" y="1070"/>
                </a:lnTo>
                <a:lnTo>
                  <a:pt x="2109" y="1070"/>
                </a:lnTo>
                <a:lnTo>
                  <a:pt x="2109" y="1070"/>
                </a:lnTo>
                <a:lnTo>
                  <a:pt x="2114" y="1072"/>
                </a:lnTo>
                <a:lnTo>
                  <a:pt x="2117" y="1073"/>
                </a:lnTo>
                <a:lnTo>
                  <a:pt x="2119" y="1077"/>
                </a:lnTo>
                <a:lnTo>
                  <a:pt x="2119" y="1081"/>
                </a:lnTo>
                <a:lnTo>
                  <a:pt x="2119" y="1221"/>
                </a:lnTo>
                <a:close/>
                <a:moveTo>
                  <a:pt x="2227" y="1006"/>
                </a:moveTo>
                <a:lnTo>
                  <a:pt x="2227" y="1006"/>
                </a:lnTo>
                <a:lnTo>
                  <a:pt x="2227" y="1010"/>
                </a:lnTo>
                <a:lnTo>
                  <a:pt x="2224" y="1014"/>
                </a:lnTo>
                <a:lnTo>
                  <a:pt x="2222" y="1015"/>
                </a:lnTo>
                <a:lnTo>
                  <a:pt x="2216" y="1016"/>
                </a:lnTo>
                <a:lnTo>
                  <a:pt x="2076" y="1016"/>
                </a:lnTo>
                <a:lnTo>
                  <a:pt x="2076" y="1016"/>
                </a:lnTo>
                <a:lnTo>
                  <a:pt x="2072" y="1015"/>
                </a:lnTo>
                <a:lnTo>
                  <a:pt x="2070" y="1014"/>
                </a:lnTo>
                <a:lnTo>
                  <a:pt x="2067" y="1010"/>
                </a:lnTo>
                <a:lnTo>
                  <a:pt x="2066" y="1006"/>
                </a:lnTo>
                <a:lnTo>
                  <a:pt x="2066" y="866"/>
                </a:lnTo>
                <a:lnTo>
                  <a:pt x="2066" y="866"/>
                </a:lnTo>
                <a:lnTo>
                  <a:pt x="2067" y="862"/>
                </a:lnTo>
                <a:lnTo>
                  <a:pt x="2070" y="858"/>
                </a:lnTo>
                <a:lnTo>
                  <a:pt x="2072" y="856"/>
                </a:lnTo>
                <a:lnTo>
                  <a:pt x="2076" y="855"/>
                </a:lnTo>
                <a:lnTo>
                  <a:pt x="2216" y="855"/>
                </a:lnTo>
                <a:lnTo>
                  <a:pt x="2216" y="855"/>
                </a:lnTo>
                <a:lnTo>
                  <a:pt x="2222" y="856"/>
                </a:lnTo>
                <a:lnTo>
                  <a:pt x="2224" y="858"/>
                </a:lnTo>
                <a:lnTo>
                  <a:pt x="2227" y="862"/>
                </a:lnTo>
                <a:lnTo>
                  <a:pt x="2227" y="866"/>
                </a:lnTo>
                <a:lnTo>
                  <a:pt x="2227" y="1006"/>
                </a:lnTo>
                <a:close/>
                <a:moveTo>
                  <a:pt x="2324" y="790"/>
                </a:moveTo>
                <a:lnTo>
                  <a:pt x="2324" y="790"/>
                </a:lnTo>
                <a:lnTo>
                  <a:pt x="2324" y="794"/>
                </a:lnTo>
                <a:lnTo>
                  <a:pt x="2321" y="799"/>
                </a:lnTo>
                <a:lnTo>
                  <a:pt x="2318" y="800"/>
                </a:lnTo>
                <a:lnTo>
                  <a:pt x="2313" y="801"/>
                </a:lnTo>
                <a:lnTo>
                  <a:pt x="2173" y="801"/>
                </a:lnTo>
                <a:lnTo>
                  <a:pt x="2173" y="801"/>
                </a:lnTo>
                <a:lnTo>
                  <a:pt x="2169" y="800"/>
                </a:lnTo>
                <a:lnTo>
                  <a:pt x="2166" y="799"/>
                </a:lnTo>
                <a:lnTo>
                  <a:pt x="2164" y="794"/>
                </a:lnTo>
                <a:lnTo>
                  <a:pt x="2162" y="790"/>
                </a:lnTo>
                <a:lnTo>
                  <a:pt x="2162" y="651"/>
                </a:lnTo>
                <a:lnTo>
                  <a:pt x="2162" y="651"/>
                </a:lnTo>
                <a:lnTo>
                  <a:pt x="2164" y="647"/>
                </a:lnTo>
                <a:lnTo>
                  <a:pt x="2166" y="643"/>
                </a:lnTo>
                <a:lnTo>
                  <a:pt x="2169" y="641"/>
                </a:lnTo>
                <a:lnTo>
                  <a:pt x="2173" y="640"/>
                </a:lnTo>
                <a:lnTo>
                  <a:pt x="2313" y="640"/>
                </a:lnTo>
                <a:lnTo>
                  <a:pt x="2313" y="640"/>
                </a:lnTo>
                <a:lnTo>
                  <a:pt x="2318" y="641"/>
                </a:lnTo>
                <a:lnTo>
                  <a:pt x="2321" y="643"/>
                </a:lnTo>
                <a:lnTo>
                  <a:pt x="2324" y="647"/>
                </a:lnTo>
                <a:lnTo>
                  <a:pt x="2324" y="651"/>
                </a:lnTo>
                <a:lnTo>
                  <a:pt x="2324" y="790"/>
                </a:lnTo>
                <a:close/>
                <a:moveTo>
                  <a:pt x="2340" y="1221"/>
                </a:moveTo>
                <a:lnTo>
                  <a:pt x="2340" y="1221"/>
                </a:lnTo>
                <a:lnTo>
                  <a:pt x="2340" y="1225"/>
                </a:lnTo>
                <a:lnTo>
                  <a:pt x="2337" y="1229"/>
                </a:lnTo>
                <a:lnTo>
                  <a:pt x="2335" y="1230"/>
                </a:lnTo>
                <a:lnTo>
                  <a:pt x="2329" y="1232"/>
                </a:lnTo>
                <a:lnTo>
                  <a:pt x="2189" y="1232"/>
                </a:lnTo>
                <a:lnTo>
                  <a:pt x="2189" y="1232"/>
                </a:lnTo>
                <a:lnTo>
                  <a:pt x="2185" y="1230"/>
                </a:lnTo>
                <a:lnTo>
                  <a:pt x="2183" y="1229"/>
                </a:lnTo>
                <a:lnTo>
                  <a:pt x="2180" y="1225"/>
                </a:lnTo>
                <a:lnTo>
                  <a:pt x="2179" y="1221"/>
                </a:lnTo>
                <a:lnTo>
                  <a:pt x="2179" y="1081"/>
                </a:lnTo>
                <a:lnTo>
                  <a:pt x="2179" y="1081"/>
                </a:lnTo>
                <a:lnTo>
                  <a:pt x="2180" y="1077"/>
                </a:lnTo>
                <a:lnTo>
                  <a:pt x="2183" y="1073"/>
                </a:lnTo>
                <a:lnTo>
                  <a:pt x="2185" y="1072"/>
                </a:lnTo>
                <a:lnTo>
                  <a:pt x="2189" y="1070"/>
                </a:lnTo>
                <a:lnTo>
                  <a:pt x="2329" y="1070"/>
                </a:lnTo>
                <a:lnTo>
                  <a:pt x="2329" y="1070"/>
                </a:lnTo>
                <a:lnTo>
                  <a:pt x="2335" y="1072"/>
                </a:lnTo>
                <a:lnTo>
                  <a:pt x="2337" y="1073"/>
                </a:lnTo>
                <a:lnTo>
                  <a:pt x="2340" y="1077"/>
                </a:lnTo>
                <a:lnTo>
                  <a:pt x="2340" y="1081"/>
                </a:lnTo>
                <a:lnTo>
                  <a:pt x="2340" y="1221"/>
                </a:lnTo>
                <a:close/>
                <a:moveTo>
                  <a:pt x="2447" y="1006"/>
                </a:moveTo>
                <a:lnTo>
                  <a:pt x="2447" y="1006"/>
                </a:lnTo>
                <a:lnTo>
                  <a:pt x="2447" y="1010"/>
                </a:lnTo>
                <a:lnTo>
                  <a:pt x="2445" y="1014"/>
                </a:lnTo>
                <a:lnTo>
                  <a:pt x="2442" y="1015"/>
                </a:lnTo>
                <a:lnTo>
                  <a:pt x="2437" y="1016"/>
                </a:lnTo>
                <a:lnTo>
                  <a:pt x="2297" y="1016"/>
                </a:lnTo>
                <a:lnTo>
                  <a:pt x="2297" y="1016"/>
                </a:lnTo>
                <a:lnTo>
                  <a:pt x="2293" y="1015"/>
                </a:lnTo>
                <a:lnTo>
                  <a:pt x="2290" y="1014"/>
                </a:lnTo>
                <a:lnTo>
                  <a:pt x="2287" y="1010"/>
                </a:lnTo>
                <a:lnTo>
                  <a:pt x="2286" y="1006"/>
                </a:lnTo>
                <a:lnTo>
                  <a:pt x="2286" y="866"/>
                </a:lnTo>
                <a:lnTo>
                  <a:pt x="2286" y="866"/>
                </a:lnTo>
                <a:lnTo>
                  <a:pt x="2287" y="862"/>
                </a:lnTo>
                <a:lnTo>
                  <a:pt x="2290" y="858"/>
                </a:lnTo>
                <a:lnTo>
                  <a:pt x="2293" y="856"/>
                </a:lnTo>
                <a:lnTo>
                  <a:pt x="2297" y="855"/>
                </a:lnTo>
                <a:lnTo>
                  <a:pt x="2437" y="855"/>
                </a:lnTo>
                <a:lnTo>
                  <a:pt x="2437" y="855"/>
                </a:lnTo>
                <a:lnTo>
                  <a:pt x="2442" y="856"/>
                </a:lnTo>
                <a:lnTo>
                  <a:pt x="2445" y="858"/>
                </a:lnTo>
                <a:lnTo>
                  <a:pt x="2447" y="862"/>
                </a:lnTo>
                <a:lnTo>
                  <a:pt x="2447" y="866"/>
                </a:lnTo>
                <a:lnTo>
                  <a:pt x="2447" y="1006"/>
                </a:lnTo>
                <a:close/>
                <a:moveTo>
                  <a:pt x="2544" y="790"/>
                </a:moveTo>
                <a:lnTo>
                  <a:pt x="2544" y="790"/>
                </a:lnTo>
                <a:lnTo>
                  <a:pt x="2544" y="794"/>
                </a:lnTo>
                <a:lnTo>
                  <a:pt x="2542" y="799"/>
                </a:lnTo>
                <a:lnTo>
                  <a:pt x="2539" y="800"/>
                </a:lnTo>
                <a:lnTo>
                  <a:pt x="2534" y="801"/>
                </a:lnTo>
                <a:lnTo>
                  <a:pt x="2394" y="801"/>
                </a:lnTo>
                <a:lnTo>
                  <a:pt x="2394" y="801"/>
                </a:lnTo>
                <a:lnTo>
                  <a:pt x="2390" y="800"/>
                </a:lnTo>
                <a:lnTo>
                  <a:pt x="2387" y="799"/>
                </a:lnTo>
                <a:lnTo>
                  <a:pt x="2384" y="794"/>
                </a:lnTo>
                <a:lnTo>
                  <a:pt x="2383" y="790"/>
                </a:lnTo>
                <a:lnTo>
                  <a:pt x="2383" y="651"/>
                </a:lnTo>
                <a:lnTo>
                  <a:pt x="2383" y="651"/>
                </a:lnTo>
                <a:lnTo>
                  <a:pt x="2384" y="647"/>
                </a:lnTo>
                <a:lnTo>
                  <a:pt x="2387" y="643"/>
                </a:lnTo>
                <a:lnTo>
                  <a:pt x="2390" y="641"/>
                </a:lnTo>
                <a:lnTo>
                  <a:pt x="2394" y="640"/>
                </a:lnTo>
                <a:lnTo>
                  <a:pt x="2534" y="640"/>
                </a:lnTo>
                <a:lnTo>
                  <a:pt x="2534" y="640"/>
                </a:lnTo>
                <a:lnTo>
                  <a:pt x="2539" y="641"/>
                </a:lnTo>
                <a:lnTo>
                  <a:pt x="2542" y="643"/>
                </a:lnTo>
                <a:lnTo>
                  <a:pt x="2544" y="647"/>
                </a:lnTo>
                <a:lnTo>
                  <a:pt x="2544" y="651"/>
                </a:lnTo>
                <a:lnTo>
                  <a:pt x="2544" y="790"/>
                </a:lnTo>
                <a:close/>
                <a:moveTo>
                  <a:pt x="2555" y="1221"/>
                </a:moveTo>
                <a:lnTo>
                  <a:pt x="2555" y="1221"/>
                </a:lnTo>
                <a:lnTo>
                  <a:pt x="2555" y="1225"/>
                </a:lnTo>
                <a:lnTo>
                  <a:pt x="2552" y="1229"/>
                </a:lnTo>
                <a:lnTo>
                  <a:pt x="2550" y="1230"/>
                </a:lnTo>
                <a:lnTo>
                  <a:pt x="2544" y="1232"/>
                </a:lnTo>
                <a:lnTo>
                  <a:pt x="2404" y="1232"/>
                </a:lnTo>
                <a:lnTo>
                  <a:pt x="2404" y="1232"/>
                </a:lnTo>
                <a:lnTo>
                  <a:pt x="2400" y="1230"/>
                </a:lnTo>
                <a:lnTo>
                  <a:pt x="2398" y="1229"/>
                </a:lnTo>
                <a:lnTo>
                  <a:pt x="2395" y="1225"/>
                </a:lnTo>
                <a:lnTo>
                  <a:pt x="2394" y="1221"/>
                </a:lnTo>
                <a:lnTo>
                  <a:pt x="2394" y="1081"/>
                </a:lnTo>
                <a:lnTo>
                  <a:pt x="2394" y="1081"/>
                </a:lnTo>
                <a:lnTo>
                  <a:pt x="2395" y="1077"/>
                </a:lnTo>
                <a:lnTo>
                  <a:pt x="2398" y="1073"/>
                </a:lnTo>
                <a:lnTo>
                  <a:pt x="2400" y="1072"/>
                </a:lnTo>
                <a:lnTo>
                  <a:pt x="2404" y="1070"/>
                </a:lnTo>
                <a:lnTo>
                  <a:pt x="2544" y="1070"/>
                </a:lnTo>
                <a:lnTo>
                  <a:pt x="2544" y="1070"/>
                </a:lnTo>
                <a:lnTo>
                  <a:pt x="2550" y="1072"/>
                </a:lnTo>
                <a:lnTo>
                  <a:pt x="2552" y="1073"/>
                </a:lnTo>
                <a:lnTo>
                  <a:pt x="2555" y="1077"/>
                </a:lnTo>
                <a:lnTo>
                  <a:pt x="2555" y="1081"/>
                </a:lnTo>
                <a:lnTo>
                  <a:pt x="2555" y="1221"/>
                </a:lnTo>
                <a:close/>
                <a:moveTo>
                  <a:pt x="2663" y="1006"/>
                </a:moveTo>
                <a:lnTo>
                  <a:pt x="2663" y="1006"/>
                </a:lnTo>
                <a:lnTo>
                  <a:pt x="2663" y="1010"/>
                </a:lnTo>
                <a:lnTo>
                  <a:pt x="2660" y="1014"/>
                </a:lnTo>
                <a:lnTo>
                  <a:pt x="2657" y="1015"/>
                </a:lnTo>
                <a:lnTo>
                  <a:pt x="2652" y="1016"/>
                </a:lnTo>
                <a:lnTo>
                  <a:pt x="2512" y="1016"/>
                </a:lnTo>
                <a:lnTo>
                  <a:pt x="2512" y="1016"/>
                </a:lnTo>
                <a:lnTo>
                  <a:pt x="2508" y="1015"/>
                </a:lnTo>
                <a:lnTo>
                  <a:pt x="2505" y="1014"/>
                </a:lnTo>
                <a:lnTo>
                  <a:pt x="2503" y="1010"/>
                </a:lnTo>
                <a:lnTo>
                  <a:pt x="2501" y="1006"/>
                </a:lnTo>
                <a:lnTo>
                  <a:pt x="2501" y="866"/>
                </a:lnTo>
                <a:lnTo>
                  <a:pt x="2501" y="866"/>
                </a:lnTo>
                <a:lnTo>
                  <a:pt x="2503" y="862"/>
                </a:lnTo>
                <a:lnTo>
                  <a:pt x="2505" y="858"/>
                </a:lnTo>
                <a:lnTo>
                  <a:pt x="2508" y="856"/>
                </a:lnTo>
                <a:lnTo>
                  <a:pt x="2512" y="855"/>
                </a:lnTo>
                <a:lnTo>
                  <a:pt x="2652" y="855"/>
                </a:lnTo>
                <a:lnTo>
                  <a:pt x="2652" y="855"/>
                </a:lnTo>
                <a:lnTo>
                  <a:pt x="2657" y="856"/>
                </a:lnTo>
                <a:lnTo>
                  <a:pt x="2660" y="858"/>
                </a:lnTo>
                <a:lnTo>
                  <a:pt x="2663" y="862"/>
                </a:lnTo>
                <a:lnTo>
                  <a:pt x="2663" y="866"/>
                </a:lnTo>
                <a:lnTo>
                  <a:pt x="2663" y="1006"/>
                </a:lnTo>
                <a:close/>
                <a:moveTo>
                  <a:pt x="2759" y="790"/>
                </a:moveTo>
                <a:lnTo>
                  <a:pt x="2759" y="790"/>
                </a:lnTo>
                <a:lnTo>
                  <a:pt x="2759" y="794"/>
                </a:lnTo>
                <a:lnTo>
                  <a:pt x="2757" y="799"/>
                </a:lnTo>
                <a:lnTo>
                  <a:pt x="2754" y="800"/>
                </a:lnTo>
                <a:lnTo>
                  <a:pt x="2749" y="801"/>
                </a:lnTo>
                <a:lnTo>
                  <a:pt x="2609" y="801"/>
                </a:lnTo>
                <a:lnTo>
                  <a:pt x="2609" y="801"/>
                </a:lnTo>
                <a:lnTo>
                  <a:pt x="2605" y="800"/>
                </a:lnTo>
                <a:lnTo>
                  <a:pt x="2602" y="799"/>
                </a:lnTo>
                <a:lnTo>
                  <a:pt x="2599" y="794"/>
                </a:lnTo>
                <a:lnTo>
                  <a:pt x="2598" y="790"/>
                </a:lnTo>
                <a:lnTo>
                  <a:pt x="2598" y="651"/>
                </a:lnTo>
                <a:lnTo>
                  <a:pt x="2598" y="651"/>
                </a:lnTo>
                <a:lnTo>
                  <a:pt x="2599" y="647"/>
                </a:lnTo>
                <a:lnTo>
                  <a:pt x="2602" y="643"/>
                </a:lnTo>
                <a:lnTo>
                  <a:pt x="2605" y="641"/>
                </a:lnTo>
                <a:lnTo>
                  <a:pt x="2609" y="640"/>
                </a:lnTo>
                <a:lnTo>
                  <a:pt x="2749" y="640"/>
                </a:lnTo>
                <a:lnTo>
                  <a:pt x="2749" y="640"/>
                </a:lnTo>
                <a:lnTo>
                  <a:pt x="2754" y="641"/>
                </a:lnTo>
                <a:lnTo>
                  <a:pt x="2757" y="643"/>
                </a:lnTo>
                <a:lnTo>
                  <a:pt x="2759" y="647"/>
                </a:lnTo>
                <a:lnTo>
                  <a:pt x="2759" y="651"/>
                </a:lnTo>
                <a:lnTo>
                  <a:pt x="2759" y="790"/>
                </a:lnTo>
                <a:close/>
                <a:moveTo>
                  <a:pt x="2776" y="1221"/>
                </a:moveTo>
                <a:lnTo>
                  <a:pt x="2776" y="1221"/>
                </a:lnTo>
                <a:lnTo>
                  <a:pt x="2776" y="1225"/>
                </a:lnTo>
                <a:lnTo>
                  <a:pt x="2773" y="1229"/>
                </a:lnTo>
                <a:lnTo>
                  <a:pt x="2770" y="1230"/>
                </a:lnTo>
                <a:lnTo>
                  <a:pt x="2765" y="1232"/>
                </a:lnTo>
                <a:lnTo>
                  <a:pt x="2625" y="1232"/>
                </a:lnTo>
                <a:lnTo>
                  <a:pt x="2625" y="1232"/>
                </a:lnTo>
                <a:lnTo>
                  <a:pt x="2621" y="1230"/>
                </a:lnTo>
                <a:lnTo>
                  <a:pt x="2618" y="1229"/>
                </a:lnTo>
                <a:lnTo>
                  <a:pt x="2616" y="1225"/>
                </a:lnTo>
                <a:lnTo>
                  <a:pt x="2614" y="1221"/>
                </a:lnTo>
                <a:lnTo>
                  <a:pt x="2614" y="1081"/>
                </a:lnTo>
                <a:lnTo>
                  <a:pt x="2614" y="1081"/>
                </a:lnTo>
                <a:lnTo>
                  <a:pt x="2616" y="1077"/>
                </a:lnTo>
                <a:lnTo>
                  <a:pt x="2618" y="1073"/>
                </a:lnTo>
                <a:lnTo>
                  <a:pt x="2621" y="1072"/>
                </a:lnTo>
                <a:lnTo>
                  <a:pt x="2625" y="1070"/>
                </a:lnTo>
                <a:lnTo>
                  <a:pt x="2765" y="1070"/>
                </a:lnTo>
                <a:lnTo>
                  <a:pt x="2765" y="1070"/>
                </a:lnTo>
                <a:lnTo>
                  <a:pt x="2770" y="1072"/>
                </a:lnTo>
                <a:lnTo>
                  <a:pt x="2773" y="1073"/>
                </a:lnTo>
                <a:lnTo>
                  <a:pt x="2776" y="1077"/>
                </a:lnTo>
                <a:lnTo>
                  <a:pt x="2776" y="1081"/>
                </a:lnTo>
                <a:lnTo>
                  <a:pt x="2776" y="1221"/>
                </a:lnTo>
                <a:close/>
                <a:moveTo>
                  <a:pt x="2883" y="1006"/>
                </a:moveTo>
                <a:lnTo>
                  <a:pt x="2883" y="1006"/>
                </a:lnTo>
                <a:lnTo>
                  <a:pt x="2883" y="1010"/>
                </a:lnTo>
                <a:lnTo>
                  <a:pt x="2880" y="1014"/>
                </a:lnTo>
                <a:lnTo>
                  <a:pt x="2878" y="1015"/>
                </a:lnTo>
                <a:lnTo>
                  <a:pt x="2872" y="1016"/>
                </a:lnTo>
                <a:lnTo>
                  <a:pt x="2733" y="1016"/>
                </a:lnTo>
                <a:lnTo>
                  <a:pt x="2733" y="1016"/>
                </a:lnTo>
                <a:lnTo>
                  <a:pt x="2729" y="1015"/>
                </a:lnTo>
                <a:lnTo>
                  <a:pt x="2726" y="1014"/>
                </a:lnTo>
                <a:lnTo>
                  <a:pt x="2723" y="1010"/>
                </a:lnTo>
                <a:lnTo>
                  <a:pt x="2722" y="1006"/>
                </a:lnTo>
                <a:lnTo>
                  <a:pt x="2722" y="866"/>
                </a:lnTo>
                <a:lnTo>
                  <a:pt x="2722" y="866"/>
                </a:lnTo>
                <a:lnTo>
                  <a:pt x="2723" y="862"/>
                </a:lnTo>
                <a:lnTo>
                  <a:pt x="2726" y="858"/>
                </a:lnTo>
                <a:lnTo>
                  <a:pt x="2729" y="856"/>
                </a:lnTo>
                <a:lnTo>
                  <a:pt x="2733" y="855"/>
                </a:lnTo>
                <a:lnTo>
                  <a:pt x="2872" y="855"/>
                </a:lnTo>
                <a:lnTo>
                  <a:pt x="2872" y="855"/>
                </a:lnTo>
                <a:lnTo>
                  <a:pt x="2878" y="856"/>
                </a:lnTo>
                <a:lnTo>
                  <a:pt x="2880" y="858"/>
                </a:lnTo>
                <a:lnTo>
                  <a:pt x="2883" y="862"/>
                </a:lnTo>
                <a:lnTo>
                  <a:pt x="2883" y="866"/>
                </a:lnTo>
                <a:lnTo>
                  <a:pt x="2883" y="1006"/>
                </a:lnTo>
                <a:close/>
                <a:moveTo>
                  <a:pt x="2883" y="575"/>
                </a:moveTo>
                <a:lnTo>
                  <a:pt x="2883" y="575"/>
                </a:lnTo>
                <a:lnTo>
                  <a:pt x="2883" y="579"/>
                </a:lnTo>
                <a:lnTo>
                  <a:pt x="2880" y="583"/>
                </a:lnTo>
                <a:lnTo>
                  <a:pt x="2878" y="585"/>
                </a:lnTo>
                <a:lnTo>
                  <a:pt x="2872" y="586"/>
                </a:lnTo>
                <a:lnTo>
                  <a:pt x="2733" y="586"/>
                </a:lnTo>
                <a:lnTo>
                  <a:pt x="2733" y="586"/>
                </a:lnTo>
                <a:lnTo>
                  <a:pt x="2729" y="585"/>
                </a:lnTo>
                <a:lnTo>
                  <a:pt x="2726" y="583"/>
                </a:lnTo>
                <a:lnTo>
                  <a:pt x="2723" y="579"/>
                </a:lnTo>
                <a:lnTo>
                  <a:pt x="2722" y="575"/>
                </a:lnTo>
                <a:lnTo>
                  <a:pt x="2722" y="435"/>
                </a:lnTo>
                <a:lnTo>
                  <a:pt x="2722" y="435"/>
                </a:lnTo>
                <a:lnTo>
                  <a:pt x="2723" y="431"/>
                </a:lnTo>
                <a:lnTo>
                  <a:pt x="2726" y="427"/>
                </a:lnTo>
                <a:lnTo>
                  <a:pt x="2729" y="426"/>
                </a:lnTo>
                <a:lnTo>
                  <a:pt x="2733" y="425"/>
                </a:lnTo>
                <a:lnTo>
                  <a:pt x="2872" y="425"/>
                </a:lnTo>
                <a:lnTo>
                  <a:pt x="2872" y="425"/>
                </a:lnTo>
                <a:lnTo>
                  <a:pt x="2878" y="426"/>
                </a:lnTo>
                <a:lnTo>
                  <a:pt x="2880" y="427"/>
                </a:lnTo>
                <a:lnTo>
                  <a:pt x="2883" y="431"/>
                </a:lnTo>
                <a:lnTo>
                  <a:pt x="2883" y="435"/>
                </a:lnTo>
                <a:lnTo>
                  <a:pt x="2883" y="575"/>
                </a:lnTo>
                <a:close/>
                <a:moveTo>
                  <a:pt x="2501" y="270"/>
                </a:moveTo>
                <a:lnTo>
                  <a:pt x="2501" y="270"/>
                </a:lnTo>
                <a:lnTo>
                  <a:pt x="2503" y="267"/>
                </a:lnTo>
                <a:lnTo>
                  <a:pt x="2507" y="266"/>
                </a:lnTo>
                <a:lnTo>
                  <a:pt x="2511" y="263"/>
                </a:lnTo>
                <a:lnTo>
                  <a:pt x="2515" y="263"/>
                </a:lnTo>
                <a:lnTo>
                  <a:pt x="2655" y="263"/>
                </a:lnTo>
                <a:lnTo>
                  <a:pt x="2655" y="263"/>
                </a:lnTo>
                <a:lnTo>
                  <a:pt x="2659" y="263"/>
                </a:lnTo>
                <a:lnTo>
                  <a:pt x="2661" y="266"/>
                </a:lnTo>
                <a:lnTo>
                  <a:pt x="2663" y="267"/>
                </a:lnTo>
                <a:lnTo>
                  <a:pt x="2663" y="270"/>
                </a:lnTo>
                <a:lnTo>
                  <a:pt x="2663" y="364"/>
                </a:lnTo>
                <a:lnTo>
                  <a:pt x="2663" y="364"/>
                </a:lnTo>
                <a:lnTo>
                  <a:pt x="2663" y="367"/>
                </a:lnTo>
                <a:lnTo>
                  <a:pt x="2661" y="368"/>
                </a:lnTo>
                <a:lnTo>
                  <a:pt x="2659" y="371"/>
                </a:lnTo>
                <a:lnTo>
                  <a:pt x="2655" y="371"/>
                </a:lnTo>
                <a:lnTo>
                  <a:pt x="2515" y="371"/>
                </a:lnTo>
                <a:lnTo>
                  <a:pt x="2515" y="371"/>
                </a:lnTo>
                <a:lnTo>
                  <a:pt x="2511" y="371"/>
                </a:lnTo>
                <a:lnTo>
                  <a:pt x="2507" y="368"/>
                </a:lnTo>
                <a:lnTo>
                  <a:pt x="2503" y="367"/>
                </a:lnTo>
                <a:lnTo>
                  <a:pt x="2501" y="364"/>
                </a:lnTo>
                <a:lnTo>
                  <a:pt x="2501" y="270"/>
                </a:lnTo>
                <a:close/>
                <a:moveTo>
                  <a:pt x="2663" y="575"/>
                </a:moveTo>
                <a:lnTo>
                  <a:pt x="2663" y="575"/>
                </a:lnTo>
                <a:lnTo>
                  <a:pt x="2663" y="579"/>
                </a:lnTo>
                <a:lnTo>
                  <a:pt x="2660" y="583"/>
                </a:lnTo>
                <a:lnTo>
                  <a:pt x="2657" y="585"/>
                </a:lnTo>
                <a:lnTo>
                  <a:pt x="2652" y="586"/>
                </a:lnTo>
                <a:lnTo>
                  <a:pt x="2512" y="586"/>
                </a:lnTo>
                <a:lnTo>
                  <a:pt x="2512" y="586"/>
                </a:lnTo>
                <a:lnTo>
                  <a:pt x="2508" y="585"/>
                </a:lnTo>
                <a:lnTo>
                  <a:pt x="2505" y="583"/>
                </a:lnTo>
                <a:lnTo>
                  <a:pt x="2503" y="579"/>
                </a:lnTo>
                <a:lnTo>
                  <a:pt x="2501" y="575"/>
                </a:lnTo>
                <a:lnTo>
                  <a:pt x="2501" y="435"/>
                </a:lnTo>
                <a:lnTo>
                  <a:pt x="2501" y="435"/>
                </a:lnTo>
                <a:lnTo>
                  <a:pt x="2503" y="431"/>
                </a:lnTo>
                <a:lnTo>
                  <a:pt x="2505" y="427"/>
                </a:lnTo>
                <a:lnTo>
                  <a:pt x="2508" y="426"/>
                </a:lnTo>
                <a:lnTo>
                  <a:pt x="2512" y="425"/>
                </a:lnTo>
                <a:lnTo>
                  <a:pt x="2652" y="425"/>
                </a:lnTo>
                <a:lnTo>
                  <a:pt x="2652" y="425"/>
                </a:lnTo>
                <a:lnTo>
                  <a:pt x="2657" y="426"/>
                </a:lnTo>
                <a:lnTo>
                  <a:pt x="2660" y="427"/>
                </a:lnTo>
                <a:lnTo>
                  <a:pt x="2663" y="431"/>
                </a:lnTo>
                <a:lnTo>
                  <a:pt x="2663" y="435"/>
                </a:lnTo>
                <a:lnTo>
                  <a:pt x="2663" y="575"/>
                </a:lnTo>
                <a:close/>
                <a:moveTo>
                  <a:pt x="2286" y="270"/>
                </a:moveTo>
                <a:lnTo>
                  <a:pt x="2286" y="270"/>
                </a:lnTo>
                <a:lnTo>
                  <a:pt x="2287" y="267"/>
                </a:lnTo>
                <a:lnTo>
                  <a:pt x="2291" y="266"/>
                </a:lnTo>
                <a:lnTo>
                  <a:pt x="2296" y="263"/>
                </a:lnTo>
                <a:lnTo>
                  <a:pt x="2300" y="263"/>
                </a:lnTo>
                <a:lnTo>
                  <a:pt x="2439" y="263"/>
                </a:lnTo>
                <a:lnTo>
                  <a:pt x="2439" y="263"/>
                </a:lnTo>
                <a:lnTo>
                  <a:pt x="2443" y="263"/>
                </a:lnTo>
                <a:lnTo>
                  <a:pt x="2446" y="266"/>
                </a:lnTo>
                <a:lnTo>
                  <a:pt x="2447" y="267"/>
                </a:lnTo>
                <a:lnTo>
                  <a:pt x="2447" y="270"/>
                </a:lnTo>
                <a:lnTo>
                  <a:pt x="2447" y="364"/>
                </a:lnTo>
                <a:lnTo>
                  <a:pt x="2447" y="364"/>
                </a:lnTo>
                <a:lnTo>
                  <a:pt x="2447" y="367"/>
                </a:lnTo>
                <a:lnTo>
                  <a:pt x="2446" y="368"/>
                </a:lnTo>
                <a:lnTo>
                  <a:pt x="2443" y="371"/>
                </a:lnTo>
                <a:lnTo>
                  <a:pt x="2439" y="371"/>
                </a:lnTo>
                <a:lnTo>
                  <a:pt x="2300" y="371"/>
                </a:lnTo>
                <a:lnTo>
                  <a:pt x="2300" y="371"/>
                </a:lnTo>
                <a:lnTo>
                  <a:pt x="2296" y="371"/>
                </a:lnTo>
                <a:lnTo>
                  <a:pt x="2291" y="368"/>
                </a:lnTo>
                <a:lnTo>
                  <a:pt x="2287" y="367"/>
                </a:lnTo>
                <a:lnTo>
                  <a:pt x="2286" y="364"/>
                </a:lnTo>
                <a:lnTo>
                  <a:pt x="2286" y="270"/>
                </a:lnTo>
                <a:close/>
                <a:moveTo>
                  <a:pt x="2447" y="575"/>
                </a:moveTo>
                <a:lnTo>
                  <a:pt x="2447" y="575"/>
                </a:lnTo>
                <a:lnTo>
                  <a:pt x="2447" y="579"/>
                </a:lnTo>
                <a:lnTo>
                  <a:pt x="2445" y="583"/>
                </a:lnTo>
                <a:lnTo>
                  <a:pt x="2442" y="585"/>
                </a:lnTo>
                <a:lnTo>
                  <a:pt x="2437" y="586"/>
                </a:lnTo>
                <a:lnTo>
                  <a:pt x="2297" y="586"/>
                </a:lnTo>
                <a:lnTo>
                  <a:pt x="2297" y="586"/>
                </a:lnTo>
                <a:lnTo>
                  <a:pt x="2293" y="585"/>
                </a:lnTo>
                <a:lnTo>
                  <a:pt x="2290" y="583"/>
                </a:lnTo>
                <a:lnTo>
                  <a:pt x="2287" y="579"/>
                </a:lnTo>
                <a:lnTo>
                  <a:pt x="2286" y="575"/>
                </a:lnTo>
                <a:lnTo>
                  <a:pt x="2286" y="435"/>
                </a:lnTo>
                <a:lnTo>
                  <a:pt x="2286" y="435"/>
                </a:lnTo>
                <a:lnTo>
                  <a:pt x="2287" y="431"/>
                </a:lnTo>
                <a:lnTo>
                  <a:pt x="2290" y="427"/>
                </a:lnTo>
                <a:lnTo>
                  <a:pt x="2293" y="426"/>
                </a:lnTo>
                <a:lnTo>
                  <a:pt x="2297" y="425"/>
                </a:lnTo>
                <a:lnTo>
                  <a:pt x="2437" y="425"/>
                </a:lnTo>
                <a:lnTo>
                  <a:pt x="2437" y="425"/>
                </a:lnTo>
                <a:lnTo>
                  <a:pt x="2442" y="426"/>
                </a:lnTo>
                <a:lnTo>
                  <a:pt x="2445" y="427"/>
                </a:lnTo>
                <a:lnTo>
                  <a:pt x="2447" y="431"/>
                </a:lnTo>
                <a:lnTo>
                  <a:pt x="2447" y="435"/>
                </a:lnTo>
                <a:lnTo>
                  <a:pt x="2447" y="575"/>
                </a:lnTo>
                <a:close/>
                <a:moveTo>
                  <a:pt x="2066" y="270"/>
                </a:moveTo>
                <a:lnTo>
                  <a:pt x="2066" y="270"/>
                </a:lnTo>
                <a:lnTo>
                  <a:pt x="2067" y="267"/>
                </a:lnTo>
                <a:lnTo>
                  <a:pt x="2071" y="266"/>
                </a:lnTo>
                <a:lnTo>
                  <a:pt x="2075" y="263"/>
                </a:lnTo>
                <a:lnTo>
                  <a:pt x="2079" y="263"/>
                </a:lnTo>
                <a:lnTo>
                  <a:pt x="2219" y="263"/>
                </a:lnTo>
                <a:lnTo>
                  <a:pt x="2219" y="263"/>
                </a:lnTo>
                <a:lnTo>
                  <a:pt x="2223" y="263"/>
                </a:lnTo>
                <a:lnTo>
                  <a:pt x="2226" y="266"/>
                </a:lnTo>
                <a:lnTo>
                  <a:pt x="2227" y="267"/>
                </a:lnTo>
                <a:lnTo>
                  <a:pt x="2227" y="270"/>
                </a:lnTo>
                <a:lnTo>
                  <a:pt x="2227" y="364"/>
                </a:lnTo>
                <a:lnTo>
                  <a:pt x="2227" y="364"/>
                </a:lnTo>
                <a:lnTo>
                  <a:pt x="2227" y="367"/>
                </a:lnTo>
                <a:lnTo>
                  <a:pt x="2226" y="368"/>
                </a:lnTo>
                <a:lnTo>
                  <a:pt x="2223" y="371"/>
                </a:lnTo>
                <a:lnTo>
                  <a:pt x="2219" y="371"/>
                </a:lnTo>
                <a:lnTo>
                  <a:pt x="2079" y="371"/>
                </a:lnTo>
                <a:lnTo>
                  <a:pt x="2079" y="371"/>
                </a:lnTo>
                <a:lnTo>
                  <a:pt x="2075" y="371"/>
                </a:lnTo>
                <a:lnTo>
                  <a:pt x="2071" y="368"/>
                </a:lnTo>
                <a:lnTo>
                  <a:pt x="2067" y="367"/>
                </a:lnTo>
                <a:lnTo>
                  <a:pt x="2066" y="364"/>
                </a:lnTo>
                <a:lnTo>
                  <a:pt x="2066" y="270"/>
                </a:lnTo>
                <a:close/>
                <a:moveTo>
                  <a:pt x="2227" y="575"/>
                </a:moveTo>
                <a:lnTo>
                  <a:pt x="2227" y="575"/>
                </a:lnTo>
                <a:lnTo>
                  <a:pt x="2227" y="579"/>
                </a:lnTo>
                <a:lnTo>
                  <a:pt x="2224" y="583"/>
                </a:lnTo>
                <a:lnTo>
                  <a:pt x="2222" y="585"/>
                </a:lnTo>
                <a:lnTo>
                  <a:pt x="2216" y="586"/>
                </a:lnTo>
                <a:lnTo>
                  <a:pt x="2076" y="586"/>
                </a:lnTo>
                <a:lnTo>
                  <a:pt x="2076" y="586"/>
                </a:lnTo>
                <a:lnTo>
                  <a:pt x="2072" y="585"/>
                </a:lnTo>
                <a:lnTo>
                  <a:pt x="2070" y="583"/>
                </a:lnTo>
                <a:lnTo>
                  <a:pt x="2067" y="579"/>
                </a:lnTo>
                <a:lnTo>
                  <a:pt x="2066" y="575"/>
                </a:lnTo>
                <a:lnTo>
                  <a:pt x="2066" y="435"/>
                </a:lnTo>
                <a:lnTo>
                  <a:pt x="2066" y="435"/>
                </a:lnTo>
                <a:lnTo>
                  <a:pt x="2067" y="431"/>
                </a:lnTo>
                <a:lnTo>
                  <a:pt x="2070" y="427"/>
                </a:lnTo>
                <a:lnTo>
                  <a:pt x="2072" y="426"/>
                </a:lnTo>
                <a:lnTo>
                  <a:pt x="2076" y="425"/>
                </a:lnTo>
                <a:lnTo>
                  <a:pt x="2216" y="425"/>
                </a:lnTo>
                <a:lnTo>
                  <a:pt x="2216" y="425"/>
                </a:lnTo>
                <a:lnTo>
                  <a:pt x="2222" y="426"/>
                </a:lnTo>
                <a:lnTo>
                  <a:pt x="2224" y="427"/>
                </a:lnTo>
                <a:lnTo>
                  <a:pt x="2227" y="431"/>
                </a:lnTo>
                <a:lnTo>
                  <a:pt x="2227" y="435"/>
                </a:lnTo>
                <a:lnTo>
                  <a:pt x="2227" y="575"/>
                </a:lnTo>
                <a:close/>
                <a:moveTo>
                  <a:pt x="1850" y="270"/>
                </a:moveTo>
                <a:lnTo>
                  <a:pt x="1850" y="270"/>
                </a:lnTo>
                <a:lnTo>
                  <a:pt x="1852" y="267"/>
                </a:lnTo>
                <a:lnTo>
                  <a:pt x="1856" y="266"/>
                </a:lnTo>
                <a:lnTo>
                  <a:pt x="1860" y="263"/>
                </a:lnTo>
                <a:lnTo>
                  <a:pt x="1864" y="263"/>
                </a:lnTo>
                <a:lnTo>
                  <a:pt x="2004" y="263"/>
                </a:lnTo>
                <a:lnTo>
                  <a:pt x="2004" y="263"/>
                </a:lnTo>
                <a:lnTo>
                  <a:pt x="2008" y="263"/>
                </a:lnTo>
                <a:lnTo>
                  <a:pt x="2010" y="266"/>
                </a:lnTo>
                <a:lnTo>
                  <a:pt x="2012" y="267"/>
                </a:lnTo>
                <a:lnTo>
                  <a:pt x="2012" y="270"/>
                </a:lnTo>
                <a:lnTo>
                  <a:pt x="2012" y="364"/>
                </a:lnTo>
                <a:lnTo>
                  <a:pt x="2012" y="364"/>
                </a:lnTo>
                <a:lnTo>
                  <a:pt x="2012" y="367"/>
                </a:lnTo>
                <a:lnTo>
                  <a:pt x="2010" y="368"/>
                </a:lnTo>
                <a:lnTo>
                  <a:pt x="2008" y="371"/>
                </a:lnTo>
                <a:lnTo>
                  <a:pt x="2004" y="371"/>
                </a:lnTo>
                <a:lnTo>
                  <a:pt x="1864" y="371"/>
                </a:lnTo>
                <a:lnTo>
                  <a:pt x="1864" y="371"/>
                </a:lnTo>
                <a:lnTo>
                  <a:pt x="1860" y="371"/>
                </a:lnTo>
                <a:lnTo>
                  <a:pt x="1856" y="368"/>
                </a:lnTo>
                <a:lnTo>
                  <a:pt x="1852" y="367"/>
                </a:lnTo>
                <a:lnTo>
                  <a:pt x="1850" y="364"/>
                </a:lnTo>
                <a:lnTo>
                  <a:pt x="1850" y="270"/>
                </a:lnTo>
                <a:close/>
                <a:moveTo>
                  <a:pt x="2012" y="575"/>
                </a:moveTo>
                <a:lnTo>
                  <a:pt x="2012" y="575"/>
                </a:lnTo>
                <a:lnTo>
                  <a:pt x="2012" y="579"/>
                </a:lnTo>
                <a:lnTo>
                  <a:pt x="2009" y="583"/>
                </a:lnTo>
                <a:lnTo>
                  <a:pt x="2006" y="585"/>
                </a:lnTo>
                <a:lnTo>
                  <a:pt x="2001" y="586"/>
                </a:lnTo>
                <a:lnTo>
                  <a:pt x="1861" y="586"/>
                </a:lnTo>
                <a:lnTo>
                  <a:pt x="1861" y="586"/>
                </a:lnTo>
                <a:lnTo>
                  <a:pt x="1857" y="585"/>
                </a:lnTo>
                <a:lnTo>
                  <a:pt x="1854" y="583"/>
                </a:lnTo>
                <a:lnTo>
                  <a:pt x="1852" y="579"/>
                </a:lnTo>
                <a:lnTo>
                  <a:pt x="1850" y="575"/>
                </a:lnTo>
                <a:lnTo>
                  <a:pt x="1850" y="435"/>
                </a:lnTo>
                <a:lnTo>
                  <a:pt x="1850" y="435"/>
                </a:lnTo>
                <a:lnTo>
                  <a:pt x="1852" y="431"/>
                </a:lnTo>
                <a:lnTo>
                  <a:pt x="1854" y="427"/>
                </a:lnTo>
                <a:lnTo>
                  <a:pt x="1857" y="426"/>
                </a:lnTo>
                <a:lnTo>
                  <a:pt x="1861" y="425"/>
                </a:lnTo>
                <a:lnTo>
                  <a:pt x="2001" y="425"/>
                </a:lnTo>
                <a:lnTo>
                  <a:pt x="2001" y="425"/>
                </a:lnTo>
                <a:lnTo>
                  <a:pt x="2006" y="426"/>
                </a:lnTo>
                <a:lnTo>
                  <a:pt x="2009" y="427"/>
                </a:lnTo>
                <a:lnTo>
                  <a:pt x="2012" y="431"/>
                </a:lnTo>
                <a:lnTo>
                  <a:pt x="2012" y="435"/>
                </a:lnTo>
                <a:lnTo>
                  <a:pt x="2012" y="575"/>
                </a:lnTo>
                <a:close/>
                <a:moveTo>
                  <a:pt x="1630" y="270"/>
                </a:moveTo>
                <a:lnTo>
                  <a:pt x="1630" y="270"/>
                </a:lnTo>
                <a:lnTo>
                  <a:pt x="1631" y="267"/>
                </a:lnTo>
                <a:lnTo>
                  <a:pt x="1635" y="266"/>
                </a:lnTo>
                <a:lnTo>
                  <a:pt x="1639" y="263"/>
                </a:lnTo>
                <a:lnTo>
                  <a:pt x="1643" y="263"/>
                </a:lnTo>
                <a:lnTo>
                  <a:pt x="1783" y="263"/>
                </a:lnTo>
                <a:lnTo>
                  <a:pt x="1783" y="263"/>
                </a:lnTo>
                <a:lnTo>
                  <a:pt x="1787" y="263"/>
                </a:lnTo>
                <a:lnTo>
                  <a:pt x="1790" y="266"/>
                </a:lnTo>
                <a:lnTo>
                  <a:pt x="1791" y="267"/>
                </a:lnTo>
                <a:lnTo>
                  <a:pt x="1791" y="270"/>
                </a:lnTo>
                <a:lnTo>
                  <a:pt x="1791" y="364"/>
                </a:lnTo>
                <a:lnTo>
                  <a:pt x="1791" y="364"/>
                </a:lnTo>
                <a:lnTo>
                  <a:pt x="1791" y="367"/>
                </a:lnTo>
                <a:lnTo>
                  <a:pt x="1790" y="368"/>
                </a:lnTo>
                <a:lnTo>
                  <a:pt x="1787" y="371"/>
                </a:lnTo>
                <a:lnTo>
                  <a:pt x="1783" y="371"/>
                </a:lnTo>
                <a:lnTo>
                  <a:pt x="1643" y="371"/>
                </a:lnTo>
                <a:lnTo>
                  <a:pt x="1643" y="371"/>
                </a:lnTo>
                <a:lnTo>
                  <a:pt x="1639" y="371"/>
                </a:lnTo>
                <a:lnTo>
                  <a:pt x="1635" y="368"/>
                </a:lnTo>
                <a:lnTo>
                  <a:pt x="1631" y="367"/>
                </a:lnTo>
                <a:lnTo>
                  <a:pt x="1630" y="364"/>
                </a:lnTo>
                <a:lnTo>
                  <a:pt x="1630" y="270"/>
                </a:lnTo>
                <a:close/>
                <a:moveTo>
                  <a:pt x="1791" y="575"/>
                </a:moveTo>
                <a:lnTo>
                  <a:pt x="1791" y="575"/>
                </a:lnTo>
                <a:lnTo>
                  <a:pt x="1791" y="579"/>
                </a:lnTo>
                <a:lnTo>
                  <a:pt x="1789" y="583"/>
                </a:lnTo>
                <a:lnTo>
                  <a:pt x="1786" y="585"/>
                </a:lnTo>
                <a:lnTo>
                  <a:pt x="1781" y="586"/>
                </a:lnTo>
                <a:lnTo>
                  <a:pt x="1641" y="586"/>
                </a:lnTo>
                <a:lnTo>
                  <a:pt x="1641" y="586"/>
                </a:lnTo>
                <a:lnTo>
                  <a:pt x="1637" y="585"/>
                </a:lnTo>
                <a:lnTo>
                  <a:pt x="1634" y="583"/>
                </a:lnTo>
                <a:lnTo>
                  <a:pt x="1631" y="579"/>
                </a:lnTo>
                <a:lnTo>
                  <a:pt x="1630" y="575"/>
                </a:lnTo>
                <a:lnTo>
                  <a:pt x="1630" y="435"/>
                </a:lnTo>
                <a:lnTo>
                  <a:pt x="1630" y="435"/>
                </a:lnTo>
                <a:lnTo>
                  <a:pt x="1631" y="431"/>
                </a:lnTo>
                <a:lnTo>
                  <a:pt x="1634" y="427"/>
                </a:lnTo>
                <a:lnTo>
                  <a:pt x="1637" y="426"/>
                </a:lnTo>
                <a:lnTo>
                  <a:pt x="1641" y="425"/>
                </a:lnTo>
                <a:lnTo>
                  <a:pt x="1781" y="425"/>
                </a:lnTo>
                <a:lnTo>
                  <a:pt x="1781" y="425"/>
                </a:lnTo>
                <a:lnTo>
                  <a:pt x="1786" y="426"/>
                </a:lnTo>
                <a:lnTo>
                  <a:pt x="1789" y="427"/>
                </a:lnTo>
                <a:lnTo>
                  <a:pt x="1791" y="431"/>
                </a:lnTo>
                <a:lnTo>
                  <a:pt x="1791" y="435"/>
                </a:lnTo>
                <a:lnTo>
                  <a:pt x="1791" y="575"/>
                </a:lnTo>
                <a:close/>
                <a:moveTo>
                  <a:pt x="1415" y="270"/>
                </a:moveTo>
                <a:lnTo>
                  <a:pt x="1415" y="270"/>
                </a:lnTo>
                <a:lnTo>
                  <a:pt x="1416" y="267"/>
                </a:lnTo>
                <a:lnTo>
                  <a:pt x="1420" y="266"/>
                </a:lnTo>
                <a:lnTo>
                  <a:pt x="1424" y="263"/>
                </a:lnTo>
                <a:lnTo>
                  <a:pt x="1428" y="263"/>
                </a:lnTo>
                <a:lnTo>
                  <a:pt x="1568" y="263"/>
                </a:lnTo>
                <a:lnTo>
                  <a:pt x="1568" y="263"/>
                </a:lnTo>
                <a:lnTo>
                  <a:pt x="1572" y="263"/>
                </a:lnTo>
                <a:lnTo>
                  <a:pt x="1575" y="266"/>
                </a:lnTo>
                <a:lnTo>
                  <a:pt x="1576" y="267"/>
                </a:lnTo>
                <a:lnTo>
                  <a:pt x="1576" y="270"/>
                </a:lnTo>
                <a:lnTo>
                  <a:pt x="1576" y="364"/>
                </a:lnTo>
                <a:lnTo>
                  <a:pt x="1576" y="364"/>
                </a:lnTo>
                <a:lnTo>
                  <a:pt x="1576" y="367"/>
                </a:lnTo>
                <a:lnTo>
                  <a:pt x="1575" y="368"/>
                </a:lnTo>
                <a:lnTo>
                  <a:pt x="1572" y="371"/>
                </a:lnTo>
                <a:lnTo>
                  <a:pt x="1568" y="371"/>
                </a:lnTo>
                <a:lnTo>
                  <a:pt x="1428" y="371"/>
                </a:lnTo>
                <a:lnTo>
                  <a:pt x="1428" y="371"/>
                </a:lnTo>
                <a:lnTo>
                  <a:pt x="1424" y="371"/>
                </a:lnTo>
                <a:lnTo>
                  <a:pt x="1420" y="368"/>
                </a:lnTo>
                <a:lnTo>
                  <a:pt x="1416" y="367"/>
                </a:lnTo>
                <a:lnTo>
                  <a:pt x="1415" y="364"/>
                </a:lnTo>
                <a:lnTo>
                  <a:pt x="1415" y="270"/>
                </a:lnTo>
                <a:close/>
                <a:moveTo>
                  <a:pt x="1576" y="575"/>
                </a:moveTo>
                <a:lnTo>
                  <a:pt x="1576" y="575"/>
                </a:lnTo>
                <a:lnTo>
                  <a:pt x="1576" y="579"/>
                </a:lnTo>
                <a:lnTo>
                  <a:pt x="1573" y="583"/>
                </a:lnTo>
                <a:lnTo>
                  <a:pt x="1571" y="585"/>
                </a:lnTo>
                <a:lnTo>
                  <a:pt x="1565" y="586"/>
                </a:lnTo>
                <a:lnTo>
                  <a:pt x="1426" y="586"/>
                </a:lnTo>
                <a:lnTo>
                  <a:pt x="1426" y="586"/>
                </a:lnTo>
                <a:lnTo>
                  <a:pt x="1421" y="585"/>
                </a:lnTo>
                <a:lnTo>
                  <a:pt x="1419" y="583"/>
                </a:lnTo>
                <a:lnTo>
                  <a:pt x="1416" y="579"/>
                </a:lnTo>
                <a:lnTo>
                  <a:pt x="1415" y="575"/>
                </a:lnTo>
                <a:lnTo>
                  <a:pt x="1415" y="435"/>
                </a:lnTo>
                <a:lnTo>
                  <a:pt x="1415" y="435"/>
                </a:lnTo>
                <a:lnTo>
                  <a:pt x="1416" y="431"/>
                </a:lnTo>
                <a:lnTo>
                  <a:pt x="1419" y="427"/>
                </a:lnTo>
                <a:lnTo>
                  <a:pt x="1421" y="426"/>
                </a:lnTo>
                <a:lnTo>
                  <a:pt x="1426" y="425"/>
                </a:lnTo>
                <a:lnTo>
                  <a:pt x="1565" y="425"/>
                </a:lnTo>
                <a:lnTo>
                  <a:pt x="1565" y="425"/>
                </a:lnTo>
                <a:lnTo>
                  <a:pt x="1571" y="426"/>
                </a:lnTo>
                <a:lnTo>
                  <a:pt x="1573" y="427"/>
                </a:lnTo>
                <a:lnTo>
                  <a:pt x="1576" y="431"/>
                </a:lnTo>
                <a:lnTo>
                  <a:pt x="1576" y="435"/>
                </a:lnTo>
                <a:lnTo>
                  <a:pt x="1576" y="575"/>
                </a:lnTo>
                <a:close/>
                <a:moveTo>
                  <a:pt x="1194" y="270"/>
                </a:moveTo>
                <a:lnTo>
                  <a:pt x="1194" y="270"/>
                </a:lnTo>
                <a:lnTo>
                  <a:pt x="1196" y="267"/>
                </a:lnTo>
                <a:lnTo>
                  <a:pt x="1200" y="266"/>
                </a:lnTo>
                <a:lnTo>
                  <a:pt x="1204" y="263"/>
                </a:lnTo>
                <a:lnTo>
                  <a:pt x="1208" y="263"/>
                </a:lnTo>
                <a:lnTo>
                  <a:pt x="1348" y="263"/>
                </a:lnTo>
                <a:lnTo>
                  <a:pt x="1348" y="263"/>
                </a:lnTo>
                <a:lnTo>
                  <a:pt x="1352" y="263"/>
                </a:lnTo>
                <a:lnTo>
                  <a:pt x="1354" y="266"/>
                </a:lnTo>
                <a:lnTo>
                  <a:pt x="1356" y="267"/>
                </a:lnTo>
                <a:lnTo>
                  <a:pt x="1356" y="270"/>
                </a:lnTo>
                <a:lnTo>
                  <a:pt x="1356" y="364"/>
                </a:lnTo>
                <a:lnTo>
                  <a:pt x="1356" y="364"/>
                </a:lnTo>
                <a:lnTo>
                  <a:pt x="1356" y="367"/>
                </a:lnTo>
                <a:lnTo>
                  <a:pt x="1354" y="368"/>
                </a:lnTo>
                <a:lnTo>
                  <a:pt x="1352" y="371"/>
                </a:lnTo>
                <a:lnTo>
                  <a:pt x="1348" y="371"/>
                </a:lnTo>
                <a:lnTo>
                  <a:pt x="1208" y="371"/>
                </a:lnTo>
                <a:lnTo>
                  <a:pt x="1208" y="371"/>
                </a:lnTo>
                <a:lnTo>
                  <a:pt x="1204" y="371"/>
                </a:lnTo>
                <a:lnTo>
                  <a:pt x="1200" y="368"/>
                </a:lnTo>
                <a:lnTo>
                  <a:pt x="1196" y="367"/>
                </a:lnTo>
                <a:lnTo>
                  <a:pt x="1194" y="364"/>
                </a:lnTo>
                <a:lnTo>
                  <a:pt x="1194" y="270"/>
                </a:lnTo>
                <a:close/>
                <a:moveTo>
                  <a:pt x="1356" y="575"/>
                </a:moveTo>
                <a:lnTo>
                  <a:pt x="1356" y="575"/>
                </a:lnTo>
                <a:lnTo>
                  <a:pt x="1356" y="579"/>
                </a:lnTo>
                <a:lnTo>
                  <a:pt x="1353" y="583"/>
                </a:lnTo>
                <a:lnTo>
                  <a:pt x="1350" y="585"/>
                </a:lnTo>
                <a:lnTo>
                  <a:pt x="1345" y="586"/>
                </a:lnTo>
                <a:lnTo>
                  <a:pt x="1205" y="586"/>
                </a:lnTo>
                <a:lnTo>
                  <a:pt x="1205" y="586"/>
                </a:lnTo>
                <a:lnTo>
                  <a:pt x="1201" y="585"/>
                </a:lnTo>
                <a:lnTo>
                  <a:pt x="1198" y="583"/>
                </a:lnTo>
                <a:lnTo>
                  <a:pt x="1196" y="579"/>
                </a:lnTo>
                <a:lnTo>
                  <a:pt x="1194" y="575"/>
                </a:lnTo>
                <a:lnTo>
                  <a:pt x="1194" y="435"/>
                </a:lnTo>
                <a:lnTo>
                  <a:pt x="1194" y="435"/>
                </a:lnTo>
                <a:lnTo>
                  <a:pt x="1196" y="431"/>
                </a:lnTo>
                <a:lnTo>
                  <a:pt x="1198" y="427"/>
                </a:lnTo>
                <a:lnTo>
                  <a:pt x="1201" y="426"/>
                </a:lnTo>
                <a:lnTo>
                  <a:pt x="1205" y="425"/>
                </a:lnTo>
                <a:lnTo>
                  <a:pt x="1345" y="425"/>
                </a:lnTo>
                <a:lnTo>
                  <a:pt x="1345" y="425"/>
                </a:lnTo>
                <a:lnTo>
                  <a:pt x="1350" y="426"/>
                </a:lnTo>
                <a:lnTo>
                  <a:pt x="1353" y="427"/>
                </a:lnTo>
                <a:lnTo>
                  <a:pt x="1356" y="431"/>
                </a:lnTo>
                <a:lnTo>
                  <a:pt x="1356" y="435"/>
                </a:lnTo>
                <a:lnTo>
                  <a:pt x="1356" y="575"/>
                </a:lnTo>
                <a:close/>
                <a:moveTo>
                  <a:pt x="979" y="270"/>
                </a:moveTo>
                <a:lnTo>
                  <a:pt x="979" y="270"/>
                </a:lnTo>
                <a:lnTo>
                  <a:pt x="980" y="267"/>
                </a:lnTo>
                <a:lnTo>
                  <a:pt x="984" y="266"/>
                </a:lnTo>
                <a:lnTo>
                  <a:pt x="988" y="263"/>
                </a:lnTo>
                <a:lnTo>
                  <a:pt x="993" y="263"/>
                </a:lnTo>
                <a:lnTo>
                  <a:pt x="1132" y="263"/>
                </a:lnTo>
                <a:lnTo>
                  <a:pt x="1132" y="263"/>
                </a:lnTo>
                <a:lnTo>
                  <a:pt x="1136" y="263"/>
                </a:lnTo>
                <a:lnTo>
                  <a:pt x="1139" y="266"/>
                </a:lnTo>
                <a:lnTo>
                  <a:pt x="1140" y="267"/>
                </a:lnTo>
                <a:lnTo>
                  <a:pt x="1140" y="270"/>
                </a:lnTo>
                <a:lnTo>
                  <a:pt x="1140" y="364"/>
                </a:lnTo>
                <a:lnTo>
                  <a:pt x="1140" y="364"/>
                </a:lnTo>
                <a:lnTo>
                  <a:pt x="1140" y="367"/>
                </a:lnTo>
                <a:lnTo>
                  <a:pt x="1139" y="368"/>
                </a:lnTo>
                <a:lnTo>
                  <a:pt x="1136" y="371"/>
                </a:lnTo>
                <a:lnTo>
                  <a:pt x="1132" y="371"/>
                </a:lnTo>
                <a:lnTo>
                  <a:pt x="993" y="371"/>
                </a:lnTo>
                <a:lnTo>
                  <a:pt x="993" y="371"/>
                </a:lnTo>
                <a:lnTo>
                  <a:pt x="988" y="371"/>
                </a:lnTo>
                <a:lnTo>
                  <a:pt x="984" y="368"/>
                </a:lnTo>
                <a:lnTo>
                  <a:pt x="980" y="367"/>
                </a:lnTo>
                <a:lnTo>
                  <a:pt x="979" y="364"/>
                </a:lnTo>
                <a:lnTo>
                  <a:pt x="979" y="270"/>
                </a:lnTo>
                <a:close/>
                <a:moveTo>
                  <a:pt x="1140" y="575"/>
                </a:moveTo>
                <a:lnTo>
                  <a:pt x="1140" y="575"/>
                </a:lnTo>
                <a:lnTo>
                  <a:pt x="1140" y="579"/>
                </a:lnTo>
                <a:lnTo>
                  <a:pt x="1138" y="583"/>
                </a:lnTo>
                <a:lnTo>
                  <a:pt x="1135" y="585"/>
                </a:lnTo>
                <a:lnTo>
                  <a:pt x="1130" y="586"/>
                </a:lnTo>
                <a:lnTo>
                  <a:pt x="990" y="586"/>
                </a:lnTo>
                <a:lnTo>
                  <a:pt x="990" y="586"/>
                </a:lnTo>
                <a:lnTo>
                  <a:pt x="986" y="585"/>
                </a:lnTo>
                <a:lnTo>
                  <a:pt x="983" y="583"/>
                </a:lnTo>
                <a:lnTo>
                  <a:pt x="980" y="579"/>
                </a:lnTo>
                <a:lnTo>
                  <a:pt x="979" y="575"/>
                </a:lnTo>
                <a:lnTo>
                  <a:pt x="979" y="435"/>
                </a:lnTo>
                <a:lnTo>
                  <a:pt x="979" y="435"/>
                </a:lnTo>
                <a:lnTo>
                  <a:pt x="980" y="431"/>
                </a:lnTo>
                <a:lnTo>
                  <a:pt x="983" y="427"/>
                </a:lnTo>
                <a:lnTo>
                  <a:pt x="986" y="426"/>
                </a:lnTo>
                <a:lnTo>
                  <a:pt x="990" y="425"/>
                </a:lnTo>
                <a:lnTo>
                  <a:pt x="1130" y="425"/>
                </a:lnTo>
                <a:lnTo>
                  <a:pt x="1130" y="425"/>
                </a:lnTo>
                <a:lnTo>
                  <a:pt x="1135" y="426"/>
                </a:lnTo>
                <a:lnTo>
                  <a:pt x="1138" y="427"/>
                </a:lnTo>
                <a:lnTo>
                  <a:pt x="1140" y="431"/>
                </a:lnTo>
                <a:lnTo>
                  <a:pt x="1140" y="435"/>
                </a:lnTo>
                <a:lnTo>
                  <a:pt x="1140" y="575"/>
                </a:lnTo>
                <a:close/>
                <a:moveTo>
                  <a:pt x="759" y="270"/>
                </a:moveTo>
                <a:lnTo>
                  <a:pt x="759" y="270"/>
                </a:lnTo>
                <a:lnTo>
                  <a:pt x="760" y="267"/>
                </a:lnTo>
                <a:lnTo>
                  <a:pt x="764" y="266"/>
                </a:lnTo>
                <a:lnTo>
                  <a:pt x="768" y="263"/>
                </a:lnTo>
                <a:lnTo>
                  <a:pt x="772" y="263"/>
                </a:lnTo>
                <a:lnTo>
                  <a:pt x="912" y="263"/>
                </a:lnTo>
                <a:lnTo>
                  <a:pt x="912" y="263"/>
                </a:lnTo>
                <a:lnTo>
                  <a:pt x="916" y="263"/>
                </a:lnTo>
                <a:lnTo>
                  <a:pt x="919" y="266"/>
                </a:lnTo>
                <a:lnTo>
                  <a:pt x="920" y="267"/>
                </a:lnTo>
                <a:lnTo>
                  <a:pt x="920" y="270"/>
                </a:lnTo>
                <a:lnTo>
                  <a:pt x="920" y="364"/>
                </a:lnTo>
                <a:lnTo>
                  <a:pt x="920" y="364"/>
                </a:lnTo>
                <a:lnTo>
                  <a:pt x="920" y="367"/>
                </a:lnTo>
                <a:lnTo>
                  <a:pt x="919" y="368"/>
                </a:lnTo>
                <a:lnTo>
                  <a:pt x="916" y="371"/>
                </a:lnTo>
                <a:lnTo>
                  <a:pt x="912" y="371"/>
                </a:lnTo>
                <a:lnTo>
                  <a:pt x="772" y="371"/>
                </a:lnTo>
                <a:lnTo>
                  <a:pt x="772" y="371"/>
                </a:lnTo>
                <a:lnTo>
                  <a:pt x="768" y="371"/>
                </a:lnTo>
                <a:lnTo>
                  <a:pt x="764" y="368"/>
                </a:lnTo>
                <a:lnTo>
                  <a:pt x="760" y="367"/>
                </a:lnTo>
                <a:lnTo>
                  <a:pt x="759" y="364"/>
                </a:lnTo>
                <a:lnTo>
                  <a:pt x="759" y="270"/>
                </a:lnTo>
                <a:close/>
                <a:moveTo>
                  <a:pt x="920" y="575"/>
                </a:moveTo>
                <a:lnTo>
                  <a:pt x="920" y="575"/>
                </a:lnTo>
                <a:lnTo>
                  <a:pt x="920" y="579"/>
                </a:lnTo>
                <a:lnTo>
                  <a:pt x="917" y="583"/>
                </a:lnTo>
                <a:lnTo>
                  <a:pt x="915" y="585"/>
                </a:lnTo>
                <a:lnTo>
                  <a:pt x="909" y="586"/>
                </a:lnTo>
                <a:lnTo>
                  <a:pt x="769" y="586"/>
                </a:lnTo>
                <a:lnTo>
                  <a:pt x="769" y="586"/>
                </a:lnTo>
                <a:lnTo>
                  <a:pt x="765" y="585"/>
                </a:lnTo>
                <a:lnTo>
                  <a:pt x="763" y="583"/>
                </a:lnTo>
                <a:lnTo>
                  <a:pt x="760" y="579"/>
                </a:lnTo>
                <a:lnTo>
                  <a:pt x="759" y="575"/>
                </a:lnTo>
                <a:lnTo>
                  <a:pt x="759" y="435"/>
                </a:lnTo>
                <a:lnTo>
                  <a:pt x="759" y="435"/>
                </a:lnTo>
                <a:lnTo>
                  <a:pt x="760" y="431"/>
                </a:lnTo>
                <a:lnTo>
                  <a:pt x="763" y="427"/>
                </a:lnTo>
                <a:lnTo>
                  <a:pt x="765" y="426"/>
                </a:lnTo>
                <a:lnTo>
                  <a:pt x="769" y="425"/>
                </a:lnTo>
                <a:lnTo>
                  <a:pt x="909" y="425"/>
                </a:lnTo>
                <a:lnTo>
                  <a:pt x="909" y="425"/>
                </a:lnTo>
                <a:lnTo>
                  <a:pt x="915" y="426"/>
                </a:lnTo>
                <a:lnTo>
                  <a:pt x="917" y="427"/>
                </a:lnTo>
                <a:lnTo>
                  <a:pt x="920" y="431"/>
                </a:lnTo>
                <a:lnTo>
                  <a:pt x="920" y="435"/>
                </a:lnTo>
                <a:lnTo>
                  <a:pt x="920" y="575"/>
                </a:lnTo>
                <a:close/>
                <a:moveTo>
                  <a:pt x="543" y="270"/>
                </a:moveTo>
                <a:lnTo>
                  <a:pt x="543" y="270"/>
                </a:lnTo>
                <a:lnTo>
                  <a:pt x="545" y="267"/>
                </a:lnTo>
                <a:lnTo>
                  <a:pt x="549" y="266"/>
                </a:lnTo>
                <a:lnTo>
                  <a:pt x="553" y="263"/>
                </a:lnTo>
                <a:lnTo>
                  <a:pt x="557" y="263"/>
                </a:lnTo>
                <a:lnTo>
                  <a:pt x="697" y="263"/>
                </a:lnTo>
                <a:lnTo>
                  <a:pt x="697" y="263"/>
                </a:lnTo>
                <a:lnTo>
                  <a:pt x="701" y="263"/>
                </a:lnTo>
                <a:lnTo>
                  <a:pt x="703" y="266"/>
                </a:lnTo>
                <a:lnTo>
                  <a:pt x="705" y="267"/>
                </a:lnTo>
                <a:lnTo>
                  <a:pt x="705" y="270"/>
                </a:lnTo>
                <a:lnTo>
                  <a:pt x="705" y="364"/>
                </a:lnTo>
                <a:lnTo>
                  <a:pt x="705" y="364"/>
                </a:lnTo>
                <a:lnTo>
                  <a:pt x="705" y="367"/>
                </a:lnTo>
                <a:lnTo>
                  <a:pt x="703" y="368"/>
                </a:lnTo>
                <a:lnTo>
                  <a:pt x="701" y="371"/>
                </a:lnTo>
                <a:lnTo>
                  <a:pt x="697" y="371"/>
                </a:lnTo>
                <a:lnTo>
                  <a:pt x="557" y="371"/>
                </a:lnTo>
                <a:lnTo>
                  <a:pt x="557" y="371"/>
                </a:lnTo>
                <a:lnTo>
                  <a:pt x="553" y="371"/>
                </a:lnTo>
                <a:lnTo>
                  <a:pt x="549" y="368"/>
                </a:lnTo>
                <a:lnTo>
                  <a:pt x="545" y="367"/>
                </a:lnTo>
                <a:lnTo>
                  <a:pt x="543" y="364"/>
                </a:lnTo>
                <a:lnTo>
                  <a:pt x="543" y="270"/>
                </a:lnTo>
                <a:close/>
                <a:moveTo>
                  <a:pt x="705" y="575"/>
                </a:moveTo>
                <a:lnTo>
                  <a:pt x="705" y="575"/>
                </a:lnTo>
                <a:lnTo>
                  <a:pt x="705" y="579"/>
                </a:lnTo>
                <a:lnTo>
                  <a:pt x="702" y="583"/>
                </a:lnTo>
                <a:lnTo>
                  <a:pt x="699" y="585"/>
                </a:lnTo>
                <a:lnTo>
                  <a:pt x="694" y="586"/>
                </a:lnTo>
                <a:lnTo>
                  <a:pt x="554" y="586"/>
                </a:lnTo>
                <a:lnTo>
                  <a:pt x="554" y="586"/>
                </a:lnTo>
                <a:lnTo>
                  <a:pt x="550" y="585"/>
                </a:lnTo>
                <a:lnTo>
                  <a:pt x="547" y="583"/>
                </a:lnTo>
                <a:lnTo>
                  <a:pt x="545" y="579"/>
                </a:lnTo>
                <a:lnTo>
                  <a:pt x="543" y="575"/>
                </a:lnTo>
                <a:lnTo>
                  <a:pt x="543" y="435"/>
                </a:lnTo>
                <a:lnTo>
                  <a:pt x="543" y="435"/>
                </a:lnTo>
                <a:lnTo>
                  <a:pt x="545" y="431"/>
                </a:lnTo>
                <a:lnTo>
                  <a:pt x="547" y="427"/>
                </a:lnTo>
                <a:lnTo>
                  <a:pt x="550" y="426"/>
                </a:lnTo>
                <a:lnTo>
                  <a:pt x="554" y="425"/>
                </a:lnTo>
                <a:lnTo>
                  <a:pt x="694" y="425"/>
                </a:lnTo>
                <a:lnTo>
                  <a:pt x="694" y="425"/>
                </a:lnTo>
                <a:lnTo>
                  <a:pt x="699" y="426"/>
                </a:lnTo>
                <a:lnTo>
                  <a:pt x="702" y="427"/>
                </a:lnTo>
                <a:lnTo>
                  <a:pt x="705" y="431"/>
                </a:lnTo>
                <a:lnTo>
                  <a:pt x="705" y="435"/>
                </a:lnTo>
                <a:lnTo>
                  <a:pt x="705" y="575"/>
                </a:lnTo>
                <a:close/>
                <a:moveTo>
                  <a:pt x="323" y="270"/>
                </a:moveTo>
                <a:lnTo>
                  <a:pt x="323" y="270"/>
                </a:lnTo>
                <a:lnTo>
                  <a:pt x="324" y="267"/>
                </a:lnTo>
                <a:lnTo>
                  <a:pt x="328" y="266"/>
                </a:lnTo>
                <a:lnTo>
                  <a:pt x="332" y="263"/>
                </a:lnTo>
                <a:lnTo>
                  <a:pt x="336" y="263"/>
                </a:lnTo>
                <a:lnTo>
                  <a:pt x="476" y="263"/>
                </a:lnTo>
                <a:lnTo>
                  <a:pt x="476" y="263"/>
                </a:lnTo>
                <a:lnTo>
                  <a:pt x="480" y="263"/>
                </a:lnTo>
                <a:lnTo>
                  <a:pt x="483" y="266"/>
                </a:lnTo>
                <a:lnTo>
                  <a:pt x="484" y="267"/>
                </a:lnTo>
                <a:lnTo>
                  <a:pt x="484" y="270"/>
                </a:lnTo>
                <a:lnTo>
                  <a:pt x="484" y="364"/>
                </a:lnTo>
                <a:lnTo>
                  <a:pt x="484" y="364"/>
                </a:lnTo>
                <a:lnTo>
                  <a:pt x="484" y="367"/>
                </a:lnTo>
                <a:lnTo>
                  <a:pt x="483" y="368"/>
                </a:lnTo>
                <a:lnTo>
                  <a:pt x="480" y="371"/>
                </a:lnTo>
                <a:lnTo>
                  <a:pt x="476" y="371"/>
                </a:lnTo>
                <a:lnTo>
                  <a:pt x="336" y="371"/>
                </a:lnTo>
                <a:lnTo>
                  <a:pt x="336" y="371"/>
                </a:lnTo>
                <a:lnTo>
                  <a:pt x="332" y="371"/>
                </a:lnTo>
                <a:lnTo>
                  <a:pt x="328" y="368"/>
                </a:lnTo>
                <a:lnTo>
                  <a:pt x="324" y="367"/>
                </a:lnTo>
                <a:lnTo>
                  <a:pt x="323" y="364"/>
                </a:lnTo>
                <a:lnTo>
                  <a:pt x="323" y="270"/>
                </a:lnTo>
                <a:close/>
                <a:moveTo>
                  <a:pt x="484" y="575"/>
                </a:moveTo>
                <a:lnTo>
                  <a:pt x="484" y="575"/>
                </a:lnTo>
                <a:lnTo>
                  <a:pt x="484" y="579"/>
                </a:lnTo>
                <a:lnTo>
                  <a:pt x="482" y="583"/>
                </a:lnTo>
                <a:lnTo>
                  <a:pt x="479" y="585"/>
                </a:lnTo>
                <a:lnTo>
                  <a:pt x="473" y="586"/>
                </a:lnTo>
                <a:lnTo>
                  <a:pt x="334" y="586"/>
                </a:lnTo>
                <a:lnTo>
                  <a:pt x="334" y="586"/>
                </a:lnTo>
                <a:lnTo>
                  <a:pt x="330" y="585"/>
                </a:lnTo>
                <a:lnTo>
                  <a:pt x="327" y="583"/>
                </a:lnTo>
                <a:lnTo>
                  <a:pt x="324" y="579"/>
                </a:lnTo>
                <a:lnTo>
                  <a:pt x="323" y="575"/>
                </a:lnTo>
                <a:lnTo>
                  <a:pt x="323" y="435"/>
                </a:lnTo>
                <a:lnTo>
                  <a:pt x="323" y="435"/>
                </a:lnTo>
                <a:lnTo>
                  <a:pt x="324" y="431"/>
                </a:lnTo>
                <a:lnTo>
                  <a:pt x="327" y="427"/>
                </a:lnTo>
                <a:lnTo>
                  <a:pt x="330" y="426"/>
                </a:lnTo>
                <a:lnTo>
                  <a:pt x="334" y="425"/>
                </a:lnTo>
                <a:lnTo>
                  <a:pt x="473" y="425"/>
                </a:lnTo>
                <a:lnTo>
                  <a:pt x="473" y="425"/>
                </a:lnTo>
                <a:lnTo>
                  <a:pt x="479" y="426"/>
                </a:lnTo>
                <a:lnTo>
                  <a:pt x="482" y="427"/>
                </a:lnTo>
                <a:lnTo>
                  <a:pt x="484" y="431"/>
                </a:lnTo>
                <a:lnTo>
                  <a:pt x="484" y="435"/>
                </a:lnTo>
                <a:lnTo>
                  <a:pt x="484" y="575"/>
                </a:lnTo>
                <a:close/>
                <a:moveTo>
                  <a:pt x="108" y="270"/>
                </a:moveTo>
                <a:lnTo>
                  <a:pt x="108" y="270"/>
                </a:lnTo>
                <a:lnTo>
                  <a:pt x="109" y="267"/>
                </a:lnTo>
                <a:lnTo>
                  <a:pt x="113" y="266"/>
                </a:lnTo>
                <a:lnTo>
                  <a:pt x="117" y="263"/>
                </a:lnTo>
                <a:lnTo>
                  <a:pt x="121" y="263"/>
                </a:lnTo>
                <a:lnTo>
                  <a:pt x="261" y="263"/>
                </a:lnTo>
                <a:lnTo>
                  <a:pt x="261" y="263"/>
                </a:lnTo>
                <a:lnTo>
                  <a:pt x="265" y="263"/>
                </a:lnTo>
                <a:lnTo>
                  <a:pt x="268" y="266"/>
                </a:lnTo>
                <a:lnTo>
                  <a:pt x="269" y="267"/>
                </a:lnTo>
                <a:lnTo>
                  <a:pt x="269" y="270"/>
                </a:lnTo>
                <a:lnTo>
                  <a:pt x="269" y="364"/>
                </a:lnTo>
                <a:lnTo>
                  <a:pt x="269" y="364"/>
                </a:lnTo>
                <a:lnTo>
                  <a:pt x="269" y="367"/>
                </a:lnTo>
                <a:lnTo>
                  <a:pt x="268" y="368"/>
                </a:lnTo>
                <a:lnTo>
                  <a:pt x="265" y="371"/>
                </a:lnTo>
                <a:lnTo>
                  <a:pt x="261" y="371"/>
                </a:lnTo>
                <a:lnTo>
                  <a:pt x="121" y="371"/>
                </a:lnTo>
                <a:lnTo>
                  <a:pt x="121" y="371"/>
                </a:lnTo>
                <a:lnTo>
                  <a:pt x="117" y="371"/>
                </a:lnTo>
                <a:lnTo>
                  <a:pt x="113" y="368"/>
                </a:lnTo>
                <a:lnTo>
                  <a:pt x="109" y="367"/>
                </a:lnTo>
                <a:lnTo>
                  <a:pt x="108" y="364"/>
                </a:lnTo>
                <a:lnTo>
                  <a:pt x="108" y="270"/>
                </a:lnTo>
                <a:close/>
                <a:moveTo>
                  <a:pt x="269" y="575"/>
                </a:moveTo>
                <a:lnTo>
                  <a:pt x="269" y="575"/>
                </a:lnTo>
                <a:lnTo>
                  <a:pt x="269" y="579"/>
                </a:lnTo>
                <a:lnTo>
                  <a:pt x="266" y="583"/>
                </a:lnTo>
                <a:lnTo>
                  <a:pt x="264" y="585"/>
                </a:lnTo>
                <a:lnTo>
                  <a:pt x="258" y="586"/>
                </a:lnTo>
                <a:lnTo>
                  <a:pt x="118" y="586"/>
                </a:lnTo>
                <a:lnTo>
                  <a:pt x="118" y="586"/>
                </a:lnTo>
                <a:lnTo>
                  <a:pt x="114" y="585"/>
                </a:lnTo>
                <a:lnTo>
                  <a:pt x="112" y="583"/>
                </a:lnTo>
                <a:lnTo>
                  <a:pt x="109" y="579"/>
                </a:lnTo>
                <a:lnTo>
                  <a:pt x="108" y="575"/>
                </a:lnTo>
                <a:lnTo>
                  <a:pt x="108" y="435"/>
                </a:lnTo>
                <a:lnTo>
                  <a:pt x="108" y="435"/>
                </a:lnTo>
                <a:lnTo>
                  <a:pt x="109" y="431"/>
                </a:lnTo>
                <a:lnTo>
                  <a:pt x="112" y="427"/>
                </a:lnTo>
                <a:lnTo>
                  <a:pt x="114" y="426"/>
                </a:lnTo>
                <a:lnTo>
                  <a:pt x="118" y="425"/>
                </a:lnTo>
                <a:lnTo>
                  <a:pt x="258" y="425"/>
                </a:lnTo>
                <a:lnTo>
                  <a:pt x="258" y="425"/>
                </a:lnTo>
                <a:lnTo>
                  <a:pt x="264" y="426"/>
                </a:lnTo>
                <a:lnTo>
                  <a:pt x="266" y="427"/>
                </a:lnTo>
                <a:lnTo>
                  <a:pt x="269" y="431"/>
                </a:lnTo>
                <a:lnTo>
                  <a:pt x="269" y="435"/>
                </a:lnTo>
                <a:lnTo>
                  <a:pt x="269" y="575"/>
                </a:lnTo>
                <a:close/>
                <a:moveTo>
                  <a:pt x="108" y="652"/>
                </a:moveTo>
                <a:lnTo>
                  <a:pt x="108" y="652"/>
                </a:lnTo>
                <a:lnTo>
                  <a:pt x="109" y="649"/>
                </a:lnTo>
                <a:lnTo>
                  <a:pt x="110" y="648"/>
                </a:lnTo>
                <a:lnTo>
                  <a:pt x="114" y="644"/>
                </a:lnTo>
                <a:lnTo>
                  <a:pt x="121" y="641"/>
                </a:lnTo>
                <a:lnTo>
                  <a:pt x="128" y="640"/>
                </a:lnTo>
                <a:lnTo>
                  <a:pt x="352" y="640"/>
                </a:lnTo>
                <a:lnTo>
                  <a:pt x="352" y="640"/>
                </a:lnTo>
                <a:lnTo>
                  <a:pt x="358" y="641"/>
                </a:lnTo>
                <a:lnTo>
                  <a:pt x="363" y="644"/>
                </a:lnTo>
                <a:lnTo>
                  <a:pt x="366" y="648"/>
                </a:lnTo>
                <a:lnTo>
                  <a:pt x="366" y="652"/>
                </a:lnTo>
                <a:lnTo>
                  <a:pt x="366" y="792"/>
                </a:lnTo>
                <a:lnTo>
                  <a:pt x="366" y="792"/>
                </a:lnTo>
                <a:lnTo>
                  <a:pt x="366" y="796"/>
                </a:lnTo>
                <a:lnTo>
                  <a:pt x="363" y="799"/>
                </a:lnTo>
                <a:lnTo>
                  <a:pt x="358" y="801"/>
                </a:lnTo>
                <a:lnTo>
                  <a:pt x="352" y="801"/>
                </a:lnTo>
                <a:lnTo>
                  <a:pt x="128" y="801"/>
                </a:lnTo>
                <a:lnTo>
                  <a:pt x="128" y="801"/>
                </a:lnTo>
                <a:lnTo>
                  <a:pt x="121" y="801"/>
                </a:lnTo>
                <a:lnTo>
                  <a:pt x="114" y="799"/>
                </a:lnTo>
                <a:lnTo>
                  <a:pt x="110" y="796"/>
                </a:lnTo>
                <a:lnTo>
                  <a:pt x="109" y="793"/>
                </a:lnTo>
                <a:lnTo>
                  <a:pt x="108" y="792"/>
                </a:lnTo>
                <a:lnTo>
                  <a:pt x="108" y="652"/>
                </a:lnTo>
                <a:close/>
                <a:moveTo>
                  <a:pt x="108" y="867"/>
                </a:moveTo>
                <a:lnTo>
                  <a:pt x="108" y="867"/>
                </a:lnTo>
                <a:lnTo>
                  <a:pt x="109" y="866"/>
                </a:lnTo>
                <a:lnTo>
                  <a:pt x="110" y="863"/>
                </a:lnTo>
                <a:lnTo>
                  <a:pt x="117" y="859"/>
                </a:lnTo>
                <a:lnTo>
                  <a:pt x="127" y="856"/>
                </a:lnTo>
                <a:lnTo>
                  <a:pt x="136" y="855"/>
                </a:lnTo>
                <a:lnTo>
                  <a:pt x="463" y="855"/>
                </a:lnTo>
                <a:lnTo>
                  <a:pt x="463" y="855"/>
                </a:lnTo>
                <a:lnTo>
                  <a:pt x="472" y="856"/>
                </a:lnTo>
                <a:lnTo>
                  <a:pt x="479" y="859"/>
                </a:lnTo>
                <a:lnTo>
                  <a:pt x="483" y="863"/>
                </a:lnTo>
                <a:lnTo>
                  <a:pt x="484" y="867"/>
                </a:lnTo>
                <a:lnTo>
                  <a:pt x="484" y="1007"/>
                </a:lnTo>
                <a:lnTo>
                  <a:pt x="484" y="1007"/>
                </a:lnTo>
                <a:lnTo>
                  <a:pt x="484" y="1010"/>
                </a:lnTo>
                <a:lnTo>
                  <a:pt x="483" y="1011"/>
                </a:lnTo>
                <a:lnTo>
                  <a:pt x="479" y="1014"/>
                </a:lnTo>
                <a:lnTo>
                  <a:pt x="472" y="1016"/>
                </a:lnTo>
                <a:lnTo>
                  <a:pt x="463" y="1016"/>
                </a:lnTo>
                <a:lnTo>
                  <a:pt x="136" y="1016"/>
                </a:lnTo>
                <a:lnTo>
                  <a:pt x="136" y="1016"/>
                </a:lnTo>
                <a:lnTo>
                  <a:pt x="127" y="1016"/>
                </a:lnTo>
                <a:lnTo>
                  <a:pt x="117" y="1014"/>
                </a:lnTo>
                <a:lnTo>
                  <a:pt x="110" y="1011"/>
                </a:lnTo>
                <a:lnTo>
                  <a:pt x="109" y="1010"/>
                </a:lnTo>
                <a:lnTo>
                  <a:pt x="108" y="1007"/>
                </a:lnTo>
                <a:lnTo>
                  <a:pt x="108" y="867"/>
                </a:lnTo>
                <a:close/>
                <a:moveTo>
                  <a:pt x="108" y="1081"/>
                </a:moveTo>
                <a:lnTo>
                  <a:pt x="108" y="1081"/>
                </a:lnTo>
                <a:lnTo>
                  <a:pt x="109" y="1078"/>
                </a:lnTo>
                <a:lnTo>
                  <a:pt x="110" y="1077"/>
                </a:lnTo>
                <a:lnTo>
                  <a:pt x="114" y="1073"/>
                </a:lnTo>
                <a:lnTo>
                  <a:pt x="121" y="1072"/>
                </a:lnTo>
                <a:lnTo>
                  <a:pt x="129" y="1070"/>
                </a:lnTo>
                <a:lnTo>
                  <a:pt x="362" y="1070"/>
                </a:lnTo>
                <a:lnTo>
                  <a:pt x="362" y="1070"/>
                </a:lnTo>
                <a:lnTo>
                  <a:pt x="369" y="1072"/>
                </a:lnTo>
                <a:lnTo>
                  <a:pt x="374" y="1073"/>
                </a:lnTo>
                <a:lnTo>
                  <a:pt x="377" y="1077"/>
                </a:lnTo>
                <a:lnTo>
                  <a:pt x="377" y="1081"/>
                </a:lnTo>
                <a:lnTo>
                  <a:pt x="377" y="1221"/>
                </a:lnTo>
                <a:lnTo>
                  <a:pt x="377" y="1221"/>
                </a:lnTo>
                <a:lnTo>
                  <a:pt x="377" y="1225"/>
                </a:lnTo>
                <a:lnTo>
                  <a:pt x="374" y="1229"/>
                </a:lnTo>
                <a:lnTo>
                  <a:pt x="369" y="1230"/>
                </a:lnTo>
                <a:lnTo>
                  <a:pt x="362" y="1232"/>
                </a:lnTo>
                <a:lnTo>
                  <a:pt x="129" y="1232"/>
                </a:lnTo>
                <a:lnTo>
                  <a:pt x="129" y="1232"/>
                </a:lnTo>
                <a:lnTo>
                  <a:pt x="121" y="1230"/>
                </a:lnTo>
                <a:lnTo>
                  <a:pt x="114" y="1229"/>
                </a:lnTo>
                <a:lnTo>
                  <a:pt x="110" y="1225"/>
                </a:lnTo>
                <a:lnTo>
                  <a:pt x="109" y="1224"/>
                </a:lnTo>
                <a:lnTo>
                  <a:pt x="108" y="1221"/>
                </a:lnTo>
                <a:lnTo>
                  <a:pt x="108" y="1081"/>
                </a:lnTo>
                <a:close/>
                <a:moveTo>
                  <a:pt x="269" y="1447"/>
                </a:moveTo>
                <a:lnTo>
                  <a:pt x="269" y="1447"/>
                </a:lnTo>
                <a:lnTo>
                  <a:pt x="269" y="1451"/>
                </a:lnTo>
                <a:lnTo>
                  <a:pt x="266" y="1455"/>
                </a:lnTo>
                <a:lnTo>
                  <a:pt x="264" y="1456"/>
                </a:lnTo>
                <a:lnTo>
                  <a:pt x="258" y="1458"/>
                </a:lnTo>
                <a:lnTo>
                  <a:pt x="118" y="1458"/>
                </a:lnTo>
                <a:lnTo>
                  <a:pt x="118" y="1458"/>
                </a:lnTo>
                <a:lnTo>
                  <a:pt x="114" y="1456"/>
                </a:lnTo>
                <a:lnTo>
                  <a:pt x="112" y="1455"/>
                </a:lnTo>
                <a:lnTo>
                  <a:pt x="109" y="1451"/>
                </a:lnTo>
                <a:lnTo>
                  <a:pt x="108" y="1447"/>
                </a:lnTo>
                <a:lnTo>
                  <a:pt x="108" y="1307"/>
                </a:lnTo>
                <a:lnTo>
                  <a:pt x="108" y="1307"/>
                </a:lnTo>
                <a:lnTo>
                  <a:pt x="109" y="1303"/>
                </a:lnTo>
                <a:lnTo>
                  <a:pt x="112" y="1299"/>
                </a:lnTo>
                <a:lnTo>
                  <a:pt x="114" y="1297"/>
                </a:lnTo>
                <a:lnTo>
                  <a:pt x="118" y="1296"/>
                </a:lnTo>
                <a:lnTo>
                  <a:pt x="258" y="1296"/>
                </a:lnTo>
                <a:lnTo>
                  <a:pt x="258" y="1296"/>
                </a:lnTo>
                <a:lnTo>
                  <a:pt x="264" y="1297"/>
                </a:lnTo>
                <a:lnTo>
                  <a:pt x="266" y="1299"/>
                </a:lnTo>
                <a:lnTo>
                  <a:pt x="269" y="1303"/>
                </a:lnTo>
                <a:lnTo>
                  <a:pt x="269" y="1307"/>
                </a:lnTo>
                <a:lnTo>
                  <a:pt x="269" y="1447"/>
                </a:lnTo>
                <a:close/>
                <a:moveTo>
                  <a:pt x="484" y="1447"/>
                </a:moveTo>
                <a:lnTo>
                  <a:pt x="484" y="1447"/>
                </a:lnTo>
                <a:lnTo>
                  <a:pt x="484" y="1451"/>
                </a:lnTo>
                <a:lnTo>
                  <a:pt x="482" y="1455"/>
                </a:lnTo>
                <a:lnTo>
                  <a:pt x="479" y="1456"/>
                </a:lnTo>
                <a:lnTo>
                  <a:pt x="473" y="1458"/>
                </a:lnTo>
                <a:lnTo>
                  <a:pt x="334" y="1458"/>
                </a:lnTo>
                <a:lnTo>
                  <a:pt x="334" y="1458"/>
                </a:lnTo>
                <a:lnTo>
                  <a:pt x="330" y="1456"/>
                </a:lnTo>
                <a:lnTo>
                  <a:pt x="327" y="1455"/>
                </a:lnTo>
                <a:lnTo>
                  <a:pt x="324" y="1451"/>
                </a:lnTo>
                <a:lnTo>
                  <a:pt x="323" y="1447"/>
                </a:lnTo>
                <a:lnTo>
                  <a:pt x="323" y="1307"/>
                </a:lnTo>
                <a:lnTo>
                  <a:pt x="323" y="1307"/>
                </a:lnTo>
                <a:lnTo>
                  <a:pt x="324" y="1303"/>
                </a:lnTo>
                <a:lnTo>
                  <a:pt x="327" y="1299"/>
                </a:lnTo>
                <a:lnTo>
                  <a:pt x="330" y="1297"/>
                </a:lnTo>
                <a:lnTo>
                  <a:pt x="334" y="1296"/>
                </a:lnTo>
                <a:lnTo>
                  <a:pt x="473" y="1296"/>
                </a:lnTo>
                <a:lnTo>
                  <a:pt x="473" y="1296"/>
                </a:lnTo>
                <a:lnTo>
                  <a:pt x="479" y="1297"/>
                </a:lnTo>
                <a:lnTo>
                  <a:pt x="482" y="1299"/>
                </a:lnTo>
                <a:lnTo>
                  <a:pt x="484" y="1303"/>
                </a:lnTo>
                <a:lnTo>
                  <a:pt x="484" y="1307"/>
                </a:lnTo>
                <a:lnTo>
                  <a:pt x="484" y="1447"/>
                </a:lnTo>
                <a:close/>
                <a:moveTo>
                  <a:pt x="705" y="1447"/>
                </a:moveTo>
                <a:lnTo>
                  <a:pt x="705" y="1447"/>
                </a:lnTo>
                <a:lnTo>
                  <a:pt x="705" y="1451"/>
                </a:lnTo>
                <a:lnTo>
                  <a:pt x="702" y="1455"/>
                </a:lnTo>
                <a:lnTo>
                  <a:pt x="699" y="1456"/>
                </a:lnTo>
                <a:lnTo>
                  <a:pt x="694" y="1458"/>
                </a:lnTo>
                <a:lnTo>
                  <a:pt x="554" y="1458"/>
                </a:lnTo>
                <a:lnTo>
                  <a:pt x="554" y="1458"/>
                </a:lnTo>
                <a:lnTo>
                  <a:pt x="550" y="1456"/>
                </a:lnTo>
                <a:lnTo>
                  <a:pt x="547" y="1455"/>
                </a:lnTo>
                <a:lnTo>
                  <a:pt x="545" y="1451"/>
                </a:lnTo>
                <a:lnTo>
                  <a:pt x="543" y="1447"/>
                </a:lnTo>
                <a:lnTo>
                  <a:pt x="543" y="1307"/>
                </a:lnTo>
                <a:lnTo>
                  <a:pt x="543" y="1307"/>
                </a:lnTo>
                <a:lnTo>
                  <a:pt x="545" y="1303"/>
                </a:lnTo>
                <a:lnTo>
                  <a:pt x="547" y="1299"/>
                </a:lnTo>
                <a:lnTo>
                  <a:pt x="550" y="1297"/>
                </a:lnTo>
                <a:lnTo>
                  <a:pt x="554" y="1296"/>
                </a:lnTo>
                <a:lnTo>
                  <a:pt x="694" y="1296"/>
                </a:lnTo>
                <a:lnTo>
                  <a:pt x="694" y="1296"/>
                </a:lnTo>
                <a:lnTo>
                  <a:pt x="699" y="1297"/>
                </a:lnTo>
                <a:lnTo>
                  <a:pt x="702" y="1299"/>
                </a:lnTo>
                <a:lnTo>
                  <a:pt x="705" y="1303"/>
                </a:lnTo>
                <a:lnTo>
                  <a:pt x="705" y="1307"/>
                </a:lnTo>
                <a:lnTo>
                  <a:pt x="705" y="1447"/>
                </a:lnTo>
                <a:close/>
                <a:moveTo>
                  <a:pt x="2227" y="1447"/>
                </a:moveTo>
                <a:lnTo>
                  <a:pt x="2227" y="1447"/>
                </a:lnTo>
                <a:lnTo>
                  <a:pt x="2226" y="1449"/>
                </a:lnTo>
                <a:lnTo>
                  <a:pt x="2220" y="1451"/>
                </a:lnTo>
                <a:lnTo>
                  <a:pt x="2200" y="1455"/>
                </a:lnTo>
                <a:lnTo>
                  <a:pt x="2170" y="1456"/>
                </a:lnTo>
                <a:lnTo>
                  <a:pt x="2133" y="1458"/>
                </a:lnTo>
                <a:lnTo>
                  <a:pt x="859" y="1458"/>
                </a:lnTo>
                <a:lnTo>
                  <a:pt x="859" y="1458"/>
                </a:lnTo>
                <a:lnTo>
                  <a:pt x="822" y="1456"/>
                </a:lnTo>
                <a:lnTo>
                  <a:pt x="789" y="1455"/>
                </a:lnTo>
                <a:lnTo>
                  <a:pt x="767" y="1451"/>
                </a:lnTo>
                <a:lnTo>
                  <a:pt x="761" y="1449"/>
                </a:lnTo>
                <a:lnTo>
                  <a:pt x="759" y="1447"/>
                </a:lnTo>
                <a:lnTo>
                  <a:pt x="759" y="1307"/>
                </a:lnTo>
                <a:lnTo>
                  <a:pt x="759" y="1307"/>
                </a:lnTo>
                <a:lnTo>
                  <a:pt x="761" y="1304"/>
                </a:lnTo>
                <a:lnTo>
                  <a:pt x="767" y="1303"/>
                </a:lnTo>
                <a:lnTo>
                  <a:pt x="789" y="1299"/>
                </a:lnTo>
                <a:lnTo>
                  <a:pt x="822" y="1297"/>
                </a:lnTo>
                <a:lnTo>
                  <a:pt x="859" y="1296"/>
                </a:lnTo>
                <a:lnTo>
                  <a:pt x="2133" y="1296"/>
                </a:lnTo>
                <a:lnTo>
                  <a:pt x="2133" y="1296"/>
                </a:lnTo>
                <a:lnTo>
                  <a:pt x="2170" y="1297"/>
                </a:lnTo>
                <a:lnTo>
                  <a:pt x="2200" y="1299"/>
                </a:lnTo>
                <a:lnTo>
                  <a:pt x="2220" y="1303"/>
                </a:lnTo>
                <a:lnTo>
                  <a:pt x="2226" y="1304"/>
                </a:lnTo>
                <a:lnTo>
                  <a:pt x="2227" y="1307"/>
                </a:lnTo>
                <a:lnTo>
                  <a:pt x="2227" y="1447"/>
                </a:lnTo>
                <a:close/>
                <a:moveTo>
                  <a:pt x="2447" y="1447"/>
                </a:moveTo>
                <a:lnTo>
                  <a:pt x="2447" y="1447"/>
                </a:lnTo>
                <a:lnTo>
                  <a:pt x="2447" y="1451"/>
                </a:lnTo>
                <a:lnTo>
                  <a:pt x="2445" y="1455"/>
                </a:lnTo>
                <a:lnTo>
                  <a:pt x="2442" y="1456"/>
                </a:lnTo>
                <a:lnTo>
                  <a:pt x="2437" y="1458"/>
                </a:lnTo>
                <a:lnTo>
                  <a:pt x="2297" y="1458"/>
                </a:lnTo>
                <a:lnTo>
                  <a:pt x="2297" y="1458"/>
                </a:lnTo>
                <a:lnTo>
                  <a:pt x="2293" y="1456"/>
                </a:lnTo>
                <a:lnTo>
                  <a:pt x="2290" y="1455"/>
                </a:lnTo>
                <a:lnTo>
                  <a:pt x="2287" y="1451"/>
                </a:lnTo>
                <a:lnTo>
                  <a:pt x="2286" y="1447"/>
                </a:lnTo>
                <a:lnTo>
                  <a:pt x="2286" y="1307"/>
                </a:lnTo>
                <a:lnTo>
                  <a:pt x="2286" y="1307"/>
                </a:lnTo>
                <a:lnTo>
                  <a:pt x="2287" y="1303"/>
                </a:lnTo>
                <a:lnTo>
                  <a:pt x="2290" y="1299"/>
                </a:lnTo>
                <a:lnTo>
                  <a:pt x="2293" y="1297"/>
                </a:lnTo>
                <a:lnTo>
                  <a:pt x="2297" y="1296"/>
                </a:lnTo>
                <a:lnTo>
                  <a:pt x="2437" y="1296"/>
                </a:lnTo>
                <a:lnTo>
                  <a:pt x="2437" y="1296"/>
                </a:lnTo>
                <a:lnTo>
                  <a:pt x="2442" y="1297"/>
                </a:lnTo>
                <a:lnTo>
                  <a:pt x="2445" y="1299"/>
                </a:lnTo>
                <a:lnTo>
                  <a:pt x="2447" y="1303"/>
                </a:lnTo>
                <a:lnTo>
                  <a:pt x="2447" y="1307"/>
                </a:lnTo>
                <a:lnTo>
                  <a:pt x="2447" y="1447"/>
                </a:lnTo>
                <a:close/>
                <a:moveTo>
                  <a:pt x="2663" y="1447"/>
                </a:moveTo>
                <a:lnTo>
                  <a:pt x="2663" y="1447"/>
                </a:lnTo>
                <a:lnTo>
                  <a:pt x="2663" y="1451"/>
                </a:lnTo>
                <a:lnTo>
                  <a:pt x="2660" y="1455"/>
                </a:lnTo>
                <a:lnTo>
                  <a:pt x="2657" y="1456"/>
                </a:lnTo>
                <a:lnTo>
                  <a:pt x="2652" y="1458"/>
                </a:lnTo>
                <a:lnTo>
                  <a:pt x="2512" y="1458"/>
                </a:lnTo>
                <a:lnTo>
                  <a:pt x="2512" y="1458"/>
                </a:lnTo>
                <a:lnTo>
                  <a:pt x="2508" y="1456"/>
                </a:lnTo>
                <a:lnTo>
                  <a:pt x="2505" y="1455"/>
                </a:lnTo>
                <a:lnTo>
                  <a:pt x="2503" y="1451"/>
                </a:lnTo>
                <a:lnTo>
                  <a:pt x="2501" y="1447"/>
                </a:lnTo>
                <a:lnTo>
                  <a:pt x="2501" y="1307"/>
                </a:lnTo>
                <a:lnTo>
                  <a:pt x="2501" y="1307"/>
                </a:lnTo>
                <a:lnTo>
                  <a:pt x="2503" y="1303"/>
                </a:lnTo>
                <a:lnTo>
                  <a:pt x="2505" y="1299"/>
                </a:lnTo>
                <a:lnTo>
                  <a:pt x="2508" y="1297"/>
                </a:lnTo>
                <a:lnTo>
                  <a:pt x="2512" y="1296"/>
                </a:lnTo>
                <a:lnTo>
                  <a:pt x="2652" y="1296"/>
                </a:lnTo>
                <a:lnTo>
                  <a:pt x="2652" y="1296"/>
                </a:lnTo>
                <a:lnTo>
                  <a:pt x="2657" y="1297"/>
                </a:lnTo>
                <a:lnTo>
                  <a:pt x="2660" y="1299"/>
                </a:lnTo>
                <a:lnTo>
                  <a:pt x="2663" y="1303"/>
                </a:lnTo>
                <a:lnTo>
                  <a:pt x="2663" y="1307"/>
                </a:lnTo>
                <a:lnTo>
                  <a:pt x="2663" y="1447"/>
                </a:lnTo>
                <a:close/>
                <a:moveTo>
                  <a:pt x="2883" y="1452"/>
                </a:moveTo>
                <a:lnTo>
                  <a:pt x="2883" y="1452"/>
                </a:lnTo>
                <a:lnTo>
                  <a:pt x="2883" y="1453"/>
                </a:lnTo>
                <a:lnTo>
                  <a:pt x="2882" y="1456"/>
                </a:lnTo>
                <a:lnTo>
                  <a:pt x="2879" y="1458"/>
                </a:lnTo>
                <a:lnTo>
                  <a:pt x="2875" y="1458"/>
                </a:lnTo>
                <a:lnTo>
                  <a:pt x="2735" y="1458"/>
                </a:lnTo>
                <a:lnTo>
                  <a:pt x="2735" y="1458"/>
                </a:lnTo>
                <a:lnTo>
                  <a:pt x="2731" y="1458"/>
                </a:lnTo>
                <a:lnTo>
                  <a:pt x="2727" y="1456"/>
                </a:lnTo>
                <a:lnTo>
                  <a:pt x="2723" y="1453"/>
                </a:lnTo>
                <a:lnTo>
                  <a:pt x="2722" y="1452"/>
                </a:lnTo>
                <a:lnTo>
                  <a:pt x="2722" y="1371"/>
                </a:lnTo>
                <a:lnTo>
                  <a:pt x="2722" y="1371"/>
                </a:lnTo>
                <a:lnTo>
                  <a:pt x="2723" y="1370"/>
                </a:lnTo>
                <a:lnTo>
                  <a:pt x="2727" y="1367"/>
                </a:lnTo>
                <a:lnTo>
                  <a:pt x="2731" y="1366"/>
                </a:lnTo>
                <a:lnTo>
                  <a:pt x="2735" y="1366"/>
                </a:lnTo>
                <a:lnTo>
                  <a:pt x="2875" y="1366"/>
                </a:lnTo>
                <a:lnTo>
                  <a:pt x="2875" y="1366"/>
                </a:lnTo>
                <a:lnTo>
                  <a:pt x="2879" y="1366"/>
                </a:lnTo>
                <a:lnTo>
                  <a:pt x="2882" y="1367"/>
                </a:lnTo>
                <a:lnTo>
                  <a:pt x="2883" y="1370"/>
                </a:lnTo>
                <a:lnTo>
                  <a:pt x="2883" y="1371"/>
                </a:lnTo>
                <a:lnTo>
                  <a:pt x="2883" y="1452"/>
                </a:lnTo>
                <a:close/>
                <a:moveTo>
                  <a:pt x="3104" y="1452"/>
                </a:moveTo>
                <a:lnTo>
                  <a:pt x="3104" y="1452"/>
                </a:lnTo>
                <a:lnTo>
                  <a:pt x="3104" y="1453"/>
                </a:lnTo>
                <a:lnTo>
                  <a:pt x="3102" y="1456"/>
                </a:lnTo>
                <a:lnTo>
                  <a:pt x="3100" y="1458"/>
                </a:lnTo>
                <a:lnTo>
                  <a:pt x="3096" y="1458"/>
                </a:lnTo>
                <a:lnTo>
                  <a:pt x="2956" y="1458"/>
                </a:lnTo>
                <a:lnTo>
                  <a:pt x="2956" y="1458"/>
                </a:lnTo>
                <a:lnTo>
                  <a:pt x="2952" y="1458"/>
                </a:lnTo>
                <a:lnTo>
                  <a:pt x="2948" y="1456"/>
                </a:lnTo>
                <a:lnTo>
                  <a:pt x="2944" y="1453"/>
                </a:lnTo>
                <a:lnTo>
                  <a:pt x="2942" y="1452"/>
                </a:lnTo>
                <a:lnTo>
                  <a:pt x="2942" y="1371"/>
                </a:lnTo>
                <a:lnTo>
                  <a:pt x="2942" y="1371"/>
                </a:lnTo>
                <a:lnTo>
                  <a:pt x="2944" y="1370"/>
                </a:lnTo>
                <a:lnTo>
                  <a:pt x="2948" y="1367"/>
                </a:lnTo>
                <a:lnTo>
                  <a:pt x="2952" y="1366"/>
                </a:lnTo>
                <a:lnTo>
                  <a:pt x="2956" y="1366"/>
                </a:lnTo>
                <a:lnTo>
                  <a:pt x="3096" y="1366"/>
                </a:lnTo>
                <a:lnTo>
                  <a:pt x="3096" y="1366"/>
                </a:lnTo>
                <a:lnTo>
                  <a:pt x="3100" y="1366"/>
                </a:lnTo>
                <a:lnTo>
                  <a:pt x="3102" y="1367"/>
                </a:lnTo>
                <a:lnTo>
                  <a:pt x="3104" y="1370"/>
                </a:lnTo>
                <a:lnTo>
                  <a:pt x="3104" y="1371"/>
                </a:lnTo>
                <a:lnTo>
                  <a:pt x="3104" y="1452"/>
                </a:lnTo>
                <a:close/>
                <a:moveTo>
                  <a:pt x="3104" y="1355"/>
                </a:moveTo>
                <a:lnTo>
                  <a:pt x="3104" y="1355"/>
                </a:lnTo>
                <a:lnTo>
                  <a:pt x="3104" y="1358"/>
                </a:lnTo>
                <a:lnTo>
                  <a:pt x="3102" y="1359"/>
                </a:lnTo>
                <a:lnTo>
                  <a:pt x="3100" y="1361"/>
                </a:lnTo>
                <a:lnTo>
                  <a:pt x="3096" y="1361"/>
                </a:lnTo>
                <a:lnTo>
                  <a:pt x="2956" y="1361"/>
                </a:lnTo>
                <a:lnTo>
                  <a:pt x="2956" y="1361"/>
                </a:lnTo>
                <a:lnTo>
                  <a:pt x="2948" y="1359"/>
                </a:lnTo>
                <a:lnTo>
                  <a:pt x="2944" y="1358"/>
                </a:lnTo>
                <a:lnTo>
                  <a:pt x="2942" y="1355"/>
                </a:lnTo>
                <a:lnTo>
                  <a:pt x="2942" y="1276"/>
                </a:lnTo>
                <a:lnTo>
                  <a:pt x="2942" y="1276"/>
                </a:lnTo>
                <a:lnTo>
                  <a:pt x="2944" y="1273"/>
                </a:lnTo>
                <a:lnTo>
                  <a:pt x="2948" y="1271"/>
                </a:lnTo>
                <a:lnTo>
                  <a:pt x="2952" y="1269"/>
                </a:lnTo>
                <a:lnTo>
                  <a:pt x="2956" y="1269"/>
                </a:lnTo>
                <a:lnTo>
                  <a:pt x="3096" y="1269"/>
                </a:lnTo>
                <a:lnTo>
                  <a:pt x="3096" y="1269"/>
                </a:lnTo>
                <a:lnTo>
                  <a:pt x="3100" y="1269"/>
                </a:lnTo>
                <a:lnTo>
                  <a:pt x="3102" y="1271"/>
                </a:lnTo>
                <a:lnTo>
                  <a:pt x="3104" y="1273"/>
                </a:lnTo>
                <a:lnTo>
                  <a:pt x="3104" y="1276"/>
                </a:lnTo>
                <a:lnTo>
                  <a:pt x="3104" y="1355"/>
                </a:lnTo>
                <a:close/>
                <a:moveTo>
                  <a:pt x="3319" y="1452"/>
                </a:moveTo>
                <a:lnTo>
                  <a:pt x="3319" y="1452"/>
                </a:lnTo>
                <a:lnTo>
                  <a:pt x="3319" y="1453"/>
                </a:lnTo>
                <a:lnTo>
                  <a:pt x="3317" y="1456"/>
                </a:lnTo>
                <a:lnTo>
                  <a:pt x="3315" y="1458"/>
                </a:lnTo>
                <a:lnTo>
                  <a:pt x="3311" y="1458"/>
                </a:lnTo>
                <a:lnTo>
                  <a:pt x="3171" y="1458"/>
                </a:lnTo>
                <a:lnTo>
                  <a:pt x="3171" y="1458"/>
                </a:lnTo>
                <a:lnTo>
                  <a:pt x="3167" y="1458"/>
                </a:lnTo>
                <a:lnTo>
                  <a:pt x="3163" y="1456"/>
                </a:lnTo>
                <a:lnTo>
                  <a:pt x="3159" y="1453"/>
                </a:lnTo>
                <a:lnTo>
                  <a:pt x="3157" y="1452"/>
                </a:lnTo>
                <a:lnTo>
                  <a:pt x="3157" y="1371"/>
                </a:lnTo>
                <a:lnTo>
                  <a:pt x="3157" y="1371"/>
                </a:lnTo>
                <a:lnTo>
                  <a:pt x="3159" y="1370"/>
                </a:lnTo>
                <a:lnTo>
                  <a:pt x="3163" y="1367"/>
                </a:lnTo>
                <a:lnTo>
                  <a:pt x="3167" y="1366"/>
                </a:lnTo>
                <a:lnTo>
                  <a:pt x="3171" y="1366"/>
                </a:lnTo>
                <a:lnTo>
                  <a:pt x="3311" y="1366"/>
                </a:lnTo>
                <a:lnTo>
                  <a:pt x="3311" y="1366"/>
                </a:lnTo>
                <a:lnTo>
                  <a:pt x="3315" y="1366"/>
                </a:lnTo>
                <a:lnTo>
                  <a:pt x="3317" y="1367"/>
                </a:lnTo>
                <a:lnTo>
                  <a:pt x="3319" y="1370"/>
                </a:lnTo>
                <a:lnTo>
                  <a:pt x="3319" y="1371"/>
                </a:lnTo>
                <a:lnTo>
                  <a:pt x="3319" y="1452"/>
                </a:lnTo>
                <a:close/>
                <a:moveTo>
                  <a:pt x="3319" y="1224"/>
                </a:moveTo>
                <a:lnTo>
                  <a:pt x="3319" y="1224"/>
                </a:lnTo>
                <a:lnTo>
                  <a:pt x="3319" y="1225"/>
                </a:lnTo>
                <a:lnTo>
                  <a:pt x="3317" y="1228"/>
                </a:lnTo>
                <a:lnTo>
                  <a:pt x="3311" y="1230"/>
                </a:lnTo>
                <a:lnTo>
                  <a:pt x="3301" y="1232"/>
                </a:lnTo>
                <a:lnTo>
                  <a:pt x="3289" y="1232"/>
                </a:lnTo>
                <a:lnTo>
                  <a:pt x="2855" y="1232"/>
                </a:lnTo>
                <a:lnTo>
                  <a:pt x="2855" y="1232"/>
                </a:lnTo>
                <a:lnTo>
                  <a:pt x="2841" y="1232"/>
                </a:lnTo>
                <a:lnTo>
                  <a:pt x="2831" y="1230"/>
                </a:lnTo>
                <a:lnTo>
                  <a:pt x="2823" y="1228"/>
                </a:lnTo>
                <a:lnTo>
                  <a:pt x="2820" y="1225"/>
                </a:lnTo>
                <a:lnTo>
                  <a:pt x="2819" y="1224"/>
                </a:lnTo>
                <a:lnTo>
                  <a:pt x="2819" y="1084"/>
                </a:lnTo>
                <a:lnTo>
                  <a:pt x="2819" y="1084"/>
                </a:lnTo>
                <a:lnTo>
                  <a:pt x="2820" y="1081"/>
                </a:lnTo>
                <a:lnTo>
                  <a:pt x="2823" y="1078"/>
                </a:lnTo>
                <a:lnTo>
                  <a:pt x="2831" y="1074"/>
                </a:lnTo>
                <a:lnTo>
                  <a:pt x="2841" y="1072"/>
                </a:lnTo>
                <a:lnTo>
                  <a:pt x="2855" y="1070"/>
                </a:lnTo>
                <a:lnTo>
                  <a:pt x="3289" y="1070"/>
                </a:lnTo>
                <a:lnTo>
                  <a:pt x="3289" y="1070"/>
                </a:lnTo>
                <a:lnTo>
                  <a:pt x="3301" y="1072"/>
                </a:lnTo>
                <a:lnTo>
                  <a:pt x="3311" y="1074"/>
                </a:lnTo>
                <a:lnTo>
                  <a:pt x="3317" y="1078"/>
                </a:lnTo>
                <a:lnTo>
                  <a:pt x="3319" y="1081"/>
                </a:lnTo>
                <a:lnTo>
                  <a:pt x="3319" y="1084"/>
                </a:lnTo>
                <a:lnTo>
                  <a:pt x="3319" y="1224"/>
                </a:lnTo>
                <a:close/>
                <a:moveTo>
                  <a:pt x="3319" y="780"/>
                </a:moveTo>
                <a:lnTo>
                  <a:pt x="3319" y="780"/>
                </a:lnTo>
                <a:lnTo>
                  <a:pt x="3319" y="781"/>
                </a:lnTo>
                <a:lnTo>
                  <a:pt x="3319" y="1000"/>
                </a:lnTo>
                <a:lnTo>
                  <a:pt x="3319" y="1000"/>
                </a:lnTo>
                <a:lnTo>
                  <a:pt x="3319" y="1006"/>
                </a:lnTo>
                <a:lnTo>
                  <a:pt x="3317" y="1011"/>
                </a:lnTo>
                <a:lnTo>
                  <a:pt x="3315" y="1015"/>
                </a:lnTo>
                <a:lnTo>
                  <a:pt x="3311" y="1016"/>
                </a:lnTo>
                <a:lnTo>
                  <a:pt x="3171" y="1016"/>
                </a:lnTo>
                <a:lnTo>
                  <a:pt x="3171" y="1016"/>
                </a:lnTo>
                <a:lnTo>
                  <a:pt x="3167" y="1015"/>
                </a:lnTo>
                <a:lnTo>
                  <a:pt x="3163" y="1011"/>
                </a:lnTo>
                <a:lnTo>
                  <a:pt x="3159" y="1006"/>
                </a:lnTo>
                <a:lnTo>
                  <a:pt x="3157" y="1000"/>
                </a:lnTo>
                <a:lnTo>
                  <a:pt x="3157" y="790"/>
                </a:lnTo>
                <a:lnTo>
                  <a:pt x="3058" y="790"/>
                </a:lnTo>
                <a:lnTo>
                  <a:pt x="3058" y="790"/>
                </a:lnTo>
                <a:lnTo>
                  <a:pt x="3054" y="789"/>
                </a:lnTo>
                <a:lnTo>
                  <a:pt x="3050" y="786"/>
                </a:lnTo>
                <a:lnTo>
                  <a:pt x="3046" y="784"/>
                </a:lnTo>
                <a:lnTo>
                  <a:pt x="3045" y="780"/>
                </a:lnTo>
                <a:lnTo>
                  <a:pt x="3045" y="645"/>
                </a:lnTo>
                <a:lnTo>
                  <a:pt x="3045" y="645"/>
                </a:lnTo>
                <a:lnTo>
                  <a:pt x="3046" y="641"/>
                </a:lnTo>
                <a:lnTo>
                  <a:pt x="3050" y="637"/>
                </a:lnTo>
                <a:lnTo>
                  <a:pt x="3054" y="636"/>
                </a:lnTo>
                <a:lnTo>
                  <a:pt x="3058" y="634"/>
                </a:lnTo>
                <a:lnTo>
                  <a:pt x="3171" y="634"/>
                </a:lnTo>
                <a:lnTo>
                  <a:pt x="3198" y="634"/>
                </a:lnTo>
                <a:lnTo>
                  <a:pt x="3311" y="634"/>
                </a:lnTo>
                <a:lnTo>
                  <a:pt x="3311" y="634"/>
                </a:lnTo>
                <a:lnTo>
                  <a:pt x="3315" y="636"/>
                </a:lnTo>
                <a:lnTo>
                  <a:pt x="3317" y="637"/>
                </a:lnTo>
                <a:lnTo>
                  <a:pt x="3319" y="641"/>
                </a:lnTo>
                <a:lnTo>
                  <a:pt x="3319" y="645"/>
                </a:lnTo>
                <a:lnTo>
                  <a:pt x="3319" y="780"/>
                </a:lnTo>
                <a:close/>
                <a:moveTo>
                  <a:pt x="3319" y="575"/>
                </a:moveTo>
                <a:lnTo>
                  <a:pt x="3319" y="575"/>
                </a:lnTo>
                <a:lnTo>
                  <a:pt x="3317" y="581"/>
                </a:lnTo>
                <a:lnTo>
                  <a:pt x="3313" y="583"/>
                </a:lnTo>
                <a:lnTo>
                  <a:pt x="3307" y="585"/>
                </a:lnTo>
                <a:lnTo>
                  <a:pt x="3297" y="586"/>
                </a:lnTo>
                <a:lnTo>
                  <a:pt x="2971" y="586"/>
                </a:lnTo>
                <a:lnTo>
                  <a:pt x="2971" y="586"/>
                </a:lnTo>
                <a:lnTo>
                  <a:pt x="2961" y="585"/>
                </a:lnTo>
                <a:lnTo>
                  <a:pt x="2952" y="583"/>
                </a:lnTo>
                <a:lnTo>
                  <a:pt x="2945" y="581"/>
                </a:lnTo>
                <a:lnTo>
                  <a:pt x="2944" y="578"/>
                </a:lnTo>
                <a:lnTo>
                  <a:pt x="2942" y="575"/>
                </a:lnTo>
                <a:lnTo>
                  <a:pt x="2942" y="435"/>
                </a:lnTo>
                <a:lnTo>
                  <a:pt x="2942" y="435"/>
                </a:lnTo>
                <a:lnTo>
                  <a:pt x="2944" y="434"/>
                </a:lnTo>
                <a:lnTo>
                  <a:pt x="2945" y="431"/>
                </a:lnTo>
                <a:lnTo>
                  <a:pt x="2952" y="429"/>
                </a:lnTo>
                <a:lnTo>
                  <a:pt x="2961" y="426"/>
                </a:lnTo>
                <a:lnTo>
                  <a:pt x="2971" y="425"/>
                </a:lnTo>
                <a:lnTo>
                  <a:pt x="3297" y="425"/>
                </a:lnTo>
                <a:lnTo>
                  <a:pt x="3297" y="425"/>
                </a:lnTo>
                <a:lnTo>
                  <a:pt x="3307" y="426"/>
                </a:lnTo>
                <a:lnTo>
                  <a:pt x="3313" y="429"/>
                </a:lnTo>
                <a:lnTo>
                  <a:pt x="3317" y="431"/>
                </a:lnTo>
                <a:lnTo>
                  <a:pt x="3319" y="435"/>
                </a:lnTo>
                <a:lnTo>
                  <a:pt x="3319" y="575"/>
                </a:lnTo>
                <a:close/>
                <a:moveTo>
                  <a:pt x="3319" y="364"/>
                </a:moveTo>
                <a:lnTo>
                  <a:pt x="3319" y="364"/>
                </a:lnTo>
                <a:lnTo>
                  <a:pt x="3319" y="367"/>
                </a:lnTo>
                <a:lnTo>
                  <a:pt x="3317" y="368"/>
                </a:lnTo>
                <a:lnTo>
                  <a:pt x="3315" y="371"/>
                </a:lnTo>
                <a:lnTo>
                  <a:pt x="3311" y="371"/>
                </a:lnTo>
                <a:lnTo>
                  <a:pt x="3171" y="371"/>
                </a:lnTo>
                <a:lnTo>
                  <a:pt x="3171" y="371"/>
                </a:lnTo>
                <a:lnTo>
                  <a:pt x="3167" y="371"/>
                </a:lnTo>
                <a:lnTo>
                  <a:pt x="3163" y="368"/>
                </a:lnTo>
                <a:lnTo>
                  <a:pt x="3159" y="367"/>
                </a:lnTo>
                <a:lnTo>
                  <a:pt x="3157" y="364"/>
                </a:lnTo>
                <a:lnTo>
                  <a:pt x="3157" y="270"/>
                </a:lnTo>
                <a:lnTo>
                  <a:pt x="3157" y="270"/>
                </a:lnTo>
                <a:lnTo>
                  <a:pt x="3159" y="267"/>
                </a:lnTo>
                <a:lnTo>
                  <a:pt x="3163" y="266"/>
                </a:lnTo>
                <a:lnTo>
                  <a:pt x="3167" y="263"/>
                </a:lnTo>
                <a:lnTo>
                  <a:pt x="3171" y="263"/>
                </a:lnTo>
                <a:lnTo>
                  <a:pt x="3311" y="263"/>
                </a:lnTo>
                <a:lnTo>
                  <a:pt x="3311" y="263"/>
                </a:lnTo>
                <a:lnTo>
                  <a:pt x="3315" y="263"/>
                </a:lnTo>
                <a:lnTo>
                  <a:pt x="3317" y="266"/>
                </a:lnTo>
                <a:lnTo>
                  <a:pt x="3319" y="267"/>
                </a:lnTo>
                <a:lnTo>
                  <a:pt x="3319" y="270"/>
                </a:lnTo>
                <a:lnTo>
                  <a:pt x="3319" y="36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79" name="任意多边形: 形状 178">
            <a:extLst>
              <a:ext uri="{FF2B5EF4-FFF2-40B4-BE49-F238E27FC236}">
                <a16:creationId xmlns:a16="http://schemas.microsoft.com/office/drawing/2014/main" id="{F07E2E96-800E-4501-8945-98788D2CCDCC}"/>
              </a:ext>
            </a:extLst>
          </p:cNvPr>
          <p:cNvSpPr/>
          <p:nvPr/>
        </p:nvSpPr>
        <p:spPr bwMode="auto">
          <a:xfrm>
            <a:off x="4767945" y="2896172"/>
            <a:ext cx="2554673" cy="1732248"/>
          </a:xfrm>
          <a:custGeom>
            <a:avLst/>
            <a:gdLst>
              <a:gd name="T0" fmla="*/ 4900 w 4911"/>
              <a:gd name="T1" fmla="*/ 0 h 3330"/>
              <a:gd name="T2" fmla="*/ 19 w 4911"/>
              <a:gd name="T3" fmla="*/ 0 h 3330"/>
              <a:gd name="T4" fmla="*/ 19 w 4911"/>
              <a:gd name="T5" fmla="*/ 0 h 3330"/>
              <a:gd name="T6" fmla="*/ 12 w 4911"/>
              <a:gd name="T7" fmla="*/ 1 h 3330"/>
              <a:gd name="T8" fmla="*/ 7 w 4911"/>
              <a:gd name="T9" fmla="*/ 4 h 3330"/>
              <a:gd name="T10" fmla="*/ 3 w 4911"/>
              <a:gd name="T11" fmla="*/ 8 h 3330"/>
              <a:gd name="T12" fmla="*/ 1 w 4911"/>
              <a:gd name="T13" fmla="*/ 11 h 3330"/>
              <a:gd name="T14" fmla="*/ 0 w 4911"/>
              <a:gd name="T15" fmla="*/ 15 h 3330"/>
              <a:gd name="T16" fmla="*/ 0 w 4911"/>
              <a:gd name="T17" fmla="*/ 2826 h 3330"/>
              <a:gd name="T18" fmla="*/ 0 w 4911"/>
              <a:gd name="T19" fmla="*/ 2826 h 3330"/>
              <a:gd name="T20" fmla="*/ 1 w 4911"/>
              <a:gd name="T21" fmla="*/ 2828 h 3330"/>
              <a:gd name="T22" fmla="*/ 3 w 4911"/>
              <a:gd name="T23" fmla="*/ 2832 h 3330"/>
              <a:gd name="T24" fmla="*/ 7 w 4911"/>
              <a:gd name="T25" fmla="*/ 2836 h 3330"/>
              <a:gd name="T26" fmla="*/ 12 w 4911"/>
              <a:gd name="T27" fmla="*/ 2839 h 3330"/>
              <a:gd name="T28" fmla="*/ 19 w 4911"/>
              <a:gd name="T29" fmla="*/ 2840 h 3330"/>
              <a:gd name="T30" fmla="*/ 2033 w 4911"/>
              <a:gd name="T31" fmla="*/ 2840 h 3330"/>
              <a:gd name="T32" fmla="*/ 2033 w 4911"/>
              <a:gd name="T33" fmla="*/ 3115 h 3330"/>
              <a:gd name="T34" fmla="*/ 1404 w 4911"/>
              <a:gd name="T35" fmla="*/ 3115 h 3330"/>
              <a:gd name="T36" fmla="*/ 1404 w 4911"/>
              <a:gd name="T37" fmla="*/ 3330 h 3330"/>
              <a:gd name="T38" fmla="*/ 3507 w 4911"/>
              <a:gd name="T39" fmla="*/ 3330 h 3330"/>
              <a:gd name="T40" fmla="*/ 3507 w 4911"/>
              <a:gd name="T41" fmla="*/ 3115 h 3330"/>
              <a:gd name="T42" fmla="*/ 2883 w 4911"/>
              <a:gd name="T43" fmla="*/ 3115 h 3330"/>
              <a:gd name="T44" fmla="*/ 2883 w 4911"/>
              <a:gd name="T45" fmla="*/ 2840 h 3330"/>
              <a:gd name="T46" fmla="*/ 4900 w 4911"/>
              <a:gd name="T47" fmla="*/ 2840 h 3330"/>
              <a:gd name="T48" fmla="*/ 4900 w 4911"/>
              <a:gd name="T49" fmla="*/ 2840 h 3330"/>
              <a:gd name="T50" fmla="*/ 4905 w 4911"/>
              <a:gd name="T51" fmla="*/ 2839 h 3330"/>
              <a:gd name="T52" fmla="*/ 4908 w 4911"/>
              <a:gd name="T53" fmla="*/ 2836 h 3330"/>
              <a:gd name="T54" fmla="*/ 4911 w 4911"/>
              <a:gd name="T55" fmla="*/ 2832 h 3330"/>
              <a:gd name="T56" fmla="*/ 4911 w 4911"/>
              <a:gd name="T57" fmla="*/ 2826 h 3330"/>
              <a:gd name="T58" fmla="*/ 4911 w 4911"/>
              <a:gd name="T59" fmla="*/ 15 h 3330"/>
              <a:gd name="T60" fmla="*/ 4911 w 4911"/>
              <a:gd name="T61" fmla="*/ 15 h 3330"/>
              <a:gd name="T62" fmla="*/ 4911 w 4911"/>
              <a:gd name="T63" fmla="*/ 8 h 3330"/>
              <a:gd name="T64" fmla="*/ 4908 w 4911"/>
              <a:gd name="T65" fmla="*/ 4 h 3330"/>
              <a:gd name="T66" fmla="*/ 4905 w 4911"/>
              <a:gd name="T67" fmla="*/ 1 h 3330"/>
              <a:gd name="T68" fmla="*/ 4900 w 4911"/>
              <a:gd name="T69" fmla="*/ 0 h 3330"/>
              <a:gd name="T70" fmla="*/ 4776 w 4911"/>
              <a:gd name="T71" fmla="*/ 2658 h 3330"/>
              <a:gd name="T72" fmla="*/ 134 w 4911"/>
              <a:gd name="T73" fmla="*/ 2658 h 3330"/>
              <a:gd name="T74" fmla="*/ 134 w 4911"/>
              <a:gd name="T75" fmla="*/ 167 h 3330"/>
              <a:gd name="T76" fmla="*/ 4776 w 4911"/>
              <a:gd name="T77" fmla="*/ 167 h 3330"/>
              <a:gd name="T78" fmla="*/ 4776 w 4911"/>
              <a:gd name="T79" fmla="*/ 2658 h 33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4911" h="3330">
                <a:moveTo>
                  <a:pt x="4900" y="0"/>
                </a:moveTo>
                <a:lnTo>
                  <a:pt x="19" y="0"/>
                </a:lnTo>
                <a:lnTo>
                  <a:pt x="19" y="0"/>
                </a:lnTo>
                <a:lnTo>
                  <a:pt x="12" y="1"/>
                </a:lnTo>
                <a:lnTo>
                  <a:pt x="7" y="4"/>
                </a:lnTo>
                <a:lnTo>
                  <a:pt x="3" y="8"/>
                </a:lnTo>
                <a:lnTo>
                  <a:pt x="1" y="11"/>
                </a:lnTo>
                <a:lnTo>
                  <a:pt x="0" y="15"/>
                </a:lnTo>
                <a:lnTo>
                  <a:pt x="0" y="2826"/>
                </a:lnTo>
                <a:lnTo>
                  <a:pt x="0" y="2826"/>
                </a:lnTo>
                <a:lnTo>
                  <a:pt x="1" y="2828"/>
                </a:lnTo>
                <a:lnTo>
                  <a:pt x="3" y="2832"/>
                </a:lnTo>
                <a:lnTo>
                  <a:pt x="7" y="2836"/>
                </a:lnTo>
                <a:lnTo>
                  <a:pt x="12" y="2839"/>
                </a:lnTo>
                <a:lnTo>
                  <a:pt x="19" y="2840"/>
                </a:lnTo>
                <a:lnTo>
                  <a:pt x="2033" y="2840"/>
                </a:lnTo>
                <a:lnTo>
                  <a:pt x="2033" y="3115"/>
                </a:lnTo>
                <a:lnTo>
                  <a:pt x="1404" y="3115"/>
                </a:lnTo>
                <a:lnTo>
                  <a:pt x="1404" y="3330"/>
                </a:lnTo>
                <a:lnTo>
                  <a:pt x="3507" y="3330"/>
                </a:lnTo>
                <a:lnTo>
                  <a:pt x="3507" y="3115"/>
                </a:lnTo>
                <a:lnTo>
                  <a:pt x="2883" y="3115"/>
                </a:lnTo>
                <a:lnTo>
                  <a:pt x="2883" y="2840"/>
                </a:lnTo>
                <a:lnTo>
                  <a:pt x="4900" y="2840"/>
                </a:lnTo>
                <a:lnTo>
                  <a:pt x="4900" y="2840"/>
                </a:lnTo>
                <a:lnTo>
                  <a:pt x="4905" y="2839"/>
                </a:lnTo>
                <a:lnTo>
                  <a:pt x="4908" y="2836"/>
                </a:lnTo>
                <a:lnTo>
                  <a:pt x="4911" y="2832"/>
                </a:lnTo>
                <a:lnTo>
                  <a:pt x="4911" y="2826"/>
                </a:lnTo>
                <a:lnTo>
                  <a:pt x="4911" y="15"/>
                </a:lnTo>
                <a:lnTo>
                  <a:pt x="4911" y="15"/>
                </a:lnTo>
                <a:lnTo>
                  <a:pt x="4911" y="8"/>
                </a:lnTo>
                <a:lnTo>
                  <a:pt x="4908" y="4"/>
                </a:lnTo>
                <a:lnTo>
                  <a:pt x="4905" y="1"/>
                </a:lnTo>
                <a:lnTo>
                  <a:pt x="4900" y="0"/>
                </a:lnTo>
                <a:close/>
                <a:moveTo>
                  <a:pt x="4776" y="2658"/>
                </a:moveTo>
                <a:lnTo>
                  <a:pt x="134" y="2658"/>
                </a:lnTo>
                <a:lnTo>
                  <a:pt x="134" y="167"/>
                </a:lnTo>
                <a:lnTo>
                  <a:pt x="4776" y="167"/>
                </a:lnTo>
                <a:lnTo>
                  <a:pt x="4776" y="265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69" name="任意多边形: 形状 168">
            <a:extLst>
              <a:ext uri="{FF2B5EF4-FFF2-40B4-BE49-F238E27FC236}">
                <a16:creationId xmlns:a16="http://schemas.microsoft.com/office/drawing/2014/main" id="{95481C07-6286-4E36-B76A-35252873BCE0}"/>
              </a:ext>
            </a:extLst>
          </p:cNvPr>
          <p:cNvSpPr/>
          <p:nvPr/>
        </p:nvSpPr>
        <p:spPr bwMode="auto">
          <a:xfrm>
            <a:off x="6642596" y="4210764"/>
            <a:ext cx="211997" cy="176663"/>
          </a:xfrm>
          <a:custGeom>
            <a:avLst/>
            <a:gdLst>
              <a:gd name="T0" fmla="*/ 0 w 215"/>
              <a:gd name="T1" fmla="*/ 28 h 180"/>
              <a:gd name="T2" fmla="*/ 63 w 215"/>
              <a:gd name="T3" fmla="*/ 180 h 180"/>
              <a:gd name="T4" fmla="*/ 198 w 215"/>
              <a:gd name="T5" fmla="*/ 180 h 180"/>
              <a:gd name="T6" fmla="*/ 198 w 215"/>
              <a:gd name="T7" fmla="*/ 180 h 180"/>
              <a:gd name="T8" fmla="*/ 215 w 215"/>
              <a:gd name="T9" fmla="*/ 164 h 180"/>
              <a:gd name="T10" fmla="*/ 150 w 215"/>
              <a:gd name="T11" fmla="*/ 0 h 180"/>
              <a:gd name="T12" fmla="*/ 0 w 215"/>
              <a:gd name="T13" fmla="*/ 28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5" h="180">
                <a:moveTo>
                  <a:pt x="0" y="28"/>
                </a:moveTo>
                <a:lnTo>
                  <a:pt x="63" y="180"/>
                </a:lnTo>
                <a:lnTo>
                  <a:pt x="198" y="180"/>
                </a:lnTo>
                <a:lnTo>
                  <a:pt x="198" y="180"/>
                </a:lnTo>
                <a:lnTo>
                  <a:pt x="215" y="164"/>
                </a:lnTo>
                <a:lnTo>
                  <a:pt x="150" y="0"/>
                </a:lnTo>
                <a:lnTo>
                  <a:pt x="0" y="2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32500" lnSpcReduction="2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70" name="任意多边形: 形状 169">
            <a:extLst>
              <a:ext uri="{FF2B5EF4-FFF2-40B4-BE49-F238E27FC236}">
                <a16:creationId xmlns:a16="http://schemas.microsoft.com/office/drawing/2014/main" id="{FFC2EC3A-2BF8-49AC-8806-9B09014C6850}"/>
              </a:ext>
            </a:extLst>
          </p:cNvPr>
          <p:cNvSpPr/>
          <p:nvPr/>
        </p:nvSpPr>
        <p:spPr bwMode="auto">
          <a:xfrm>
            <a:off x="6672040" y="4272596"/>
            <a:ext cx="209052" cy="114831"/>
          </a:xfrm>
          <a:custGeom>
            <a:avLst/>
            <a:gdLst>
              <a:gd name="T0" fmla="*/ 168 w 213"/>
              <a:gd name="T1" fmla="*/ 0 h 117"/>
              <a:gd name="T2" fmla="*/ 213 w 213"/>
              <a:gd name="T3" fmla="*/ 117 h 117"/>
              <a:gd name="T4" fmla="*/ 20 w 213"/>
              <a:gd name="T5" fmla="*/ 117 h 117"/>
              <a:gd name="T6" fmla="*/ 0 w 213"/>
              <a:gd name="T7" fmla="*/ 68 h 117"/>
              <a:gd name="T8" fmla="*/ 168 w 213"/>
              <a:gd name="T9" fmla="*/ 0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3" h="117">
                <a:moveTo>
                  <a:pt x="168" y="0"/>
                </a:moveTo>
                <a:lnTo>
                  <a:pt x="213" y="117"/>
                </a:lnTo>
                <a:lnTo>
                  <a:pt x="20" y="117"/>
                </a:lnTo>
                <a:lnTo>
                  <a:pt x="0" y="68"/>
                </a:lnTo>
                <a:lnTo>
                  <a:pt x="168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71" name="任意多边形: 形状 170">
            <a:extLst>
              <a:ext uri="{FF2B5EF4-FFF2-40B4-BE49-F238E27FC236}">
                <a16:creationId xmlns:a16="http://schemas.microsoft.com/office/drawing/2014/main" id="{CA7D9987-8BD5-49C6-80FA-DA083078813D}"/>
              </a:ext>
            </a:extLst>
          </p:cNvPr>
          <p:cNvSpPr/>
          <p:nvPr/>
        </p:nvSpPr>
        <p:spPr bwMode="auto">
          <a:xfrm>
            <a:off x="6513043" y="4110654"/>
            <a:ext cx="147220" cy="158997"/>
          </a:xfrm>
          <a:custGeom>
            <a:avLst/>
            <a:gdLst>
              <a:gd name="T0" fmla="*/ 0 w 150"/>
              <a:gd name="T1" fmla="*/ 12 h 163"/>
              <a:gd name="T2" fmla="*/ 73 w 150"/>
              <a:gd name="T3" fmla="*/ 116 h 163"/>
              <a:gd name="T4" fmla="*/ 73 w 150"/>
              <a:gd name="T5" fmla="*/ 116 h 163"/>
              <a:gd name="T6" fmla="*/ 78 w 150"/>
              <a:gd name="T7" fmla="*/ 122 h 163"/>
              <a:gd name="T8" fmla="*/ 86 w 150"/>
              <a:gd name="T9" fmla="*/ 130 h 163"/>
              <a:gd name="T10" fmla="*/ 96 w 150"/>
              <a:gd name="T11" fmla="*/ 139 h 163"/>
              <a:gd name="T12" fmla="*/ 107 w 150"/>
              <a:gd name="T13" fmla="*/ 147 h 163"/>
              <a:gd name="T14" fmla="*/ 119 w 150"/>
              <a:gd name="T15" fmla="*/ 155 h 163"/>
              <a:gd name="T16" fmla="*/ 129 w 150"/>
              <a:gd name="T17" fmla="*/ 160 h 163"/>
              <a:gd name="T18" fmla="*/ 134 w 150"/>
              <a:gd name="T19" fmla="*/ 162 h 163"/>
              <a:gd name="T20" fmla="*/ 138 w 150"/>
              <a:gd name="T21" fmla="*/ 163 h 163"/>
              <a:gd name="T22" fmla="*/ 142 w 150"/>
              <a:gd name="T23" fmla="*/ 163 h 163"/>
              <a:gd name="T24" fmla="*/ 145 w 150"/>
              <a:gd name="T25" fmla="*/ 162 h 163"/>
              <a:gd name="T26" fmla="*/ 145 w 150"/>
              <a:gd name="T27" fmla="*/ 162 h 163"/>
              <a:gd name="T28" fmla="*/ 147 w 150"/>
              <a:gd name="T29" fmla="*/ 160 h 163"/>
              <a:gd name="T30" fmla="*/ 149 w 150"/>
              <a:gd name="T31" fmla="*/ 157 h 163"/>
              <a:gd name="T32" fmla="*/ 150 w 150"/>
              <a:gd name="T33" fmla="*/ 154 h 163"/>
              <a:gd name="T34" fmla="*/ 150 w 150"/>
              <a:gd name="T35" fmla="*/ 150 h 163"/>
              <a:gd name="T36" fmla="*/ 149 w 150"/>
              <a:gd name="T37" fmla="*/ 141 h 163"/>
              <a:gd name="T38" fmla="*/ 146 w 150"/>
              <a:gd name="T39" fmla="*/ 130 h 163"/>
              <a:gd name="T40" fmla="*/ 143 w 150"/>
              <a:gd name="T41" fmla="*/ 120 h 163"/>
              <a:gd name="T42" fmla="*/ 138 w 150"/>
              <a:gd name="T43" fmla="*/ 110 h 163"/>
              <a:gd name="T44" fmla="*/ 134 w 150"/>
              <a:gd name="T45" fmla="*/ 101 h 163"/>
              <a:gd name="T46" fmla="*/ 130 w 150"/>
              <a:gd name="T47" fmla="*/ 95 h 163"/>
              <a:gd name="T48" fmla="*/ 74 w 150"/>
              <a:gd name="T49" fmla="*/ 25 h 163"/>
              <a:gd name="T50" fmla="*/ 74 w 150"/>
              <a:gd name="T51" fmla="*/ 25 h 163"/>
              <a:gd name="T52" fmla="*/ 68 w 150"/>
              <a:gd name="T53" fmla="*/ 18 h 163"/>
              <a:gd name="T54" fmla="*/ 62 w 150"/>
              <a:gd name="T55" fmla="*/ 13 h 163"/>
              <a:gd name="T56" fmla="*/ 56 w 150"/>
              <a:gd name="T57" fmla="*/ 8 h 163"/>
              <a:gd name="T58" fmla="*/ 51 w 150"/>
              <a:gd name="T59" fmla="*/ 5 h 163"/>
              <a:gd name="T60" fmla="*/ 45 w 150"/>
              <a:gd name="T61" fmla="*/ 2 h 163"/>
              <a:gd name="T62" fmla="*/ 40 w 150"/>
              <a:gd name="T63" fmla="*/ 1 h 163"/>
              <a:gd name="T64" fmla="*/ 35 w 150"/>
              <a:gd name="T65" fmla="*/ 0 h 163"/>
              <a:gd name="T66" fmla="*/ 30 w 150"/>
              <a:gd name="T67" fmla="*/ 0 h 163"/>
              <a:gd name="T68" fmla="*/ 21 w 150"/>
              <a:gd name="T69" fmla="*/ 1 h 163"/>
              <a:gd name="T70" fmla="*/ 13 w 150"/>
              <a:gd name="T71" fmla="*/ 4 h 163"/>
              <a:gd name="T72" fmla="*/ 6 w 150"/>
              <a:gd name="T73" fmla="*/ 8 h 163"/>
              <a:gd name="T74" fmla="*/ 0 w 150"/>
              <a:gd name="T75" fmla="*/ 12 h 163"/>
              <a:gd name="T76" fmla="*/ 0 w 150"/>
              <a:gd name="T77" fmla="*/ 12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50" h="163">
                <a:moveTo>
                  <a:pt x="0" y="12"/>
                </a:moveTo>
                <a:lnTo>
                  <a:pt x="73" y="116"/>
                </a:lnTo>
                <a:lnTo>
                  <a:pt x="73" y="116"/>
                </a:lnTo>
                <a:lnTo>
                  <a:pt x="78" y="122"/>
                </a:lnTo>
                <a:lnTo>
                  <a:pt x="86" y="130"/>
                </a:lnTo>
                <a:lnTo>
                  <a:pt x="96" y="139"/>
                </a:lnTo>
                <a:lnTo>
                  <a:pt x="107" y="147"/>
                </a:lnTo>
                <a:lnTo>
                  <a:pt x="119" y="155"/>
                </a:lnTo>
                <a:lnTo>
                  <a:pt x="129" y="160"/>
                </a:lnTo>
                <a:lnTo>
                  <a:pt x="134" y="162"/>
                </a:lnTo>
                <a:lnTo>
                  <a:pt x="138" y="163"/>
                </a:lnTo>
                <a:lnTo>
                  <a:pt x="142" y="163"/>
                </a:lnTo>
                <a:lnTo>
                  <a:pt x="145" y="162"/>
                </a:lnTo>
                <a:lnTo>
                  <a:pt x="145" y="162"/>
                </a:lnTo>
                <a:lnTo>
                  <a:pt x="147" y="160"/>
                </a:lnTo>
                <a:lnTo>
                  <a:pt x="149" y="157"/>
                </a:lnTo>
                <a:lnTo>
                  <a:pt x="150" y="154"/>
                </a:lnTo>
                <a:lnTo>
                  <a:pt x="150" y="150"/>
                </a:lnTo>
                <a:lnTo>
                  <a:pt x="149" y="141"/>
                </a:lnTo>
                <a:lnTo>
                  <a:pt x="146" y="130"/>
                </a:lnTo>
                <a:lnTo>
                  <a:pt x="143" y="120"/>
                </a:lnTo>
                <a:lnTo>
                  <a:pt x="138" y="110"/>
                </a:lnTo>
                <a:lnTo>
                  <a:pt x="134" y="101"/>
                </a:lnTo>
                <a:lnTo>
                  <a:pt x="130" y="95"/>
                </a:lnTo>
                <a:lnTo>
                  <a:pt x="74" y="25"/>
                </a:lnTo>
                <a:lnTo>
                  <a:pt x="74" y="25"/>
                </a:lnTo>
                <a:lnTo>
                  <a:pt x="68" y="18"/>
                </a:lnTo>
                <a:lnTo>
                  <a:pt x="62" y="13"/>
                </a:lnTo>
                <a:lnTo>
                  <a:pt x="56" y="8"/>
                </a:lnTo>
                <a:lnTo>
                  <a:pt x="51" y="5"/>
                </a:lnTo>
                <a:lnTo>
                  <a:pt x="45" y="2"/>
                </a:lnTo>
                <a:lnTo>
                  <a:pt x="40" y="1"/>
                </a:lnTo>
                <a:lnTo>
                  <a:pt x="35" y="0"/>
                </a:lnTo>
                <a:lnTo>
                  <a:pt x="30" y="0"/>
                </a:lnTo>
                <a:lnTo>
                  <a:pt x="21" y="1"/>
                </a:lnTo>
                <a:lnTo>
                  <a:pt x="13" y="4"/>
                </a:lnTo>
                <a:lnTo>
                  <a:pt x="6" y="8"/>
                </a:lnTo>
                <a:lnTo>
                  <a:pt x="0" y="12"/>
                </a:lnTo>
                <a:lnTo>
                  <a:pt x="0" y="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72" name="任意多边形: 形状 171">
            <a:extLst>
              <a:ext uri="{FF2B5EF4-FFF2-40B4-BE49-F238E27FC236}">
                <a16:creationId xmlns:a16="http://schemas.microsoft.com/office/drawing/2014/main" id="{F924B4F4-4DE4-4A6B-B6AA-77ADDDB8C245}"/>
              </a:ext>
            </a:extLst>
          </p:cNvPr>
          <p:cNvSpPr/>
          <p:nvPr/>
        </p:nvSpPr>
        <p:spPr bwMode="auto">
          <a:xfrm>
            <a:off x="6480654" y="3901603"/>
            <a:ext cx="332717" cy="403381"/>
          </a:xfrm>
          <a:custGeom>
            <a:avLst/>
            <a:gdLst>
              <a:gd name="T0" fmla="*/ 116 w 341"/>
              <a:gd name="T1" fmla="*/ 152 h 409"/>
              <a:gd name="T2" fmla="*/ 118 w 341"/>
              <a:gd name="T3" fmla="*/ 148 h 409"/>
              <a:gd name="T4" fmla="*/ 122 w 341"/>
              <a:gd name="T5" fmla="*/ 141 h 409"/>
              <a:gd name="T6" fmla="*/ 129 w 341"/>
              <a:gd name="T7" fmla="*/ 135 h 409"/>
              <a:gd name="T8" fmla="*/ 141 w 341"/>
              <a:gd name="T9" fmla="*/ 132 h 409"/>
              <a:gd name="T10" fmla="*/ 154 w 341"/>
              <a:gd name="T11" fmla="*/ 133 h 409"/>
              <a:gd name="T12" fmla="*/ 162 w 341"/>
              <a:gd name="T13" fmla="*/ 137 h 409"/>
              <a:gd name="T14" fmla="*/ 169 w 341"/>
              <a:gd name="T15" fmla="*/ 143 h 409"/>
              <a:gd name="T16" fmla="*/ 172 w 341"/>
              <a:gd name="T17" fmla="*/ 147 h 409"/>
              <a:gd name="T18" fmla="*/ 173 w 341"/>
              <a:gd name="T19" fmla="*/ 138 h 409"/>
              <a:gd name="T20" fmla="*/ 178 w 341"/>
              <a:gd name="T21" fmla="*/ 131 h 409"/>
              <a:gd name="T22" fmla="*/ 184 w 341"/>
              <a:gd name="T23" fmla="*/ 127 h 409"/>
              <a:gd name="T24" fmla="*/ 200 w 341"/>
              <a:gd name="T25" fmla="*/ 123 h 409"/>
              <a:gd name="T26" fmla="*/ 213 w 341"/>
              <a:gd name="T27" fmla="*/ 126 h 409"/>
              <a:gd name="T28" fmla="*/ 220 w 341"/>
              <a:gd name="T29" fmla="*/ 130 h 409"/>
              <a:gd name="T30" fmla="*/ 224 w 341"/>
              <a:gd name="T31" fmla="*/ 133 h 409"/>
              <a:gd name="T32" fmla="*/ 227 w 341"/>
              <a:gd name="T33" fmla="*/ 126 h 409"/>
              <a:gd name="T34" fmla="*/ 233 w 341"/>
              <a:gd name="T35" fmla="*/ 120 h 409"/>
              <a:gd name="T36" fmla="*/ 240 w 341"/>
              <a:gd name="T37" fmla="*/ 116 h 409"/>
              <a:gd name="T38" fmla="*/ 257 w 341"/>
              <a:gd name="T39" fmla="*/ 116 h 409"/>
              <a:gd name="T40" fmla="*/ 265 w 341"/>
              <a:gd name="T41" fmla="*/ 119 h 409"/>
              <a:gd name="T42" fmla="*/ 272 w 341"/>
              <a:gd name="T43" fmla="*/ 125 h 409"/>
              <a:gd name="T44" fmla="*/ 277 w 341"/>
              <a:gd name="T45" fmla="*/ 133 h 409"/>
              <a:gd name="T46" fmla="*/ 328 w 341"/>
              <a:gd name="T47" fmla="*/ 246 h 409"/>
              <a:gd name="T48" fmla="*/ 336 w 341"/>
              <a:gd name="T49" fmla="*/ 273 h 409"/>
              <a:gd name="T50" fmla="*/ 340 w 341"/>
              <a:gd name="T51" fmla="*/ 301 h 409"/>
              <a:gd name="T52" fmla="*/ 340 w 341"/>
              <a:gd name="T53" fmla="*/ 328 h 409"/>
              <a:gd name="T54" fmla="*/ 337 w 341"/>
              <a:gd name="T55" fmla="*/ 349 h 409"/>
              <a:gd name="T56" fmla="*/ 332 w 341"/>
              <a:gd name="T57" fmla="*/ 361 h 409"/>
              <a:gd name="T58" fmla="*/ 320 w 341"/>
              <a:gd name="T59" fmla="*/ 380 h 409"/>
              <a:gd name="T60" fmla="*/ 303 w 341"/>
              <a:gd name="T61" fmla="*/ 394 h 409"/>
              <a:gd name="T62" fmla="*/ 282 w 341"/>
              <a:gd name="T63" fmla="*/ 403 h 409"/>
              <a:gd name="T64" fmla="*/ 261 w 341"/>
              <a:gd name="T65" fmla="*/ 408 h 409"/>
              <a:gd name="T66" fmla="*/ 240 w 341"/>
              <a:gd name="T67" fmla="*/ 409 h 409"/>
              <a:gd name="T68" fmla="*/ 221 w 341"/>
              <a:gd name="T69" fmla="*/ 407 h 409"/>
              <a:gd name="T70" fmla="*/ 205 w 341"/>
              <a:gd name="T71" fmla="*/ 401 h 409"/>
              <a:gd name="T72" fmla="*/ 199 w 341"/>
              <a:gd name="T73" fmla="*/ 397 h 409"/>
              <a:gd name="T74" fmla="*/ 167 w 341"/>
              <a:gd name="T75" fmla="*/ 377 h 409"/>
              <a:gd name="T76" fmla="*/ 156 w 341"/>
              <a:gd name="T77" fmla="*/ 367 h 409"/>
              <a:gd name="T78" fmla="*/ 148 w 341"/>
              <a:gd name="T79" fmla="*/ 356 h 409"/>
              <a:gd name="T80" fmla="*/ 4 w 341"/>
              <a:gd name="T81" fmla="*/ 41 h 409"/>
              <a:gd name="T82" fmla="*/ 0 w 341"/>
              <a:gd name="T83" fmla="*/ 27 h 409"/>
              <a:gd name="T84" fmla="*/ 3 w 341"/>
              <a:gd name="T85" fmla="*/ 16 h 409"/>
              <a:gd name="T86" fmla="*/ 9 w 341"/>
              <a:gd name="T87" fmla="*/ 7 h 409"/>
              <a:gd name="T88" fmla="*/ 19 w 341"/>
              <a:gd name="T89" fmla="*/ 2 h 409"/>
              <a:gd name="T90" fmla="*/ 30 w 341"/>
              <a:gd name="T91" fmla="*/ 0 h 409"/>
              <a:gd name="T92" fmla="*/ 41 w 341"/>
              <a:gd name="T93" fmla="*/ 2 h 409"/>
              <a:gd name="T94" fmla="*/ 51 w 341"/>
              <a:gd name="T95" fmla="*/ 8 h 409"/>
              <a:gd name="T96" fmla="*/ 58 w 341"/>
              <a:gd name="T97" fmla="*/ 18 h 4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41" h="409">
                <a:moveTo>
                  <a:pt x="58" y="18"/>
                </a:moveTo>
                <a:lnTo>
                  <a:pt x="116" y="152"/>
                </a:lnTo>
                <a:lnTo>
                  <a:pt x="116" y="152"/>
                </a:lnTo>
                <a:lnTo>
                  <a:pt x="118" y="148"/>
                </a:lnTo>
                <a:lnTo>
                  <a:pt x="120" y="144"/>
                </a:lnTo>
                <a:lnTo>
                  <a:pt x="122" y="141"/>
                </a:lnTo>
                <a:lnTo>
                  <a:pt x="125" y="138"/>
                </a:lnTo>
                <a:lnTo>
                  <a:pt x="129" y="135"/>
                </a:lnTo>
                <a:lnTo>
                  <a:pt x="132" y="134"/>
                </a:lnTo>
                <a:lnTo>
                  <a:pt x="141" y="132"/>
                </a:lnTo>
                <a:lnTo>
                  <a:pt x="149" y="132"/>
                </a:lnTo>
                <a:lnTo>
                  <a:pt x="154" y="133"/>
                </a:lnTo>
                <a:lnTo>
                  <a:pt x="158" y="135"/>
                </a:lnTo>
                <a:lnTo>
                  <a:pt x="162" y="137"/>
                </a:lnTo>
                <a:lnTo>
                  <a:pt x="166" y="140"/>
                </a:lnTo>
                <a:lnTo>
                  <a:pt x="169" y="143"/>
                </a:lnTo>
                <a:lnTo>
                  <a:pt x="172" y="147"/>
                </a:lnTo>
                <a:lnTo>
                  <a:pt x="172" y="147"/>
                </a:lnTo>
                <a:lnTo>
                  <a:pt x="172" y="142"/>
                </a:lnTo>
                <a:lnTo>
                  <a:pt x="173" y="138"/>
                </a:lnTo>
                <a:lnTo>
                  <a:pt x="175" y="135"/>
                </a:lnTo>
                <a:lnTo>
                  <a:pt x="178" y="131"/>
                </a:lnTo>
                <a:lnTo>
                  <a:pt x="181" y="129"/>
                </a:lnTo>
                <a:lnTo>
                  <a:pt x="184" y="127"/>
                </a:lnTo>
                <a:lnTo>
                  <a:pt x="192" y="124"/>
                </a:lnTo>
                <a:lnTo>
                  <a:pt x="200" y="123"/>
                </a:lnTo>
                <a:lnTo>
                  <a:pt x="209" y="124"/>
                </a:lnTo>
                <a:lnTo>
                  <a:pt x="213" y="126"/>
                </a:lnTo>
                <a:lnTo>
                  <a:pt x="217" y="128"/>
                </a:lnTo>
                <a:lnTo>
                  <a:pt x="220" y="130"/>
                </a:lnTo>
                <a:lnTo>
                  <a:pt x="224" y="133"/>
                </a:lnTo>
                <a:lnTo>
                  <a:pt x="224" y="133"/>
                </a:lnTo>
                <a:lnTo>
                  <a:pt x="225" y="129"/>
                </a:lnTo>
                <a:lnTo>
                  <a:pt x="227" y="126"/>
                </a:lnTo>
                <a:lnTo>
                  <a:pt x="230" y="123"/>
                </a:lnTo>
                <a:lnTo>
                  <a:pt x="233" y="120"/>
                </a:lnTo>
                <a:lnTo>
                  <a:pt x="236" y="118"/>
                </a:lnTo>
                <a:lnTo>
                  <a:pt x="240" y="116"/>
                </a:lnTo>
                <a:lnTo>
                  <a:pt x="248" y="115"/>
                </a:lnTo>
                <a:lnTo>
                  <a:pt x="257" y="116"/>
                </a:lnTo>
                <a:lnTo>
                  <a:pt x="261" y="117"/>
                </a:lnTo>
                <a:lnTo>
                  <a:pt x="265" y="119"/>
                </a:lnTo>
                <a:lnTo>
                  <a:pt x="268" y="122"/>
                </a:lnTo>
                <a:lnTo>
                  <a:pt x="272" y="125"/>
                </a:lnTo>
                <a:lnTo>
                  <a:pt x="275" y="128"/>
                </a:lnTo>
                <a:lnTo>
                  <a:pt x="277" y="133"/>
                </a:lnTo>
                <a:lnTo>
                  <a:pt x="328" y="246"/>
                </a:lnTo>
                <a:lnTo>
                  <a:pt x="328" y="246"/>
                </a:lnTo>
                <a:lnTo>
                  <a:pt x="333" y="259"/>
                </a:lnTo>
                <a:lnTo>
                  <a:pt x="336" y="273"/>
                </a:lnTo>
                <a:lnTo>
                  <a:pt x="339" y="287"/>
                </a:lnTo>
                <a:lnTo>
                  <a:pt x="340" y="301"/>
                </a:lnTo>
                <a:lnTo>
                  <a:pt x="341" y="315"/>
                </a:lnTo>
                <a:lnTo>
                  <a:pt x="340" y="328"/>
                </a:lnTo>
                <a:lnTo>
                  <a:pt x="339" y="340"/>
                </a:lnTo>
                <a:lnTo>
                  <a:pt x="337" y="349"/>
                </a:lnTo>
                <a:lnTo>
                  <a:pt x="337" y="349"/>
                </a:lnTo>
                <a:lnTo>
                  <a:pt x="332" y="361"/>
                </a:lnTo>
                <a:lnTo>
                  <a:pt x="327" y="371"/>
                </a:lnTo>
                <a:lnTo>
                  <a:pt x="320" y="380"/>
                </a:lnTo>
                <a:lnTo>
                  <a:pt x="312" y="387"/>
                </a:lnTo>
                <a:lnTo>
                  <a:pt x="303" y="394"/>
                </a:lnTo>
                <a:lnTo>
                  <a:pt x="292" y="399"/>
                </a:lnTo>
                <a:lnTo>
                  <a:pt x="282" y="403"/>
                </a:lnTo>
                <a:lnTo>
                  <a:pt x="272" y="407"/>
                </a:lnTo>
                <a:lnTo>
                  <a:pt x="261" y="408"/>
                </a:lnTo>
                <a:lnTo>
                  <a:pt x="251" y="409"/>
                </a:lnTo>
                <a:lnTo>
                  <a:pt x="240" y="409"/>
                </a:lnTo>
                <a:lnTo>
                  <a:pt x="230" y="408"/>
                </a:lnTo>
                <a:lnTo>
                  <a:pt x="221" y="407"/>
                </a:lnTo>
                <a:lnTo>
                  <a:pt x="213" y="405"/>
                </a:lnTo>
                <a:lnTo>
                  <a:pt x="205" y="401"/>
                </a:lnTo>
                <a:lnTo>
                  <a:pt x="199" y="397"/>
                </a:lnTo>
                <a:lnTo>
                  <a:pt x="199" y="397"/>
                </a:lnTo>
                <a:lnTo>
                  <a:pt x="182" y="386"/>
                </a:lnTo>
                <a:lnTo>
                  <a:pt x="167" y="377"/>
                </a:lnTo>
                <a:lnTo>
                  <a:pt x="161" y="372"/>
                </a:lnTo>
                <a:lnTo>
                  <a:pt x="156" y="367"/>
                </a:lnTo>
                <a:lnTo>
                  <a:pt x="151" y="362"/>
                </a:lnTo>
                <a:lnTo>
                  <a:pt x="148" y="356"/>
                </a:lnTo>
                <a:lnTo>
                  <a:pt x="4" y="41"/>
                </a:lnTo>
                <a:lnTo>
                  <a:pt x="4" y="41"/>
                </a:lnTo>
                <a:lnTo>
                  <a:pt x="1" y="34"/>
                </a:lnTo>
                <a:lnTo>
                  <a:pt x="0" y="27"/>
                </a:lnTo>
                <a:lnTo>
                  <a:pt x="1" y="21"/>
                </a:lnTo>
                <a:lnTo>
                  <a:pt x="3" y="16"/>
                </a:lnTo>
                <a:lnTo>
                  <a:pt x="6" y="11"/>
                </a:lnTo>
                <a:lnTo>
                  <a:pt x="9" y="7"/>
                </a:lnTo>
                <a:lnTo>
                  <a:pt x="14" y="4"/>
                </a:lnTo>
                <a:lnTo>
                  <a:pt x="19" y="2"/>
                </a:lnTo>
                <a:lnTo>
                  <a:pt x="24" y="1"/>
                </a:lnTo>
                <a:lnTo>
                  <a:pt x="30" y="0"/>
                </a:lnTo>
                <a:lnTo>
                  <a:pt x="35" y="1"/>
                </a:lnTo>
                <a:lnTo>
                  <a:pt x="41" y="2"/>
                </a:lnTo>
                <a:lnTo>
                  <a:pt x="46" y="4"/>
                </a:lnTo>
                <a:lnTo>
                  <a:pt x="51" y="8"/>
                </a:lnTo>
                <a:lnTo>
                  <a:pt x="55" y="12"/>
                </a:lnTo>
                <a:lnTo>
                  <a:pt x="58" y="18"/>
                </a:lnTo>
                <a:lnTo>
                  <a:pt x="58" y="1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73" name="任意多边形: 形状 172">
            <a:extLst>
              <a:ext uri="{FF2B5EF4-FFF2-40B4-BE49-F238E27FC236}">
                <a16:creationId xmlns:a16="http://schemas.microsoft.com/office/drawing/2014/main" id="{E606315D-5FB4-425C-8309-D93FF22D59B7}"/>
              </a:ext>
            </a:extLst>
          </p:cNvPr>
          <p:cNvSpPr/>
          <p:nvPr/>
        </p:nvSpPr>
        <p:spPr bwMode="auto">
          <a:xfrm>
            <a:off x="6592541" y="4028212"/>
            <a:ext cx="126609" cy="76554"/>
          </a:xfrm>
          <a:custGeom>
            <a:avLst/>
            <a:gdLst>
              <a:gd name="T0" fmla="*/ 127 w 127"/>
              <a:gd name="T1" fmla="*/ 43 h 78"/>
              <a:gd name="T2" fmla="*/ 127 w 127"/>
              <a:gd name="T3" fmla="*/ 43 h 78"/>
              <a:gd name="T4" fmla="*/ 109 w 127"/>
              <a:gd name="T5" fmla="*/ 1 h 78"/>
              <a:gd name="T6" fmla="*/ 109 w 127"/>
              <a:gd name="T7" fmla="*/ 1 h 78"/>
              <a:gd name="T8" fmla="*/ 108 w 127"/>
              <a:gd name="T9" fmla="*/ 4 h 78"/>
              <a:gd name="T10" fmla="*/ 108 w 127"/>
              <a:gd name="T11" fmla="*/ 4 h 78"/>
              <a:gd name="T12" fmla="*/ 103 w 127"/>
              <a:gd name="T13" fmla="*/ 0 h 78"/>
              <a:gd name="T14" fmla="*/ 103 w 127"/>
              <a:gd name="T15" fmla="*/ 0 h 78"/>
              <a:gd name="T16" fmla="*/ 127 w 127"/>
              <a:gd name="T17" fmla="*/ 43 h 78"/>
              <a:gd name="T18" fmla="*/ 127 w 127"/>
              <a:gd name="T19" fmla="*/ 43 h 78"/>
              <a:gd name="T20" fmla="*/ 1 w 127"/>
              <a:gd name="T21" fmla="*/ 22 h 78"/>
              <a:gd name="T22" fmla="*/ 1 w 127"/>
              <a:gd name="T23" fmla="*/ 22 h 78"/>
              <a:gd name="T24" fmla="*/ 3 w 127"/>
              <a:gd name="T25" fmla="*/ 16 h 78"/>
              <a:gd name="T26" fmla="*/ 3 w 127"/>
              <a:gd name="T27" fmla="*/ 16 h 78"/>
              <a:gd name="T28" fmla="*/ 28 w 127"/>
              <a:gd name="T29" fmla="*/ 78 h 78"/>
              <a:gd name="T30" fmla="*/ 28 w 127"/>
              <a:gd name="T31" fmla="*/ 78 h 78"/>
              <a:gd name="T32" fmla="*/ 17 w 127"/>
              <a:gd name="T33" fmla="*/ 57 h 78"/>
              <a:gd name="T34" fmla="*/ 0 w 127"/>
              <a:gd name="T35" fmla="*/ 23 h 78"/>
              <a:gd name="T36" fmla="*/ 0 w 127"/>
              <a:gd name="T37" fmla="*/ 23 h 78"/>
              <a:gd name="T38" fmla="*/ 1 w 127"/>
              <a:gd name="T39" fmla="*/ 22 h 78"/>
              <a:gd name="T40" fmla="*/ 1 w 127"/>
              <a:gd name="T41" fmla="*/ 22 h 78"/>
              <a:gd name="T42" fmla="*/ 48 w 127"/>
              <a:gd name="T43" fmla="*/ 10 h 78"/>
              <a:gd name="T44" fmla="*/ 48 w 127"/>
              <a:gd name="T45" fmla="*/ 10 h 78"/>
              <a:gd name="T46" fmla="*/ 52 w 127"/>
              <a:gd name="T47" fmla="*/ 13 h 78"/>
              <a:gd name="T48" fmla="*/ 56 w 127"/>
              <a:gd name="T49" fmla="*/ 18 h 78"/>
              <a:gd name="T50" fmla="*/ 56 w 127"/>
              <a:gd name="T51" fmla="*/ 18 h 78"/>
              <a:gd name="T52" fmla="*/ 56 w 127"/>
              <a:gd name="T53" fmla="*/ 13 h 78"/>
              <a:gd name="T54" fmla="*/ 56 w 127"/>
              <a:gd name="T55" fmla="*/ 13 h 78"/>
              <a:gd name="T56" fmla="*/ 78 w 127"/>
              <a:gd name="T57" fmla="*/ 63 h 78"/>
              <a:gd name="T58" fmla="*/ 78 w 127"/>
              <a:gd name="T59" fmla="*/ 63 h 78"/>
              <a:gd name="T60" fmla="*/ 48 w 127"/>
              <a:gd name="T61" fmla="*/ 10 h 78"/>
              <a:gd name="T62" fmla="*/ 48 w 127"/>
              <a:gd name="T63" fmla="*/ 10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27" h="78">
                <a:moveTo>
                  <a:pt x="127" y="43"/>
                </a:moveTo>
                <a:lnTo>
                  <a:pt x="127" y="43"/>
                </a:lnTo>
                <a:lnTo>
                  <a:pt x="109" y="1"/>
                </a:lnTo>
                <a:lnTo>
                  <a:pt x="109" y="1"/>
                </a:lnTo>
                <a:lnTo>
                  <a:pt x="108" y="4"/>
                </a:lnTo>
                <a:lnTo>
                  <a:pt x="108" y="4"/>
                </a:lnTo>
                <a:lnTo>
                  <a:pt x="103" y="0"/>
                </a:lnTo>
                <a:lnTo>
                  <a:pt x="103" y="0"/>
                </a:lnTo>
                <a:lnTo>
                  <a:pt x="127" y="43"/>
                </a:lnTo>
                <a:lnTo>
                  <a:pt x="127" y="43"/>
                </a:lnTo>
                <a:close/>
                <a:moveTo>
                  <a:pt x="1" y="22"/>
                </a:moveTo>
                <a:lnTo>
                  <a:pt x="1" y="22"/>
                </a:lnTo>
                <a:lnTo>
                  <a:pt x="3" y="16"/>
                </a:lnTo>
                <a:lnTo>
                  <a:pt x="3" y="16"/>
                </a:lnTo>
                <a:lnTo>
                  <a:pt x="28" y="78"/>
                </a:lnTo>
                <a:lnTo>
                  <a:pt x="28" y="78"/>
                </a:lnTo>
                <a:lnTo>
                  <a:pt x="17" y="57"/>
                </a:lnTo>
                <a:lnTo>
                  <a:pt x="0" y="23"/>
                </a:lnTo>
                <a:lnTo>
                  <a:pt x="0" y="23"/>
                </a:lnTo>
                <a:lnTo>
                  <a:pt x="1" y="22"/>
                </a:lnTo>
                <a:lnTo>
                  <a:pt x="1" y="22"/>
                </a:lnTo>
                <a:close/>
                <a:moveTo>
                  <a:pt x="48" y="10"/>
                </a:moveTo>
                <a:lnTo>
                  <a:pt x="48" y="10"/>
                </a:lnTo>
                <a:lnTo>
                  <a:pt x="52" y="13"/>
                </a:lnTo>
                <a:lnTo>
                  <a:pt x="56" y="18"/>
                </a:lnTo>
                <a:lnTo>
                  <a:pt x="56" y="18"/>
                </a:lnTo>
                <a:lnTo>
                  <a:pt x="56" y="13"/>
                </a:lnTo>
                <a:lnTo>
                  <a:pt x="56" y="13"/>
                </a:lnTo>
                <a:lnTo>
                  <a:pt x="78" y="63"/>
                </a:lnTo>
                <a:lnTo>
                  <a:pt x="78" y="63"/>
                </a:lnTo>
                <a:lnTo>
                  <a:pt x="48" y="10"/>
                </a:lnTo>
                <a:lnTo>
                  <a:pt x="48" y="1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74" name="任意多边形: 形状 173">
            <a:extLst>
              <a:ext uri="{FF2B5EF4-FFF2-40B4-BE49-F238E27FC236}">
                <a16:creationId xmlns:a16="http://schemas.microsoft.com/office/drawing/2014/main" id="{6B9782BF-9DE4-45AA-B39B-4EC35B4796B0}"/>
              </a:ext>
            </a:extLst>
          </p:cNvPr>
          <p:cNvSpPr/>
          <p:nvPr/>
        </p:nvSpPr>
        <p:spPr bwMode="auto">
          <a:xfrm>
            <a:off x="6486543" y="3907492"/>
            <a:ext cx="47110" cy="44166"/>
          </a:xfrm>
          <a:custGeom>
            <a:avLst/>
            <a:gdLst>
              <a:gd name="T0" fmla="*/ 43 w 48"/>
              <a:gd name="T1" fmla="*/ 13 h 44"/>
              <a:gd name="T2" fmla="*/ 48 w 48"/>
              <a:gd name="T3" fmla="*/ 25 h 44"/>
              <a:gd name="T4" fmla="*/ 48 w 48"/>
              <a:gd name="T5" fmla="*/ 25 h 44"/>
              <a:gd name="T6" fmla="*/ 45 w 48"/>
              <a:gd name="T7" fmla="*/ 30 h 44"/>
              <a:gd name="T8" fmla="*/ 41 w 48"/>
              <a:gd name="T9" fmla="*/ 35 h 44"/>
              <a:gd name="T10" fmla="*/ 36 w 48"/>
              <a:gd name="T11" fmla="*/ 39 h 44"/>
              <a:gd name="T12" fmla="*/ 31 w 48"/>
              <a:gd name="T13" fmla="*/ 41 h 44"/>
              <a:gd name="T14" fmla="*/ 26 w 48"/>
              <a:gd name="T15" fmla="*/ 43 h 44"/>
              <a:gd name="T16" fmla="*/ 20 w 48"/>
              <a:gd name="T17" fmla="*/ 44 h 44"/>
              <a:gd name="T18" fmla="*/ 14 w 48"/>
              <a:gd name="T19" fmla="*/ 44 h 44"/>
              <a:gd name="T20" fmla="*/ 7 w 48"/>
              <a:gd name="T21" fmla="*/ 43 h 44"/>
              <a:gd name="T22" fmla="*/ 2 w 48"/>
              <a:gd name="T23" fmla="*/ 32 h 44"/>
              <a:gd name="T24" fmla="*/ 2 w 48"/>
              <a:gd name="T25" fmla="*/ 32 h 44"/>
              <a:gd name="T26" fmla="*/ 1 w 48"/>
              <a:gd name="T27" fmla="*/ 27 h 44"/>
              <a:gd name="T28" fmla="*/ 0 w 48"/>
              <a:gd name="T29" fmla="*/ 22 h 44"/>
              <a:gd name="T30" fmla="*/ 0 w 48"/>
              <a:gd name="T31" fmla="*/ 17 h 44"/>
              <a:gd name="T32" fmla="*/ 2 w 48"/>
              <a:gd name="T33" fmla="*/ 13 h 44"/>
              <a:gd name="T34" fmla="*/ 4 w 48"/>
              <a:gd name="T35" fmla="*/ 9 h 44"/>
              <a:gd name="T36" fmla="*/ 7 w 48"/>
              <a:gd name="T37" fmla="*/ 6 h 44"/>
              <a:gd name="T38" fmla="*/ 10 w 48"/>
              <a:gd name="T39" fmla="*/ 4 h 44"/>
              <a:gd name="T40" fmla="*/ 14 w 48"/>
              <a:gd name="T41" fmla="*/ 2 h 44"/>
              <a:gd name="T42" fmla="*/ 18 w 48"/>
              <a:gd name="T43" fmla="*/ 1 h 44"/>
              <a:gd name="T44" fmla="*/ 22 w 48"/>
              <a:gd name="T45" fmla="*/ 0 h 44"/>
              <a:gd name="T46" fmla="*/ 27 w 48"/>
              <a:gd name="T47" fmla="*/ 1 h 44"/>
              <a:gd name="T48" fmla="*/ 31 w 48"/>
              <a:gd name="T49" fmla="*/ 2 h 44"/>
              <a:gd name="T50" fmla="*/ 35 w 48"/>
              <a:gd name="T51" fmla="*/ 3 h 44"/>
              <a:gd name="T52" fmla="*/ 38 w 48"/>
              <a:gd name="T53" fmla="*/ 6 h 44"/>
              <a:gd name="T54" fmla="*/ 41 w 48"/>
              <a:gd name="T55" fmla="*/ 9 h 44"/>
              <a:gd name="T56" fmla="*/ 43 w 48"/>
              <a:gd name="T57" fmla="*/ 13 h 44"/>
              <a:gd name="T58" fmla="*/ 43 w 48"/>
              <a:gd name="T59" fmla="*/ 13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48" h="44">
                <a:moveTo>
                  <a:pt x="43" y="13"/>
                </a:moveTo>
                <a:lnTo>
                  <a:pt x="48" y="25"/>
                </a:lnTo>
                <a:lnTo>
                  <a:pt x="48" y="25"/>
                </a:lnTo>
                <a:lnTo>
                  <a:pt x="45" y="30"/>
                </a:lnTo>
                <a:lnTo>
                  <a:pt x="41" y="35"/>
                </a:lnTo>
                <a:lnTo>
                  <a:pt x="36" y="39"/>
                </a:lnTo>
                <a:lnTo>
                  <a:pt x="31" y="41"/>
                </a:lnTo>
                <a:lnTo>
                  <a:pt x="26" y="43"/>
                </a:lnTo>
                <a:lnTo>
                  <a:pt x="20" y="44"/>
                </a:lnTo>
                <a:lnTo>
                  <a:pt x="14" y="44"/>
                </a:lnTo>
                <a:lnTo>
                  <a:pt x="7" y="43"/>
                </a:lnTo>
                <a:lnTo>
                  <a:pt x="2" y="32"/>
                </a:lnTo>
                <a:lnTo>
                  <a:pt x="2" y="32"/>
                </a:lnTo>
                <a:lnTo>
                  <a:pt x="1" y="27"/>
                </a:lnTo>
                <a:lnTo>
                  <a:pt x="0" y="22"/>
                </a:lnTo>
                <a:lnTo>
                  <a:pt x="0" y="17"/>
                </a:lnTo>
                <a:lnTo>
                  <a:pt x="2" y="13"/>
                </a:lnTo>
                <a:lnTo>
                  <a:pt x="4" y="9"/>
                </a:lnTo>
                <a:lnTo>
                  <a:pt x="7" y="6"/>
                </a:lnTo>
                <a:lnTo>
                  <a:pt x="10" y="4"/>
                </a:lnTo>
                <a:lnTo>
                  <a:pt x="14" y="2"/>
                </a:lnTo>
                <a:lnTo>
                  <a:pt x="18" y="1"/>
                </a:lnTo>
                <a:lnTo>
                  <a:pt x="22" y="0"/>
                </a:lnTo>
                <a:lnTo>
                  <a:pt x="27" y="1"/>
                </a:lnTo>
                <a:lnTo>
                  <a:pt x="31" y="2"/>
                </a:lnTo>
                <a:lnTo>
                  <a:pt x="35" y="3"/>
                </a:lnTo>
                <a:lnTo>
                  <a:pt x="38" y="6"/>
                </a:lnTo>
                <a:lnTo>
                  <a:pt x="41" y="9"/>
                </a:lnTo>
                <a:lnTo>
                  <a:pt x="43" y="13"/>
                </a:lnTo>
                <a:lnTo>
                  <a:pt x="43" y="1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75" name="任意多边形: 形状 174">
            <a:extLst>
              <a:ext uri="{FF2B5EF4-FFF2-40B4-BE49-F238E27FC236}">
                <a16:creationId xmlns:a16="http://schemas.microsoft.com/office/drawing/2014/main" id="{AE528C93-920E-4861-8FCF-9E8B629AC371}"/>
              </a:ext>
            </a:extLst>
          </p:cNvPr>
          <p:cNvSpPr/>
          <p:nvPr/>
        </p:nvSpPr>
        <p:spPr bwMode="auto">
          <a:xfrm>
            <a:off x="6513043" y="4116544"/>
            <a:ext cx="29444" cy="41222"/>
          </a:xfrm>
          <a:custGeom>
            <a:avLst/>
            <a:gdLst>
              <a:gd name="T0" fmla="*/ 8 w 28"/>
              <a:gd name="T1" fmla="*/ 0 h 40"/>
              <a:gd name="T2" fmla="*/ 8 w 28"/>
              <a:gd name="T3" fmla="*/ 0 h 40"/>
              <a:gd name="T4" fmla="*/ 0 w 28"/>
              <a:gd name="T5" fmla="*/ 4 h 40"/>
              <a:gd name="T6" fmla="*/ 25 w 28"/>
              <a:gd name="T7" fmla="*/ 40 h 40"/>
              <a:gd name="T8" fmla="*/ 25 w 28"/>
              <a:gd name="T9" fmla="*/ 40 h 40"/>
              <a:gd name="T10" fmla="*/ 28 w 28"/>
              <a:gd name="T11" fmla="*/ 36 h 40"/>
              <a:gd name="T12" fmla="*/ 28 w 28"/>
              <a:gd name="T13" fmla="*/ 31 h 40"/>
              <a:gd name="T14" fmla="*/ 27 w 28"/>
              <a:gd name="T15" fmla="*/ 25 h 40"/>
              <a:gd name="T16" fmla="*/ 24 w 28"/>
              <a:gd name="T17" fmla="*/ 20 h 40"/>
              <a:gd name="T18" fmla="*/ 21 w 28"/>
              <a:gd name="T19" fmla="*/ 15 h 40"/>
              <a:gd name="T20" fmla="*/ 17 w 28"/>
              <a:gd name="T21" fmla="*/ 10 h 40"/>
              <a:gd name="T22" fmla="*/ 8 w 28"/>
              <a:gd name="T23" fmla="*/ 0 h 40"/>
              <a:gd name="T24" fmla="*/ 8 w 28"/>
              <a:gd name="T25" fmla="*/ 0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" h="40">
                <a:moveTo>
                  <a:pt x="8" y="0"/>
                </a:moveTo>
                <a:lnTo>
                  <a:pt x="8" y="0"/>
                </a:lnTo>
                <a:lnTo>
                  <a:pt x="0" y="4"/>
                </a:lnTo>
                <a:lnTo>
                  <a:pt x="25" y="40"/>
                </a:lnTo>
                <a:lnTo>
                  <a:pt x="25" y="40"/>
                </a:lnTo>
                <a:lnTo>
                  <a:pt x="28" y="36"/>
                </a:lnTo>
                <a:lnTo>
                  <a:pt x="28" y="31"/>
                </a:lnTo>
                <a:lnTo>
                  <a:pt x="27" y="25"/>
                </a:lnTo>
                <a:lnTo>
                  <a:pt x="24" y="20"/>
                </a:lnTo>
                <a:lnTo>
                  <a:pt x="21" y="15"/>
                </a:lnTo>
                <a:lnTo>
                  <a:pt x="17" y="10"/>
                </a:lnTo>
                <a:lnTo>
                  <a:pt x="8" y="0"/>
                </a:lnTo>
                <a:lnTo>
                  <a:pt x="8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76" name="任意多边形: 形状 175">
            <a:extLst>
              <a:ext uri="{FF2B5EF4-FFF2-40B4-BE49-F238E27FC236}">
                <a16:creationId xmlns:a16="http://schemas.microsoft.com/office/drawing/2014/main" id="{3A660D7F-F6D5-43CE-9D57-FC7A4C56AA3A}"/>
              </a:ext>
            </a:extLst>
          </p:cNvPr>
          <p:cNvSpPr/>
          <p:nvPr/>
        </p:nvSpPr>
        <p:spPr bwMode="auto">
          <a:xfrm>
            <a:off x="6551319" y="4110654"/>
            <a:ext cx="44166" cy="79498"/>
          </a:xfrm>
          <a:custGeom>
            <a:avLst/>
            <a:gdLst>
              <a:gd name="T0" fmla="*/ 10 w 46"/>
              <a:gd name="T1" fmla="*/ 2 h 79"/>
              <a:gd name="T2" fmla="*/ 46 w 46"/>
              <a:gd name="T3" fmla="*/ 79 h 79"/>
              <a:gd name="T4" fmla="*/ 0 w 46"/>
              <a:gd name="T5" fmla="*/ 0 h 79"/>
              <a:gd name="T6" fmla="*/ 10 w 46"/>
              <a:gd name="T7" fmla="*/ 2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6" h="79">
                <a:moveTo>
                  <a:pt x="10" y="2"/>
                </a:moveTo>
                <a:lnTo>
                  <a:pt x="46" y="79"/>
                </a:lnTo>
                <a:lnTo>
                  <a:pt x="0" y="0"/>
                </a:lnTo>
                <a:lnTo>
                  <a:pt x="10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67" name="任意多边形: 形状 166">
            <a:extLst>
              <a:ext uri="{FF2B5EF4-FFF2-40B4-BE49-F238E27FC236}">
                <a16:creationId xmlns:a16="http://schemas.microsoft.com/office/drawing/2014/main" id="{B10497EA-DB8C-4A76-83C5-F5D909DA2A03}"/>
              </a:ext>
            </a:extLst>
          </p:cNvPr>
          <p:cNvSpPr/>
          <p:nvPr/>
        </p:nvSpPr>
        <p:spPr bwMode="auto">
          <a:xfrm>
            <a:off x="5508575" y="3329534"/>
            <a:ext cx="1174850" cy="658978"/>
          </a:xfrm>
          <a:custGeom>
            <a:avLst/>
            <a:gdLst>
              <a:gd name="T0" fmla="*/ 3938 w 4545"/>
              <a:gd name="T1" fmla="*/ 1277 h 2801"/>
              <a:gd name="T2" fmla="*/ 4116 w 4545"/>
              <a:gd name="T3" fmla="*/ 1349 h 2801"/>
              <a:gd name="T4" fmla="*/ 4270 w 4545"/>
              <a:gd name="T5" fmla="*/ 1457 h 2801"/>
              <a:gd name="T6" fmla="*/ 4396 w 4545"/>
              <a:gd name="T7" fmla="*/ 1599 h 2801"/>
              <a:gd name="T8" fmla="*/ 4486 w 4545"/>
              <a:gd name="T9" fmla="*/ 1765 h 2801"/>
              <a:gd name="T10" fmla="*/ 4537 w 4545"/>
              <a:gd name="T11" fmla="*/ 1953 h 2801"/>
              <a:gd name="T12" fmla="*/ 4543 w 4545"/>
              <a:gd name="T13" fmla="*/ 2131 h 2801"/>
              <a:gd name="T14" fmla="*/ 4521 w 4545"/>
              <a:gd name="T15" fmla="*/ 2272 h 2801"/>
              <a:gd name="T16" fmla="*/ 4476 w 4545"/>
              <a:gd name="T17" fmla="*/ 2405 h 2801"/>
              <a:gd name="T18" fmla="*/ 4409 w 4545"/>
              <a:gd name="T19" fmla="*/ 2526 h 2801"/>
              <a:gd name="T20" fmla="*/ 4324 w 4545"/>
              <a:gd name="T21" fmla="*/ 2634 h 2801"/>
              <a:gd name="T22" fmla="*/ 4224 w 4545"/>
              <a:gd name="T23" fmla="*/ 2726 h 2801"/>
              <a:gd name="T24" fmla="*/ 4107 w 4545"/>
              <a:gd name="T25" fmla="*/ 2801 h 2801"/>
              <a:gd name="T26" fmla="*/ 548 w 4545"/>
              <a:gd name="T27" fmla="*/ 2801 h 2801"/>
              <a:gd name="T28" fmla="*/ 407 w 4545"/>
              <a:gd name="T29" fmla="*/ 2754 h 2801"/>
              <a:gd name="T30" fmla="*/ 282 w 4545"/>
              <a:gd name="T31" fmla="*/ 2679 h 2801"/>
              <a:gd name="T32" fmla="*/ 175 w 4545"/>
              <a:gd name="T33" fmla="*/ 2582 h 2801"/>
              <a:gd name="T34" fmla="*/ 91 w 4545"/>
              <a:gd name="T35" fmla="*/ 2464 h 2801"/>
              <a:gd name="T36" fmla="*/ 33 w 4545"/>
              <a:gd name="T37" fmla="*/ 2329 h 2801"/>
              <a:gd name="T38" fmla="*/ 3 w 4545"/>
              <a:gd name="T39" fmla="*/ 2182 h 2801"/>
              <a:gd name="T40" fmla="*/ 8 w 4545"/>
              <a:gd name="T41" fmla="*/ 2018 h 2801"/>
              <a:gd name="T42" fmla="*/ 52 w 4545"/>
              <a:gd name="T43" fmla="*/ 1857 h 2801"/>
              <a:gd name="T44" fmla="*/ 130 w 4545"/>
              <a:gd name="T45" fmla="*/ 1715 h 2801"/>
              <a:gd name="T46" fmla="*/ 239 w 4545"/>
              <a:gd name="T47" fmla="*/ 1596 h 2801"/>
              <a:gd name="T48" fmla="*/ 374 w 4545"/>
              <a:gd name="T49" fmla="*/ 1504 h 2801"/>
              <a:gd name="T50" fmla="*/ 527 w 4545"/>
              <a:gd name="T51" fmla="*/ 1445 h 2801"/>
              <a:gd name="T52" fmla="*/ 653 w 4545"/>
              <a:gd name="T53" fmla="*/ 1401 h 2801"/>
              <a:gd name="T54" fmla="*/ 627 w 4545"/>
              <a:gd name="T55" fmla="*/ 1277 h 2801"/>
              <a:gd name="T56" fmla="*/ 631 w 4545"/>
              <a:gd name="T57" fmla="*/ 1138 h 2801"/>
              <a:gd name="T58" fmla="*/ 669 w 4545"/>
              <a:gd name="T59" fmla="*/ 1004 h 2801"/>
              <a:gd name="T60" fmla="*/ 737 w 4545"/>
              <a:gd name="T61" fmla="*/ 885 h 2801"/>
              <a:gd name="T62" fmla="*/ 831 w 4545"/>
              <a:gd name="T63" fmla="*/ 787 h 2801"/>
              <a:gd name="T64" fmla="*/ 946 w 4545"/>
              <a:gd name="T65" fmla="*/ 713 h 2801"/>
              <a:gd name="T66" fmla="*/ 1078 w 4545"/>
              <a:gd name="T67" fmla="*/ 668 h 2801"/>
              <a:gd name="T68" fmla="*/ 1225 w 4545"/>
              <a:gd name="T69" fmla="*/ 658 h 2801"/>
              <a:gd name="T70" fmla="*/ 1379 w 4545"/>
              <a:gd name="T71" fmla="*/ 688 h 2801"/>
              <a:gd name="T72" fmla="*/ 1515 w 4545"/>
              <a:gd name="T73" fmla="*/ 757 h 2801"/>
              <a:gd name="T74" fmla="*/ 1627 w 4545"/>
              <a:gd name="T75" fmla="*/ 858 h 2801"/>
              <a:gd name="T76" fmla="*/ 1701 w 4545"/>
              <a:gd name="T77" fmla="*/ 638 h 2801"/>
              <a:gd name="T78" fmla="*/ 1818 w 4545"/>
              <a:gd name="T79" fmla="*/ 442 h 2801"/>
              <a:gd name="T80" fmla="*/ 1972 w 4545"/>
              <a:gd name="T81" fmla="*/ 275 h 2801"/>
              <a:gd name="T82" fmla="*/ 2157 w 4545"/>
              <a:gd name="T83" fmla="*/ 143 h 2801"/>
              <a:gd name="T84" fmla="*/ 2368 w 4545"/>
              <a:gd name="T85" fmla="*/ 51 h 2801"/>
              <a:gd name="T86" fmla="*/ 2600 w 4545"/>
              <a:gd name="T87" fmla="*/ 5 h 2801"/>
              <a:gd name="T88" fmla="*/ 2864 w 4545"/>
              <a:gd name="T89" fmla="*/ 14 h 2801"/>
              <a:gd name="T90" fmla="*/ 3124 w 4545"/>
              <a:gd name="T91" fmla="*/ 87 h 2801"/>
              <a:gd name="T92" fmla="*/ 3353 w 4545"/>
              <a:gd name="T93" fmla="*/ 218 h 2801"/>
              <a:gd name="T94" fmla="*/ 3543 w 4545"/>
              <a:gd name="T95" fmla="*/ 399 h 2801"/>
              <a:gd name="T96" fmla="*/ 3685 w 4545"/>
              <a:gd name="T97" fmla="*/ 622 h 2801"/>
              <a:gd name="T98" fmla="*/ 3771 w 4545"/>
              <a:gd name="T99" fmla="*/ 875 h 2801"/>
              <a:gd name="T100" fmla="*/ 3793 w 4545"/>
              <a:gd name="T101" fmla="*/ 1117 h 2801"/>
              <a:gd name="T102" fmla="*/ 3787 w 4545"/>
              <a:gd name="T103" fmla="*/ 1213 h 28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545" h="2801">
                <a:moveTo>
                  <a:pt x="3783" y="1251"/>
                </a:moveTo>
                <a:lnTo>
                  <a:pt x="3822" y="1255"/>
                </a:lnTo>
                <a:lnTo>
                  <a:pt x="3861" y="1260"/>
                </a:lnTo>
                <a:lnTo>
                  <a:pt x="3900" y="1268"/>
                </a:lnTo>
                <a:lnTo>
                  <a:pt x="3938" y="1277"/>
                </a:lnTo>
                <a:lnTo>
                  <a:pt x="3975" y="1289"/>
                </a:lnTo>
                <a:lnTo>
                  <a:pt x="4011" y="1301"/>
                </a:lnTo>
                <a:lnTo>
                  <a:pt x="4046" y="1315"/>
                </a:lnTo>
                <a:lnTo>
                  <a:pt x="4082" y="1331"/>
                </a:lnTo>
                <a:lnTo>
                  <a:pt x="4116" y="1349"/>
                </a:lnTo>
                <a:lnTo>
                  <a:pt x="4148" y="1368"/>
                </a:lnTo>
                <a:lnTo>
                  <a:pt x="4181" y="1388"/>
                </a:lnTo>
                <a:lnTo>
                  <a:pt x="4211" y="1410"/>
                </a:lnTo>
                <a:lnTo>
                  <a:pt x="4241" y="1433"/>
                </a:lnTo>
                <a:lnTo>
                  <a:pt x="4270" y="1457"/>
                </a:lnTo>
                <a:lnTo>
                  <a:pt x="4298" y="1484"/>
                </a:lnTo>
                <a:lnTo>
                  <a:pt x="4324" y="1510"/>
                </a:lnTo>
                <a:lnTo>
                  <a:pt x="4349" y="1539"/>
                </a:lnTo>
                <a:lnTo>
                  <a:pt x="4373" y="1568"/>
                </a:lnTo>
                <a:lnTo>
                  <a:pt x="4396" y="1599"/>
                </a:lnTo>
                <a:lnTo>
                  <a:pt x="4417" y="1629"/>
                </a:lnTo>
                <a:lnTo>
                  <a:pt x="4436" y="1662"/>
                </a:lnTo>
                <a:lnTo>
                  <a:pt x="4455" y="1696"/>
                </a:lnTo>
                <a:lnTo>
                  <a:pt x="4471" y="1730"/>
                </a:lnTo>
                <a:lnTo>
                  <a:pt x="4486" y="1765"/>
                </a:lnTo>
                <a:lnTo>
                  <a:pt x="4499" y="1801"/>
                </a:lnTo>
                <a:lnTo>
                  <a:pt x="4512" y="1838"/>
                </a:lnTo>
                <a:lnTo>
                  <a:pt x="4522" y="1876"/>
                </a:lnTo>
                <a:lnTo>
                  <a:pt x="4530" y="1913"/>
                </a:lnTo>
                <a:lnTo>
                  <a:pt x="4537" y="1953"/>
                </a:lnTo>
                <a:lnTo>
                  <a:pt x="4541" y="1992"/>
                </a:lnTo>
                <a:lnTo>
                  <a:pt x="4544" y="2032"/>
                </a:lnTo>
                <a:lnTo>
                  <a:pt x="4545" y="2072"/>
                </a:lnTo>
                <a:lnTo>
                  <a:pt x="4545" y="2102"/>
                </a:lnTo>
                <a:lnTo>
                  <a:pt x="4543" y="2131"/>
                </a:lnTo>
                <a:lnTo>
                  <a:pt x="4541" y="2160"/>
                </a:lnTo>
                <a:lnTo>
                  <a:pt x="4537" y="2189"/>
                </a:lnTo>
                <a:lnTo>
                  <a:pt x="4533" y="2216"/>
                </a:lnTo>
                <a:lnTo>
                  <a:pt x="4527" y="2245"/>
                </a:lnTo>
                <a:lnTo>
                  <a:pt x="4521" y="2272"/>
                </a:lnTo>
                <a:lnTo>
                  <a:pt x="4514" y="2300"/>
                </a:lnTo>
                <a:lnTo>
                  <a:pt x="4506" y="2326"/>
                </a:lnTo>
                <a:lnTo>
                  <a:pt x="4496" y="2353"/>
                </a:lnTo>
                <a:lnTo>
                  <a:pt x="4486" y="2379"/>
                </a:lnTo>
                <a:lnTo>
                  <a:pt x="4476" y="2405"/>
                </a:lnTo>
                <a:lnTo>
                  <a:pt x="4464" y="2430"/>
                </a:lnTo>
                <a:lnTo>
                  <a:pt x="4452" y="2455"/>
                </a:lnTo>
                <a:lnTo>
                  <a:pt x="4438" y="2479"/>
                </a:lnTo>
                <a:lnTo>
                  <a:pt x="4424" y="2502"/>
                </a:lnTo>
                <a:lnTo>
                  <a:pt x="4409" y="2526"/>
                </a:lnTo>
                <a:lnTo>
                  <a:pt x="4394" y="2548"/>
                </a:lnTo>
                <a:lnTo>
                  <a:pt x="4377" y="2571"/>
                </a:lnTo>
                <a:lnTo>
                  <a:pt x="4361" y="2592"/>
                </a:lnTo>
                <a:lnTo>
                  <a:pt x="4343" y="2613"/>
                </a:lnTo>
                <a:lnTo>
                  <a:pt x="4324" y="2634"/>
                </a:lnTo>
                <a:lnTo>
                  <a:pt x="4305" y="2653"/>
                </a:lnTo>
                <a:lnTo>
                  <a:pt x="4286" y="2672"/>
                </a:lnTo>
                <a:lnTo>
                  <a:pt x="4265" y="2691"/>
                </a:lnTo>
                <a:lnTo>
                  <a:pt x="4245" y="2709"/>
                </a:lnTo>
                <a:lnTo>
                  <a:pt x="4224" y="2726"/>
                </a:lnTo>
                <a:lnTo>
                  <a:pt x="4201" y="2743"/>
                </a:lnTo>
                <a:lnTo>
                  <a:pt x="4179" y="2758"/>
                </a:lnTo>
                <a:lnTo>
                  <a:pt x="4155" y="2773"/>
                </a:lnTo>
                <a:lnTo>
                  <a:pt x="4132" y="2787"/>
                </a:lnTo>
                <a:lnTo>
                  <a:pt x="4107" y="2801"/>
                </a:lnTo>
                <a:lnTo>
                  <a:pt x="3335" y="2801"/>
                </a:lnTo>
                <a:lnTo>
                  <a:pt x="3335" y="2801"/>
                </a:lnTo>
                <a:lnTo>
                  <a:pt x="846" y="2801"/>
                </a:lnTo>
                <a:lnTo>
                  <a:pt x="845" y="2801"/>
                </a:lnTo>
                <a:lnTo>
                  <a:pt x="548" y="2801"/>
                </a:lnTo>
                <a:lnTo>
                  <a:pt x="518" y="2793"/>
                </a:lnTo>
                <a:lnTo>
                  <a:pt x="490" y="2785"/>
                </a:lnTo>
                <a:lnTo>
                  <a:pt x="462" y="2776"/>
                </a:lnTo>
                <a:lnTo>
                  <a:pt x="435" y="2765"/>
                </a:lnTo>
                <a:lnTo>
                  <a:pt x="407" y="2754"/>
                </a:lnTo>
                <a:lnTo>
                  <a:pt x="381" y="2741"/>
                </a:lnTo>
                <a:lnTo>
                  <a:pt x="355" y="2727"/>
                </a:lnTo>
                <a:lnTo>
                  <a:pt x="330" y="2712"/>
                </a:lnTo>
                <a:lnTo>
                  <a:pt x="306" y="2697"/>
                </a:lnTo>
                <a:lnTo>
                  <a:pt x="282" y="2679"/>
                </a:lnTo>
                <a:lnTo>
                  <a:pt x="259" y="2662"/>
                </a:lnTo>
                <a:lnTo>
                  <a:pt x="237" y="2643"/>
                </a:lnTo>
                <a:lnTo>
                  <a:pt x="216" y="2623"/>
                </a:lnTo>
                <a:lnTo>
                  <a:pt x="196" y="2603"/>
                </a:lnTo>
                <a:lnTo>
                  <a:pt x="175" y="2582"/>
                </a:lnTo>
                <a:lnTo>
                  <a:pt x="157" y="2559"/>
                </a:lnTo>
                <a:lnTo>
                  <a:pt x="139" y="2537"/>
                </a:lnTo>
                <a:lnTo>
                  <a:pt x="122" y="2514"/>
                </a:lnTo>
                <a:lnTo>
                  <a:pt x="106" y="2489"/>
                </a:lnTo>
                <a:lnTo>
                  <a:pt x="91" y="2464"/>
                </a:lnTo>
                <a:lnTo>
                  <a:pt x="77" y="2438"/>
                </a:lnTo>
                <a:lnTo>
                  <a:pt x="64" y="2412"/>
                </a:lnTo>
                <a:lnTo>
                  <a:pt x="52" y="2385"/>
                </a:lnTo>
                <a:lnTo>
                  <a:pt x="42" y="2358"/>
                </a:lnTo>
                <a:lnTo>
                  <a:pt x="33" y="2329"/>
                </a:lnTo>
                <a:lnTo>
                  <a:pt x="24" y="2301"/>
                </a:lnTo>
                <a:lnTo>
                  <a:pt x="16" y="2272"/>
                </a:lnTo>
                <a:lnTo>
                  <a:pt x="11" y="2243"/>
                </a:lnTo>
                <a:lnTo>
                  <a:pt x="6" y="2212"/>
                </a:lnTo>
                <a:lnTo>
                  <a:pt x="3" y="2182"/>
                </a:lnTo>
                <a:lnTo>
                  <a:pt x="1" y="2151"/>
                </a:lnTo>
                <a:lnTo>
                  <a:pt x="0" y="2121"/>
                </a:lnTo>
                <a:lnTo>
                  <a:pt x="1" y="2086"/>
                </a:lnTo>
                <a:lnTo>
                  <a:pt x="4" y="2052"/>
                </a:lnTo>
                <a:lnTo>
                  <a:pt x="8" y="2018"/>
                </a:lnTo>
                <a:lnTo>
                  <a:pt x="13" y="1985"/>
                </a:lnTo>
                <a:lnTo>
                  <a:pt x="20" y="1952"/>
                </a:lnTo>
                <a:lnTo>
                  <a:pt x="30" y="1919"/>
                </a:lnTo>
                <a:lnTo>
                  <a:pt x="40" y="1888"/>
                </a:lnTo>
                <a:lnTo>
                  <a:pt x="52" y="1857"/>
                </a:lnTo>
                <a:lnTo>
                  <a:pt x="65" y="1827"/>
                </a:lnTo>
                <a:lnTo>
                  <a:pt x="80" y="1798"/>
                </a:lnTo>
                <a:lnTo>
                  <a:pt x="95" y="1770"/>
                </a:lnTo>
                <a:lnTo>
                  <a:pt x="112" y="1741"/>
                </a:lnTo>
                <a:lnTo>
                  <a:pt x="130" y="1715"/>
                </a:lnTo>
                <a:lnTo>
                  <a:pt x="150" y="1689"/>
                </a:lnTo>
                <a:lnTo>
                  <a:pt x="171" y="1664"/>
                </a:lnTo>
                <a:lnTo>
                  <a:pt x="193" y="1641"/>
                </a:lnTo>
                <a:lnTo>
                  <a:pt x="216" y="1617"/>
                </a:lnTo>
                <a:lnTo>
                  <a:pt x="239" y="1596"/>
                </a:lnTo>
                <a:lnTo>
                  <a:pt x="265" y="1574"/>
                </a:lnTo>
                <a:lnTo>
                  <a:pt x="290" y="1555"/>
                </a:lnTo>
                <a:lnTo>
                  <a:pt x="317" y="1537"/>
                </a:lnTo>
                <a:lnTo>
                  <a:pt x="345" y="1520"/>
                </a:lnTo>
                <a:lnTo>
                  <a:pt x="374" y="1504"/>
                </a:lnTo>
                <a:lnTo>
                  <a:pt x="402" y="1489"/>
                </a:lnTo>
                <a:lnTo>
                  <a:pt x="433" y="1477"/>
                </a:lnTo>
                <a:lnTo>
                  <a:pt x="463" y="1465"/>
                </a:lnTo>
                <a:lnTo>
                  <a:pt x="495" y="1454"/>
                </a:lnTo>
                <a:lnTo>
                  <a:pt x="527" y="1445"/>
                </a:lnTo>
                <a:lnTo>
                  <a:pt x="560" y="1438"/>
                </a:lnTo>
                <a:lnTo>
                  <a:pt x="593" y="1432"/>
                </a:lnTo>
                <a:lnTo>
                  <a:pt x="627" y="1428"/>
                </a:lnTo>
                <a:lnTo>
                  <a:pt x="661" y="1426"/>
                </a:lnTo>
                <a:lnTo>
                  <a:pt x="653" y="1401"/>
                </a:lnTo>
                <a:lnTo>
                  <a:pt x="645" y="1378"/>
                </a:lnTo>
                <a:lnTo>
                  <a:pt x="639" y="1354"/>
                </a:lnTo>
                <a:lnTo>
                  <a:pt x="634" y="1328"/>
                </a:lnTo>
                <a:lnTo>
                  <a:pt x="630" y="1303"/>
                </a:lnTo>
                <a:lnTo>
                  <a:pt x="627" y="1277"/>
                </a:lnTo>
                <a:lnTo>
                  <a:pt x="625" y="1251"/>
                </a:lnTo>
                <a:lnTo>
                  <a:pt x="624" y="1224"/>
                </a:lnTo>
                <a:lnTo>
                  <a:pt x="625" y="1196"/>
                </a:lnTo>
                <a:lnTo>
                  <a:pt x="627" y="1166"/>
                </a:lnTo>
                <a:lnTo>
                  <a:pt x="631" y="1138"/>
                </a:lnTo>
                <a:lnTo>
                  <a:pt x="636" y="1110"/>
                </a:lnTo>
                <a:lnTo>
                  <a:pt x="642" y="1083"/>
                </a:lnTo>
                <a:lnTo>
                  <a:pt x="650" y="1056"/>
                </a:lnTo>
                <a:lnTo>
                  <a:pt x="659" y="1029"/>
                </a:lnTo>
                <a:lnTo>
                  <a:pt x="669" y="1004"/>
                </a:lnTo>
                <a:lnTo>
                  <a:pt x="680" y="978"/>
                </a:lnTo>
                <a:lnTo>
                  <a:pt x="693" y="954"/>
                </a:lnTo>
                <a:lnTo>
                  <a:pt x="707" y="930"/>
                </a:lnTo>
                <a:lnTo>
                  <a:pt x="722" y="907"/>
                </a:lnTo>
                <a:lnTo>
                  <a:pt x="737" y="885"/>
                </a:lnTo>
                <a:lnTo>
                  <a:pt x="754" y="863"/>
                </a:lnTo>
                <a:lnTo>
                  <a:pt x="772" y="843"/>
                </a:lnTo>
                <a:lnTo>
                  <a:pt x="791" y="824"/>
                </a:lnTo>
                <a:lnTo>
                  <a:pt x="810" y="804"/>
                </a:lnTo>
                <a:lnTo>
                  <a:pt x="831" y="787"/>
                </a:lnTo>
                <a:lnTo>
                  <a:pt x="853" y="770"/>
                </a:lnTo>
                <a:lnTo>
                  <a:pt x="875" y="753"/>
                </a:lnTo>
                <a:lnTo>
                  <a:pt x="898" y="739"/>
                </a:lnTo>
                <a:lnTo>
                  <a:pt x="921" y="725"/>
                </a:lnTo>
                <a:lnTo>
                  <a:pt x="946" y="713"/>
                </a:lnTo>
                <a:lnTo>
                  <a:pt x="971" y="701"/>
                </a:lnTo>
                <a:lnTo>
                  <a:pt x="998" y="691"/>
                </a:lnTo>
                <a:lnTo>
                  <a:pt x="1023" y="682"/>
                </a:lnTo>
                <a:lnTo>
                  <a:pt x="1051" y="675"/>
                </a:lnTo>
                <a:lnTo>
                  <a:pt x="1078" y="668"/>
                </a:lnTo>
                <a:lnTo>
                  <a:pt x="1106" y="664"/>
                </a:lnTo>
                <a:lnTo>
                  <a:pt x="1134" y="660"/>
                </a:lnTo>
                <a:lnTo>
                  <a:pt x="1164" y="658"/>
                </a:lnTo>
                <a:lnTo>
                  <a:pt x="1192" y="657"/>
                </a:lnTo>
                <a:lnTo>
                  <a:pt x="1225" y="658"/>
                </a:lnTo>
                <a:lnTo>
                  <a:pt x="1257" y="661"/>
                </a:lnTo>
                <a:lnTo>
                  <a:pt x="1289" y="665"/>
                </a:lnTo>
                <a:lnTo>
                  <a:pt x="1319" y="671"/>
                </a:lnTo>
                <a:lnTo>
                  <a:pt x="1350" y="679"/>
                </a:lnTo>
                <a:lnTo>
                  <a:pt x="1379" y="688"/>
                </a:lnTo>
                <a:lnTo>
                  <a:pt x="1408" y="699"/>
                </a:lnTo>
                <a:lnTo>
                  <a:pt x="1435" y="712"/>
                </a:lnTo>
                <a:lnTo>
                  <a:pt x="1463" y="725"/>
                </a:lnTo>
                <a:lnTo>
                  <a:pt x="1489" y="740"/>
                </a:lnTo>
                <a:lnTo>
                  <a:pt x="1515" y="757"/>
                </a:lnTo>
                <a:lnTo>
                  <a:pt x="1539" y="775"/>
                </a:lnTo>
                <a:lnTo>
                  <a:pt x="1563" y="794"/>
                </a:lnTo>
                <a:lnTo>
                  <a:pt x="1585" y="814"/>
                </a:lnTo>
                <a:lnTo>
                  <a:pt x="1606" y="836"/>
                </a:lnTo>
                <a:lnTo>
                  <a:pt x="1627" y="858"/>
                </a:lnTo>
                <a:lnTo>
                  <a:pt x="1638" y="812"/>
                </a:lnTo>
                <a:lnTo>
                  <a:pt x="1651" y="768"/>
                </a:lnTo>
                <a:lnTo>
                  <a:pt x="1665" y="724"/>
                </a:lnTo>
                <a:lnTo>
                  <a:pt x="1683" y="681"/>
                </a:lnTo>
                <a:lnTo>
                  <a:pt x="1701" y="638"/>
                </a:lnTo>
                <a:lnTo>
                  <a:pt x="1721" y="597"/>
                </a:lnTo>
                <a:lnTo>
                  <a:pt x="1743" y="557"/>
                </a:lnTo>
                <a:lnTo>
                  <a:pt x="1766" y="517"/>
                </a:lnTo>
                <a:lnTo>
                  <a:pt x="1792" y="480"/>
                </a:lnTo>
                <a:lnTo>
                  <a:pt x="1818" y="442"/>
                </a:lnTo>
                <a:lnTo>
                  <a:pt x="1846" y="406"/>
                </a:lnTo>
                <a:lnTo>
                  <a:pt x="1875" y="372"/>
                </a:lnTo>
                <a:lnTo>
                  <a:pt x="1906" y="338"/>
                </a:lnTo>
                <a:lnTo>
                  <a:pt x="1938" y="306"/>
                </a:lnTo>
                <a:lnTo>
                  <a:pt x="1972" y="275"/>
                </a:lnTo>
                <a:lnTo>
                  <a:pt x="2006" y="246"/>
                </a:lnTo>
                <a:lnTo>
                  <a:pt x="2042" y="218"/>
                </a:lnTo>
                <a:lnTo>
                  <a:pt x="2080" y="192"/>
                </a:lnTo>
                <a:lnTo>
                  <a:pt x="2117" y="166"/>
                </a:lnTo>
                <a:lnTo>
                  <a:pt x="2157" y="143"/>
                </a:lnTo>
                <a:lnTo>
                  <a:pt x="2197" y="121"/>
                </a:lnTo>
                <a:lnTo>
                  <a:pt x="2239" y="101"/>
                </a:lnTo>
                <a:lnTo>
                  <a:pt x="2281" y="83"/>
                </a:lnTo>
                <a:lnTo>
                  <a:pt x="2324" y="66"/>
                </a:lnTo>
                <a:lnTo>
                  <a:pt x="2368" y="51"/>
                </a:lnTo>
                <a:lnTo>
                  <a:pt x="2413" y="38"/>
                </a:lnTo>
                <a:lnTo>
                  <a:pt x="2458" y="27"/>
                </a:lnTo>
                <a:lnTo>
                  <a:pt x="2505" y="18"/>
                </a:lnTo>
                <a:lnTo>
                  <a:pt x="2552" y="11"/>
                </a:lnTo>
                <a:lnTo>
                  <a:pt x="2600" y="5"/>
                </a:lnTo>
                <a:lnTo>
                  <a:pt x="2648" y="2"/>
                </a:lnTo>
                <a:lnTo>
                  <a:pt x="2697" y="0"/>
                </a:lnTo>
                <a:lnTo>
                  <a:pt x="2754" y="2"/>
                </a:lnTo>
                <a:lnTo>
                  <a:pt x="2809" y="6"/>
                </a:lnTo>
                <a:lnTo>
                  <a:pt x="2864" y="14"/>
                </a:lnTo>
                <a:lnTo>
                  <a:pt x="2918" y="23"/>
                </a:lnTo>
                <a:lnTo>
                  <a:pt x="2970" y="35"/>
                </a:lnTo>
                <a:lnTo>
                  <a:pt x="3023" y="50"/>
                </a:lnTo>
                <a:lnTo>
                  <a:pt x="3074" y="68"/>
                </a:lnTo>
                <a:lnTo>
                  <a:pt x="3124" y="87"/>
                </a:lnTo>
                <a:lnTo>
                  <a:pt x="3172" y="109"/>
                </a:lnTo>
                <a:lnTo>
                  <a:pt x="3220" y="133"/>
                </a:lnTo>
                <a:lnTo>
                  <a:pt x="3266" y="159"/>
                </a:lnTo>
                <a:lnTo>
                  <a:pt x="3309" y="188"/>
                </a:lnTo>
                <a:lnTo>
                  <a:pt x="3353" y="218"/>
                </a:lnTo>
                <a:lnTo>
                  <a:pt x="3394" y="251"/>
                </a:lnTo>
                <a:lnTo>
                  <a:pt x="3434" y="285"/>
                </a:lnTo>
                <a:lnTo>
                  <a:pt x="3472" y="322"/>
                </a:lnTo>
                <a:lnTo>
                  <a:pt x="3509" y="360"/>
                </a:lnTo>
                <a:lnTo>
                  <a:pt x="3543" y="399"/>
                </a:lnTo>
                <a:lnTo>
                  <a:pt x="3575" y="441"/>
                </a:lnTo>
                <a:lnTo>
                  <a:pt x="3606" y="484"/>
                </a:lnTo>
                <a:lnTo>
                  <a:pt x="3634" y="528"/>
                </a:lnTo>
                <a:lnTo>
                  <a:pt x="3661" y="574"/>
                </a:lnTo>
                <a:lnTo>
                  <a:pt x="3685" y="622"/>
                </a:lnTo>
                <a:lnTo>
                  <a:pt x="3707" y="670"/>
                </a:lnTo>
                <a:lnTo>
                  <a:pt x="3727" y="720"/>
                </a:lnTo>
                <a:lnTo>
                  <a:pt x="3744" y="771"/>
                </a:lnTo>
                <a:lnTo>
                  <a:pt x="3758" y="823"/>
                </a:lnTo>
                <a:lnTo>
                  <a:pt x="3771" y="875"/>
                </a:lnTo>
                <a:lnTo>
                  <a:pt x="3781" y="929"/>
                </a:lnTo>
                <a:lnTo>
                  <a:pt x="3788" y="984"/>
                </a:lnTo>
                <a:lnTo>
                  <a:pt x="3792" y="1040"/>
                </a:lnTo>
                <a:lnTo>
                  <a:pt x="3793" y="1096"/>
                </a:lnTo>
                <a:lnTo>
                  <a:pt x="3793" y="1117"/>
                </a:lnTo>
                <a:lnTo>
                  <a:pt x="3793" y="1136"/>
                </a:lnTo>
                <a:lnTo>
                  <a:pt x="3792" y="1155"/>
                </a:lnTo>
                <a:lnTo>
                  <a:pt x="3791" y="1175"/>
                </a:lnTo>
                <a:lnTo>
                  <a:pt x="3789" y="1194"/>
                </a:lnTo>
                <a:lnTo>
                  <a:pt x="3787" y="1213"/>
                </a:lnTo>
                <a:lnTo>
                  <a:pt x="3785" y="1232"/>
                </a:lnTo>
                <a:lnTo>
                  <a:pt x="3783" y="125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68" name="任意多边形: 形状 167">
            <a:extLst>
              <a:ext uri="{FF2B5EF4-FFF2-40B4-BE49-F238E27FC236}">
                <a16:creationId xmlns:a16="http://schemas.microsoft.com/office/drawing/2014/main" id="{9BA27179-3852-4A74-B7D3-57B7431E678C}"/>
              </a:ext>
            </a:extLst>
          </p:cNvPr>
          <p:cNvSpPr/>
          <p:nvPr/>
        </p:nvSpPr>
        <p:spPr>
          <a:xfrm>
            <a:off x="6003635" y="3512208"/>
            <a:ext cx="314036" cy="367520"/>
          </a:xfrm>
          <a:custGeom>
            <a:avLst/>
            <a:gdLst>
              <a:gd name="connsiteX0" fmla="*/ 91453 w 518515"/>
              <a:gd name="connsiteY0" fmla="*/ 203612 h 606823"/>
              <a:gd name="connsiteX1" fmla="*/ 427062 w 518515"/>
              <a:gd name="connsiteY1" fmla="*/ 203612 h 606823"/>
              <a:gd name="connsiteX2" fmla="*/ 427062 w 518515"/>
              <a:gd name="connsiteY2" fmla="*/ 452386 h 606823"/>
              <a:gd name="connsiteX3" fmla="*/ 393763 w 518515"/>
              <a:gd name="connsiteY3" fmla="*/ 485544 h 606823"/>
              <a:gd name="connsiteX4" fmla="*/ 358208 w 518515"/>
              <a:gd name="connsiteY4" fmla="*/ 485544 h 606823"/>
              <a:gd name="connsiteX5" fmla="*/ 358208 w 518515"/>
              <a:gd name="connsiteY5" fmla="*/ 570602 h 606823"/>
              <a:gd name="connsiteX6" fmla="*/ 321930 w 518515"/>
              <a:gd name="connsiteY6" fmla="*/ 606823 h 606823"/>
              <a:gd name="connsiteX7" fmla="*/ 320396 w 518515"/>
              <a:gd name="connsiteY7" fmla="*/ 606823 h 606823"/>
              <a:gd name="connsiteX8" fmla="*/ 284119 w 518515"/>
              <a:gd name="connsiteY8" fmla="*/ 570602 h 606823"/>
              <a:gd name="connsiteX9" fmla="*/ 284119 w 518515"/>
              <a:gd name="connsiteY9" fmla="*/ 485544 h 606823"/>
              <a:gd name="connsiteX10" fmla="*/ 234396 w 518515"/>
              <a:gd name="connsiteY10" fmla="*/ 485544 h 606823"/>
              <a:gd name="connsiteX11" fmla="*/ 234396 w 518515"/>
              <a:gd name="connsiteY11" fmla="*/ 570602 h 606823"/>
              <a:gd name="connsiteX12" fmla="*/ 198119 w 518515"/>
              <a:gd name="connsiteY12" fmla="*/ 606823 h 606823"/>
              <a:gd name="connsiteX13" fmla="*/ 196585 w 518515"/>
              <a:gd name="connsiteY13" fmla="*/ 606823 h 606823"/>
              <a:gd name="connsiteX14" fmla="*/ 160307 w 518515"/>
              <a:gd name="connsiteY14" fmla="*/ 570602 h 606823"/>
              <a:gd name="connsiteX15" fmla="*/ 160307 w 518515"/>
              <a:gd name="connsiteY15" fmla="*/ 485544 h 606823"/>
              <a:gd name="connsiteX16" fmla="*/ 124752 w 518515"/>
              <a:gd name="connsiteY16" fmla="*/ 485544 h 606823"/>
              <a:gd name="connsiteX17" fmla="*/ 91453 w 518515"/>
              <a:gd name="connsiteY17" fmla="*/ 452386 h 606823"/>
              <a:gd name="connsiteX18" fmla="*/ 480781 w 518515"/>
              <a:gd name="connsiteY18" fmla="*/ 197826 h 606823"/>
              <a:gd name="connsiteX19" fmla="*/ 482226 w 518515"/>
              <a:gd name="connsiteY19" fmla="*/ 197826 h 606823"/>
              <a:gd name="connsiteX20" fmla="*/ 518515 w 518515"/>
              <a:gd name="connsiteY20" fmla="*/ 234052 h 606823"/>
              <a:gd name="connsiteX21" fmla="*/ 518515 w 518515"/>
              <a:gd name="connsiteY21" fmla="*/ 391573 h 606823"/>
              <a:gd name="connsiteX22" fmla="*/ 482316 w 518515"/>
              <a:gd name="connsiteY22" fmla="*/ 427799 h 606823"/>
              <a:gd name="connsiteX23" fmla="*/ 480781 w 518515"/>
              <a:gd name="connsiteY23" fmla="*/ 427799 h 606823"/>
              <a:gd name="connsiteX24" fmla="*/ 444492 w 518515"/>
              <a:gd name="connsiteY24" fmla="*/ 391573 h 606823"/>
              <a:gd name="connsiteX25" fmla="*/ 444492 w 518515"/>
              <a:gd name="connsiteY25" fmla="*/ 234052 h 606823"/>
              <a:gd name="connsiteX26" fmla="*/ 480781 w 518515"/>
              <a:gd name="connsiteY26" fmla="*/ 197826 h 606823"/>
              <a:gd name="connsiteX27" fmla="*/ 36280 w 518515"/>
              <a:gd name="connsiteY27" fmla="*/ 197826 h 606823"/>
              <a:gd name="connsiteX28" fmla="*/ 37814 w 518515"/>
              <a:gd name="connsiteY28" fmla="*/ 197826 h 606823"/>
              <a:gd name="connsiteX29" fmla="*/ 74094 w 518515"/>
              <a:gd name="connsiteY29" fmla="*/ 234052 h 606823"/>
              <a:gd name="connsiteX30" fmla="*/ 74094 w 518515"/>
              <a:gd name="connsiteY30" fmla="*/ 391573 h 606823"/>
              <a:gd name="connsiteX31" fmla="*/ 37814 w 518515"/>
              <a:gd name="connsiteY31" fmla="*/ 427799 h 606823"/>
              <a:gd name="connsiteX32" fmla="*/ 36280 w 518515"/>
              <a:gd name="connsiteY32" fmla="*/ 427799 h 606823"/>
              <a:gd name="connsiteX33" fmla="*/ 0 w 518515"/>
              <a:gd name="connsiteY33" fmla="*/ 391573 h 606823"/>
              <a:gd name="connsiteX34" fmla="*/ 0 w 518515"/>
              <a:gd name="connsiteY34" fmla="*/ 234052 h 606823"/>
              <a:gd name="connsiteX35" fmla="*/ 36280 w 518515"/>
              <a:gd name="connsiteY35" fmla="*/ 197826 h 606823"/>
              <a:gd name="connsiteX36" fmla="*/ 337374 w 518515"/>
              <a:gd name="connsiteY36" fmla="*/ 98478 h 606823"/>
              <a:gd name="connsiteX37" fmla="*/ 321128 w 518515"/>
              <a:gd name="connsiteY37" fmla="*/ 114697 h 606823"/>
              <a:gd name="connsiteX38" fmla="*/ 337374 w 518515"/>
              <a:gd name="connsiteY38" fmla="*/ 130825 h 606823"/>
              <a:gd name="connsiteX39" fmla="*/ 353620 w 518515"/>
              <a:gd name="connsiteY39" fmla="*/ 114697 h 606823"/>
              <a:gd name="connsiteX40" fmla="*/ 337374 w 518515"/>
              <a:gd name="connsiteY40" fmla="*/ 98478 h 606823"/>
              <a:gd name="connsiteX41" fmla="*/ 181141 w 518515"/>
              <a:gd name="connsiteY41" fmla="*/ 98478 h 606823"/>
              <a:gd name="connsiteX42" fmla="*/ 164895 w 518515"/>
              <a:gd name="connsiteY42" fmla="*/ 114697 h 606823"/>
              <a:gd name="connsiteX43" fmla="*/ 181141 w 518515"/>
              <a:gd name="connsiteY43" fmla="*/ 130825 h 606823"/>
              <a:gd name="connsiteX44" fmla="*/ 197387 w 518515"/>
              <a:gd name="connsiteY44" fmla="*/ 114697 h 606823"/>
              <a:gd name="connsiteX45" fmla="*/ 181141 w 518515"/>
              <a:gd name="connsiteY45" fmla="*/ 98478 h 606823"/>
              <a:gd name="connsiteX46" fmla="*/ 149190 w 518515"/>
              <a:gd name="connsiteY46" fmla="*/ 986 h 606823"/>
              <a:gd name="connsiteX47" fmla="*/ 157494 w 518515"/>
              <a:gd name="connsiteY47" fmla="*/ 2698 h 606823"/>
              <a:gd name="connsiteX48" fmla="*/ 186737 w 518515"/>
              <a:gd name="connsiteY48" fmla="*/ 47840 h 606823"/>
              <a:gd name="connsiteX49" fmla="*/ 259303 w 518515"/>
              <a:gd name="connsiteY49" fmla="*/ 33784 h 606823"/>
              <a:gd name="connsiteX50" fmla="*/ 331778 w 518515"/>
              <a:gd name="connsiteY50" fmla="*/ 47840 h 606823"/>
              <a:gd name="connsiteX51" fmla="*/ 361021 w 518515"/>
              <a:gd name="connsiteY51" fmla="*/ 2698 h 606823"/>
              <a:gd name="connsiteX52" fmla="*/ 369415 w 518515"/>
              <a:gd name="connsiteY52" fmla="*/ 986 h 606823"/>
              <a:gd name="connsiteX53" fmla="*/ 371130 w 518515"/>
              <a:gd name="connsiteY53" fmla="*/ 9276 h 606823"/>
              <a:gd name="connsiteX54" fmla="*/ 342880 w 518515"/>
              <a:gd name="connsiteY54" fmla="*/ 52796 h 606823"/>
              <a:gd name="connsiteX55" fmla="*/ 428262 w 518515"/>
              <a:gd name="connsiteY55" fmla="*/ 178761 h 606823"/>
              <a:gd name="connsiteX56" fmla="*/ 427811 w 518515"/>
              <a:gd name="connsiteY56" fmla="*/ 188582 h 606823"/>
              <a:gd name="connsiteX57" fmla="*/ 90795 w 518515"/>
              <a:gd name="connsiteY57" fmla="*/ 188582 h 606823"/>
              <a:gd name="connsiteX58" fmla="*/ 90253 w 518515"/>
              <a:gd name="connsiteY58" fmla="*/ 178761 h 606823"/>
              <a:gd name="connsiteX59" fmla="*/ 175726 w 518515"/>
              <a:gd name="connsiteY59" fmla="*/ 52796 h 606823"/>
              <a:gd name="connsiteX60" fmla="*/ 147385 w 518515"/>
              <a:gd name="connsiteY60" fmla="*/ 9276 h 606823"/>
              <a:gd name="connsiteX61" fmla="*/ 149190 w 518515"/>
              <a:gd name="connsiteY61" fmla="*/ 986 h 6068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518515" h="606823">
                <a:moveTo>
                  <a:pt x="91453" y="203612"/>
                </a:moveTo>
                <a:lnTo>
                  <a:pt x="427062" y="203612"/>
                </a:lnTo>
                <a:lnTo>
                  <a:pt x="427062" y="452386"/>
                </a:lnTo>
                <a:cubicBezTo>
                  <a:pt x="427062" y="470677"/>
                  <a:pt x="412082" y="485544"/>
                  <a:pt x="393763" y="485544"/>
                </a:cubicBezTo>
                <a:lnTo>
                  <a:pt x="358208" y="485544"/>
                </a:lnTo>
                <a:lnTo>
                  <a:pt x="358208" y="570602"/>
                </a:lnTo>
                <a:cubicBezTo>
                  <a:pt x="358208" y="590605"/>
                  <a:pt x="341964" y="606823"/>
                  <a:pt x="321930" y="606823"/>
                </a:cubicBezTo>
                <a:lnTo>
                  <a:pt x="320396" y="606823"/>
                </a:lnTo>
                <a:cubicBezTo>
                  <a:pt x="300543" y="606823"/>
                  <a:pt x="284119" y="590605"/>
                  <a:pt x="284119" y="570602"/>
                </a:cubicBezTo>
                <a:lnTo>
                  <a:pt x="284119" y="485544"/>
                </a:lnTo>
                <a:lnTo>
                  <a:pt x="234396" y="485544"/>
                </a:lnTo>
                <a:lnTo>
                  <a:pt x="234396" y="570602"/>
                </a:lnTo>
                <a:cubicBezTo>
                  <a:pt x="234396" y="590605"/>
                  <a:pt x="218062" y="606823"/>
                  <a:pt x="198119" y="606823"/>
                </a:cubicBezTo>
                <a:lnTo>
                  <a:pt x="196585" y="606823"/>
                </a:lnTo>
                <a:cubicBezTo>
                  <a:pt x="176641" y="606823"/>
                  <a:pt x="160307" y="590605"/>
                  <a:pt x="160307" y="570602"/>
                </a:cubicBezTo>
                <a:lnTo>
                  <a:pt x="160307" y="485544"/>
                </a:lnTo>
                <a:lnTo>
                  <a:pt x="124752" y="485544"/>
                </a:lnTo>
                <a:cubicBezTo>
                  <a:pt x="106433" y="485544"/>
                  <a:pt x="91453" y="470677"/>
                  <a:pt x="91453" y="452386"/>
                </a:cubicBezTo>
                <a:close/>
                <a:moveTo>
                  <a:pt x="480781" y="197826"/>
                </a:moveTo>
                <a:lnTo>
                  <a:pt x="482226" y="197826"/>
                </a:lnTo>
                <a:cubicBezTo>
                  <a:pt x="502266" y="197826"/>
                  <a:pt x="518515" y="214137"/>
                  <a:pt x="518515" y="234052"/>
                </a:cubicBezTo>
                <a:lnTo>
                  <a:pt x="518515" y="391573"/>
                </a:lnTo>
                <a:cubicBezTo>
                  <a:pt x="518515" y="411488"/>
                  <a:pt x="502266" y="427799"/>
                  <a:pt x="482316" y="427799"/>
                </a:cubicBezTo>
                <a:lnTo>
                  <a:pt x="480781" y="427799"/>
                </a:lnTo>
                <a:cubicBezTo>
                  <a:pt x="460831" y="427799"/>
                  <a:pt x="444492" y="411488"/>
                  <a:pt x="444492" y="391573"/>
                </a:cubicBezTo>
                <a:lnTo>
                  <a:pt x="444492" y="234052"/>
                </a:lnTo>
                <a:cubicBezTo>
                  <a:pt x="444492" y="214137"/>
                  <a:pt x="460741" y="197826"/>
                  <a:pt x="480781" y="197826"/>
                </a:cubicBezTo>
                <a:close/>
                <a:moveTo>
                  <a:pt x="36280" y="197826"/>
                </a:moveTo>
                <a:lnTo>
                  <a:pt x="37814" y="197826"/>
                </a:lnTo>
                <a:cubicBezTo>
                  <a:pt x="57759" y="197826"/>
                  <a:pt x="74004" y="214137"/>
                  <a:pt x="74094" y="234052"/>
                </a:cubicBezTo>
                <a:lnTo>
                  <a:pt x="74094" y="391573"/>
                </a:lnTo>
                <a:cubicBezTo>
                  <a:pt x="74094" y="411488"/>
                  <a:pt x="57759" y="427799"/>
                  <a:pt x="37814" y="427799"/>
                </a:cubicBezTo>
                <a:lnTo>
                  <a:pt x="36280" y="427799"/>
                </a:lnTo>
                <a:cubicBezTo>
                  <a:pt x="16245" y="427799"/>
                  <a:pt x="0" y="411488"/>
                  <a:pt x="0" y="391573"/>
                </a:cubicBezTo>
                <a:lnTo>
                  <a:pt x="0" y="234052"/>
                </a:lnTo>
                <a:cubicBezTo>
                  <a:pt x="0" y="214137"/>
                  <a:pt x="16245" y="197826"/>
                  <a:pt x="36280" y="197826"/>
                </a:cubicBezTo>
                <a:close/>
                <a:moveTo>
                  <a:pt x="337374" y="98478"/>
                </a:moveTo>
                <a:cubicBezTo>
                  <a:pt x="328439" y="98478"/>
                  <a:pt x="321128" y="105687"/>
                  <a:pt x="321128" y="114697"/>
                </a:cubicBezTo>
                <a:cubicBezTo>
                  <a:pt x="321128" y="123617"/>
                  <a:pt x="328439" y="130825"/>
                  <a:pt x="337374" y="130825"/>
                </a:cubicBezTo>
                <a:cubicBezTo>
                  <a:pt x="346400" y="130825"/>
                  <a:pt x="353620" y="123617"/>
                  <a:pt x="353620" y="114697"/>
                </a:cubicBezTo>
                <a:cubicBezTo>
                  <a:pt x="353620" y="105687"/>
                  <a:pt x="346400" y="98478"/>
                  <a:pt x="337374" y="98478"/>
                </a:cubicBezTo>
                <a:close/>
                <a:moveTo>
                  <a:pt x="181141" y="98478"/>
                </a:moveTo>
                <a:cubicBezTo>
                  <a:pt x="172206" y="98478"/>
                  <a:pt x="164895" y="105687"/>
                  <a:pt x="164895" y="114697"/>
                </a:cubicBezTo>
                <a:cubicBezTo>
                  <a:pt x="164895" y="123617"/>
                  <a:pt x="172206" y="130825"/>
                  <a:pt x="181141" y="130825"/>
                </a:cubicBezTo>
                <a:cubicBezTo>
                  <a:pt x="190076" y="130825"/>
                  <a:pt x="197387" y="123617"/>
                  <a:pt x="197387" y="114697"/>
                </a:cubicBezTo>
                <a:cubicBezTo>
                  <a:pt x="197387" y="105687"/>
                  <a:pt x="190166" y="98478"/>
                  <a:pt x="181141" y="98478"/>
                </a:cubicBezTo>
                <a:close/>
                <a:moveTo>
                  <a:pt x="149190" y="986"/>
                </a:moveTo>
                <a:cubicBezTo>
                  <a:pt x="151988" y="-816"/>
                  <a:pt x="155779" y="-95"/>
                  <a:pt x="157494" y="2698"/>
                </a:cubicBezTo>
                <a:lnTo>
                  <a:pt x="186737" y="47840"/>
                </a:lnTo>
                <a:cubicBezTo>
                  <a:pt x="208849" y="38830"/>
                  <a:pt x="233309" y="33784"/>
                  <a:pt x="259303" y="33784"/>
                </a:cubicBezTo>
                <a:cubicBezTo>
                  <a:pt x="285206" y="33784"/>
                  <a:pt x="309756" y="38830"/>
                  <a:pt x="331778" y="47840"/>
                </a:cubicBezTo>
                <a:lnTo>
                  <a:pt x="361021" y="2698"/>
                </a:lnTo>
                <a:cubicBezTo>
                  <a:pt x="362826" y="-95"/>
                  <a:pt x="366617" y="-816"/>
                  <a:pt x="369415" y="986"/>
                </a:cubicBezTo>
                <a:cubicBezTo>
                  <a:pt x="372123" y="2788"/>
                  <a:pt x="372935" y="6482"/>
                  <a:pt x="371130" y="9276"/>
                </a:cubicBezTo>
                <a:lnTo>
                  <a:pt x="342880" y="52796"/>
                </a:lnTo>
                <a:cubicBezTo>
                  <a:pt x="393874" y="77754"/>
                  <a:pt x="428262" y="124789"/>
                  <a:pt x="428262" y="178761"/>
                </a:cubicBezTo>
                <a:cubicBezTo>
                  <a:pt x="428262" y="182094"/>
                  <a:pt x="428082" y="185338"/>
                  <a:pt x="427811" y="188582"/>
                </a:cubicBezTo>
                <a:lnTo>
                  <a:pt x="90795" y="188582"/>
                </a:lnTo>
                <a:cubicBezTo>
                  <a:pt x="90524" y="185338"/>
                  <a:pt x="90253" y="182094"/>
                  <a:pt x="90253" y="178761"/>
                </a:cubicBezTo>
                <a:cubicBezTo>
                  <a:pt x="90253" y="124789"/>
                  <a:pt x="124731" y="77754"/>
                  <a:pt x="175726" y="52796"/>
                </a:cubicBezTo>
                <a:lnTo>
                  <a:pt x="147385" y="9276"/>
                </a:lnTo>
                <a:cubicBezTo>
                  <a:pt x="145580" y="6482"/>
                  <a:pt x="146392" y="2788"/>
                  <a:pt x="149190" y="98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/>
          </a:p>
        </p:txBody>
      </p:sp>
      <p:grpSp>
        <p:nvGrpSpPr>
          <p:cNvPr id="161" name="组合 160">
            <a:extLst>
              <a:ext uri="{FF2B5EF4-FFF2-40B4-BE49-F238E27FC236}">
                <a16:creationId xmlns:a16="http://schemas.microsoft.com/office/drawing/2014/main" id="{F01DF803-3FE8-4362-B7BB-C38AE06FD024}"/>
              </a:ext>
            </a:extLst>
          </p:cNvPr>
          <p:cNvGrpSpPr/>
          <p:nvPr/>
        </p:nvGrpSpPr>
        <p:grpSpPr>
          <a:xfrm>
            <a:off x="5641023" y="1130300"/>
            <a:ext cx="909954" cy="510396"/>
            <a:chOff x="5641023" y="1205364"/>
            <a:chExt cx="909954" cy="510396"/>
          </a:xfrm>
        </p:grpSpPr>
        <p:sp>
          <p:nvSpPr>
            <p:cNvPr id="165" name="任意多边形: 形状 164">
              <a:extLst>
                <a:ext uri="{FF2B5EF4-FFF2-40B4-BE49-F238E27FC236}">
                  <a16:creationId xmlns:a16="http://schemas.microsoft.com/office/drawing/2014/main" id="{F81E6681-935E-4292-924F-B0B19922321F}"/>
                </a:ext>
              </a:extLst>
            </p:cNvPr>
            <p:cNvSpPr/>
            <p:nvPr/>
          </p:nvSpPr>
          <p:spPr bwMode="auto">
            <a:xfrm>
              <a:off x="5641023" y="1205364"/>
              <a:ext cx="909954" cy="510396"/>
            </a:xfrm>
            <a:custGeom>
              <a:avLst/>
              <a:gdLst>
                <a:gd name="T0" fmla="*/ 3938 w 4545"/>
                <a:gd name="T1" fmla="*/ 1277 h 2801"/>
                <a:gd name="T2" fmla="*/ 4116 w 4545"/>
                <a:gd name="T3" fmla="*/ 1349 h 2801"/>
                <a:gd name="T4" fmla="*/ 4270 w 4545"/>
                <a:gd name="T5" fmla="*/ 1457 h 2801"/>
                <a:gd name="T6" fmla="*/ 4396 w 4545"/>
                <a:gd name="T7" fmla="*/ 1599 h 2801"/>
                <a:gd name="T8" fmla="*/ 4486 w 4545"/>
                <a:gd name="T9" fmla="*/ 1765 h 2801"/>
                <a:gd name="T10" fmla="*/ 4537 w 4545"/>
                <a:gd name="T11" fmla="*/ 1953 h 2801"/>
                <a:gd name="T12" fmla="*/ 4543 w 4545"/>
                <a:gd name="T13" fmla="*/ 2131 h 2801"/>
                <a:gd name="T14" fmla="*/ 4521 w 4545"/>
                <a:gd name="T15" fmla="*/ 2272 h 2801"/>
                <a:gd name="T16" fmla="*/ 4476 w 4545"/>
                <a:gd name="T17" fmla="*/ 2405 h 2801"/>
                <a:gd name="T18" fmla="*/ 4409 w 4545"/>
                <a:gd name="T19" fmla="*/ 2526 h 2801"/>
                <a:gd name="T20" fmla="*/ 4324 w 4545"/>
                <a:gd name="T21" fmla="*/ 2634 h 2801"/>
                <a:gd name="T22" fmla="*/ 4224 w 4545"/>
                <a:gd name="T23" fmla="*/ 2726 h 2801"/>
                <a:gd name="T24" fmla="*/ 4107 w 4545"/>
                <a:gd name="T25" fmla="*/ 2801 h 2801"/>
                <a:gd name="T26" fmla="*/ 548 w 4545"/>
                <a:gd name="T27" fmla="*/ 2801 h 2801"/>
                <a:gd name="T28" fmla="*/ 407 w 4545"/>
                <a:gd name="T29" fmla="*/ 2754 h 2801"/>
                <a:gd name="T30" fmla="*/ 282 w 4545"/>
                <a:gd name="T31" fmla="*/ 2679 h 2801"/>
                <a:gd name="T32" fmla="*/ 175 w 4545"/>
                <a:gd name="T33" fmla="*/ 2582 h 2801"/>
                <a:gd name="T34" fmla="*/ 91 w 4545"/>
                <a:gd name="T35" fmla="*/ 2464 h 2801"/>
                <a:gd name="T36" fmla="*/ 33 w 4545"/>
                <a:gd name="T37" fmla="*/ 2329 h 2801"/>
                <a:gd name="T38" fmla="*/ 3 w 4545"/>
                <a:gd name="T39" fmla="*/ 2182 h 2801"/>
                <a:gd name="T40" fmla="*/ 8 w 4545"/>
                <a:gd name="T41" fmla="*/ 2018 h 2801"/>
                <a:gd name="T42" fmla="*/ 52 w 4545"/>
                <a:gd name="T43" fmla="*/ 1857 h 2801"/>
                <a:gd name="T44" fmla="*/ 130 w 4545"/>
                <a:gd name="T45" fmla="*/ 1715 h 2801"/>
                <a:gd name="T46" fmla="*/ 239 w 4545"/>
                <a:gd name="T47" fmla="*/ 1596 h 2801"/>
                <a:gd name="T48" fmla="*/ 374 w 4545"/>
                <a:gd name="T49" fmla="*/ 1504 h 2801"/>
                <a:gd name="T50" fmla="*/ 527 w 4545"/>
                <a:gd name="T51" fmla="*/ 1445 h 2801"/>
                <a:gd name="T52" fmla="*/ 653 w 4545"/>
                <a:gd name="T53" fmla="*/ 1401 h 2801"/>
                <a:gd name="T54" fmla="*/ 627 w 4545"/>
                <a:gd name="T55" fmla="*/ 1277 h 2801"/>
                <a:gd name="T56" fmla="*/ 631 w 4545"/>
                <a:gd name="T57" fmla="*/ 1138 h 2801"/>
                <a:gd name="T58" fmla="*/ 669 w 4545"/>
                <a:gd name="T59" fmla="*/ 1004 h 2801"/>
                <a:gd name="T60" fmla="*/ 737 w 4545"/>
                <a:gd name="T61" fmla="*/ 885 h 2801"/>
                <a:gd name="T62" fmla="*/ 831 w 4545"/>
                <a:gd name="T63" fmla="*/ 787 h 2801"/>
                <a:gd name="T64" fmla="*/ 946 w 4545"/>
                <a:gd name="T65" fmla="*/ 713 h 2801"/>
                <a:gd name="T66" fmla="*/ 1078 w 4545"/>
                <a:gd name="T67" fmla="*/ 668 h 2801"/>
                <a:gd name="T68" fmla="*/ 1225 w 4545"/>
                <a:gd name="T69" fmla="*/ 658 h 2801"/>
                <a:gd name="T70" fmla="*/ 1379 w 4545"/>
                <a:gd name="T71" fmla="*/ 688 h 2801"/>
                <a:gd name="T72" fmla="*/ 1515 w 4545"/>
                <a:gd name="T73" fmla="*/ 757 h 2801"/>
                <a:gd name="T74" fmla="*/ 1627 w 4545"/>
                <a:gd name="T75" fmla="*/ 858 h 2801"/>
                <a:gd name="T76" fmla="*/ 1701 w 4545"/>
                <a:gd name="T77" fmla="*/ 638 h 2801"/>
                <a:gd name="T78" fmla="*/ 1818 w 4545"/>
                <a:gd name="T79" fmla="*/ 442 h 2801"/>
                <a:gd name="T80" fmla="*/ 1972 w 4545"/>
                <a:gd name="T81" fmla="*/ 275 h 2801"/>
                <a:gd name="T82" fmla="*/ 2157 w 4545"/>
                <a:gd name="T83" fmla="*/ 143 h 2801"/>
                <a:gd name="T84" fmla="*/ 2368 w 4545"/>
                <a:gd name="T85" fmla="*/ 51 h 2801"/>
                <a:gd name="T86" fmla="*/ 2600 w 4545"/>
                <a:gd name="T87" fmla="*/ 5 h 2801"/>
                <a:gd name="T88" fmla="*/ 2864 w 4545"/>
                <a:gd name="T89" fmla="*/ 14 h 2801"/>
                <a:gd name="T90" fmla="*/ 3124 w 4545"/>
                <a:gd name="T91" fmla="*/ 87 h 2801"/>
                <a:gd name="T92" fmla="*/ 3353 w 4545"/>
                <a:gd name="T93" fmla="*/ 218 h 2801"/>
                <a:gd name="T94" fmla="*/ 3543 w 4545"/>
                <a:gd name="T95" fmla="*/ 399 h 2801"/>
                <a:gd name="T96" fmla="*/ 3685 w 4545"/>
                <a:gd name="T97" fmla="*/ 622 h 2801"/>
                <a:gd name="T98" fmla="*/ 3771 w 4545"/>
                <a:gd name="T99" fmla="*/ 875 h 2801"/>
                <a:gd name="T100" fmla="*/ 3793 w 4545"/>
                <a:gd name="T101" fmla="*/ 1117 h 2801"/>
                <a:gd name="T102" fmla="*/ 3787 w 4545"/>
                <a:gd name="T103" fmla="*/ 1213 h 2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545" h="2801">
                  <a:moveTo>
                    <a:pt x="3783" y="1251"/>
                  </a:moveTo>
                  <a:lnTo>
                    <a:pt x="3822" y="1255"/>
                  </a:lnTo>
                  <a:lnTo>
                    <a:pt x="3861" y="1260"/>
                  </a:lnTo>
                  <a:lnTo>
                    <a:pt x="3900" y="1268"/>
                  </a:lnTo>
                  <a:lnTo>
                    <a:pt x="3938" y="1277"/>
                  </a:lnTo>
                  <a:lnTo>
                    <a:pt x="3975" y="1289"/>
                  </a:lnTo>
                  <a:lnTo>
                    <a:pt x="4011" y="1301"/>
                  </a:lnTo>
                  <a:lnTo>
                    <a:pt x="4046" y="1315"/>
                  </a:lnTo>
                  <a:lnTo>
                    <a:pt x="4082" y="1331"/>
                  </a:lnTo>
                  <a:lnTo>
                    <a:pt x="4116" y="1349"/>
                  </a:lnTo>
                  <a:lnTo>
                    <a:pt x="4148" y="1368"/>
                  </a:lnTo>
                  <a:lnTo>
                    <a:pt x="4181" y="1388"/>
                  </a:lnTo>
                  <a:lnTo>
                    <a:pt x="4211" y="1410"/>
                  </a:lnTo>
                  <a:lnTo>
                    <a:pt x="4241" y="1433"/>
                  </a:lnTo>
                  <a:lnTo>
                    <a:pt x="4270" y="1457"/>
                  </a:lnTo>
                  <a:lnTo>
                    <a:pt x="4298" y="1484"/>
                  </a:lnTo>
                  <a:lnTo>
                    <a:pt x="4324" y="1510"/>
                  </a:lnTo>
                  <a:lnTo>
                    <a:pt x="4349" y="1539"/>
                  </a:lnTo>
                  <a:lnTo>
                    <a:pt x="4373" y="1568"/>
                  </a:lnTo>
                  <a:lnTo>
                    <a:pt x="4396" y="1599"/>
                  </a:lnTo>
                  <a:lnTo>
                    <a:pt x="4417" y="1629"/>
                  </a:lnTo>
                  <a:lnTo>
                    <a:pt x="4436" y="1662"/>
                  </a:lnTo>
                  <a:lnTo>
                    <a:pt x="4455" y="1696"/>
                  </a:lnTo>
                  <a:lnTo>
                    <a:pt x="4471" y="1730"/>
                  </a:lnTo>
                  <a:lnTo>
                    <a:pt x="4486" y="1765"/>
                  </a:lnTo>
                  <a:lnTo>
                    <a:pt x="4499" y="1801"/>
                  </a:lnTo>
                  <a:lnTo>
                    <a:pt x="4512" y="1838"/>
                  </a:lnTo>
                  <a:lnTo>
                    <a:pt x="4522" y="1876"/>
                  </a:lnTo>
                  <a:lnTo>
                    <a:pt x="4530" y="1913"/>
                  </a:lnTo>
                  <a:lnTo>
                    <a:pt x="4537" y="1953"/>
                  </a:lnTo>
                  <a:lnTo>
                    <a:pt x="4541" y="1992"/>
                  </a:lnTo>
                  <a:lnTo>
                    <a:pt x="4544" y="2032"/>
                  </a:lnTo>
                  <a:lnTo>
                    <a:pt x="4545" y="2072"/>
                  </a:lnTo>
                  <a:lnTo>
                    <a:pt x="4545" y="2102"/>
                  </a:lnTo>
                  <a:lnTo>
                    <a:pt x="4543" y="2131"/>
                  </a:lnTo>
                  <a:lnTo>
                    <a:pt x="4541" y="2160"/>
                  </a:lnTo>
                  <a:lnTo>
                    <a:pt x="4537" y="2189"/>
                  </a:lnTo>
                  <a:lnTo>
                    <a:pt x="4533" y="2216"/>
                  </a:lnTo>
                  <a:lnTo>
                    <a:pt x="4527" y="2245"/>
                  </a:lnTo>
                  <a:lnTo>
                    <a:pt x="4521" y="2272"/>
                  </a:lnTo>
                  <a:lnTo>
                    <a:pt x="4514" y="2300"/>
                  </a:lnTo>
                  <a:lnTo>
                    <a:pt x="4506" y="2326"/>
                  </a:lnTo>
                  <a:lnTo>
                    <a:pt x="4496" y="2353"/>
                  </a:lnTo>
                  <a:lnTo>
                    <a:pt x="4486" y="2379"/>
                  </a:lnTo>
                  <a:lnTo>
                    <a:pt x="4476" y="2405"/>
                  </a:lnTo>
                  <a:lnTo>
                    <a:pt x="4464" y="2430"/>
                  </a:lnTo>
                  <a:lnTo>
                    <a:pt x="4452" y="2455"/>
                  </a:lnTo>
                  <a:lnTo>
                    <a:pt x="4438" y="2479"/>
                  </a:lnTo>
                  <a:lnTo>
                    <a:pt x="4424" y="2502"/>
                  </a:lnTo>
                  <a:lnTo>
                    <a:pt x="4409" y="2526"/>
                  </a:lnTo>
                  <a:lnTo>
                    <a:pt x="4394" y="2548"/>
                  </a:lnTo>
                  <a:lnTo>
                    <a:pt x="4377" y="2571"/>
                  </a:lnTo>
                  <a:lnTo>
                    <a:pt x="4361" y="2592"/>
                  </a:lnTo>
                  <a:lnTo>
                    <a:pt x="4343" y="2613"/>
                  </a:lnTo>
                  <a:lnTo>
                    <a:pt x="4324" y="2634"/>
                  </a:lnTo>
                  <a:lnTo>
                    <a:pt x="4305" y="2653"/>
                  </a:lnTo>
                  <a:lnTo>
                    <a:pt x="4286" y="2672"/>
                  </a:lnTo>
                  <a:lnTo>
                    <a:pt x="4265" y="2691"/>
                  </a:lnTo>
                  <a:lnTo>
                    <a:pt x="4245" y="2709"/>
                  </a:lnTo>
                  <a:lnTo>
                    <a:pt x="4224" y="2726"/>
                  </a:lnTo>
                  <a:lnTo>
                    <a:pt x="4201" y="2743"/>
                  </a:lnTo>
                  <a:lnTo>
                    <a:pt x="4179" y="2758"/>
                  </a:lnTo>
                  <a:lnTo>
                    <a:pt x="4155" y="2773"/>
                  </a:lnTo>
                  <a:lnTo>
                    <a:pt x="4132" y="2787"/>
                  </a:lnTo>
                  <a:lnTo>
                    <a:pt x="4107" y="2801"/>
                  </a:lnTo>
                  <a:lnTo>
                    <a:pt x="3335" y="2801"/>
                  </a:lnTo>
                  <a:lnTo>
                    <a:pt x="3335" y="2801"/>
                  </a:lnTo>
                  <a:lnTo>
                    <a:pt x="846" y="2801"/>
                  </a:lnTo>
                  <a:lnTo>
                    <a:pt x="845" y="2801"/>
                  </a:lnTo>
                  <a:lnTo>
                    <a:pt x="548" y="2801"/>
                  </a:lnTo>
                  <a:lnTo>
                    <a:pt x="518" y="2793"/>
                  </a:lnTo>
                  <a:lnTo>
                    <a:pt x="490" y="2785"/>
                  </a:lnTo>
                  <a:lnTo>
                    <a:pt x="462" y="2776"/>
                  </a:lnTo>
                  <a:lnTo>
                    <a:pt x="435" y="2765"/>
                  </a:lnTo>
                  <a:lnTo>
                    <a:pt x="407" y="2754"/>
                  </a:lnTo>
                  <a:lnTo>
                    <a:pt x="381" y="2741"/>
                  </a:lnTo>
                  <a:lnTo>
                    <a:pt x="355" y="2727"/>
                  </a:lnTo>
                  <a:lnTo>
                    <a:pt x="330" y="2712"/>
                  </a:lnTo>
                  <a:lnTo>
                    <a:pt x="306" y="2697"/>
                  </a:lnTo>
                  <a:lnTo>
                    <a:pt x="282" y="2679"/>
                  </a:lnTo>
                  <a:lnTo>
                    <a:pt x="259" y="2662"/>
                  </a:lnTo>
                  <a:lnTo>
                    <a:pt x="237" y="2643"/>
                  </a:lnTo>
                  <a:lnTo>
                    <a:pt x="216" y="2623"/>
                  </a:lnTo>
                  <a:lnTo>
                    <a:pt x="196" y="2603"/>
                  </a:lnTo>
                  <a:lnTo>
                    <a:pt x="175" y="2582"/>
                  </a:lnTo>
                  <a:lnTo>
                    <a:pt x="157" y="2559"/>
                  </a:lnTo>
                  <a:lnTo>
                    <a:pt x="139" y="2537"/>
                  </a:lnTo>
                  <a:lnTo>
                    <a:pt x="122" y="2514"/>
                  </a:lnTo>
                  <a:lnTo>
                    <a:pt x="106" y="2489"/>
                  </a:lnTo>
                  <a:lnTo>
                    <a:pt x="91" y="2464"/>
                  </a:lnTo>
                  <a:lnTo>
                    <a:pt x="77" y="2438"/>
                  </a:lnTo>
                  <a:lnTo>
                    <a:pt x="64" y="2412"/>
                  </a:lnTo>
                  <a:lnTo>
                    <a:pt x="52" y="2385"/>
                  </a:lnTo>
                  <a:lnTo>
                    <a:pt x="42" y="2358"/>
                  </a:lnTo>
                  <a:lnTo>
                    <a:pt x="33" y="2329"/>
                  </a:lnTo>
                  <a:lnTo>
                    <a:pt x="24" y="2301"/>
                  </a:lnTo>
                  <a:lnTo>
                    <a:pt x="16" y="2272"/>
                  </a:lnTo>
                  <a:lnTo>
                    <a:pt x="11" y="2243"/>
                  </a:lnTo>
                  <a:lnTo>
                    <a:pt x="6" y="2212"/>
                  </a:lnTo>
                  <a:lnTo>
                    <a:pt x="3" y="2182"/>
                  </a:lnTo>
                  <a:lnTo>
                    <a:pt x="1" y="2151"/>
                  </a:lnTo>
                  <a:lnTo>
                    <a:pt x="0" y="2121"/>
                  </a:lnTo>
                  <a:lnTo>
                    <a:pt x="1" y="2086"/>
                  </a:lnTo>
                  <a:lnTo>
                    <a:pt x="4" y="2052"/>
                  </a:lnTo>
                  <a:lnTo>
                    <a:pt x="8" y="2018"/>
                  </a:lnTo>
                  <a:lnTo>
                    <a:pt x="13" y="1985"/>
                  </a:lnTo>
                  <a:lnTo>
                    <a:pt x="20" y="1952"/>
                  </a:lnTo>
                  <a:lnTo>
                    <a:pt x="30" y="1919"/>
                  </a:lnTo>
                  <a:lnTo>
                    <a:pt x="40" y="1888"/>
                  </a:lnTo>
                  <a:lnTo>
                    <a:pt x="52" y="1857"/>
                  </a:lnTo>
                  <a:lnTo>
                    <a:pt x="65" y="1827"/>
                  </a:lnTo>
                  <a:lnTo>
                    <a:pt x="80" y="1798"/>
                  </a:lnTo>
                  <a:lnTo>
                    <a:pt x="95" y="1770"/>
                  </a:lnTo>
                  <a:lnTo>
                    <a:pt x="112" y="1741"/>
                  </a:lnTo>
                  <a:lnTo>
                    <a:pt x="130" y="1715"/>
                  </a:lnTo>
                  <a:lnTo>
                    <a:pt x="150" y="1689"/>
                  </a:lnTo>
                  <a:lnTo>
                    <a:pt x="171" y="1664"/>
                  </a:lnTo>
                  <a:lnTo>
                    <a:pt x="193" y="1641"/>
                  </a:lnTo>
                  <a:lnTo>
                    <a:pt x="216" y="1617"/>
                  </a:lnTo>
                  <a:lnTo>
                    <a:pt x="239" y="1596"/>
                  </a:lnTo>
                  <a:lnTo>
                    <a:pt x="265" y="1574"/>
                  </a:lnTo>
                  <a:lnTo>
                    <a:pt x="290" y="1555"/>
                  </a:lnTo>
                  <a:lnTo>
                    <a:pt x="317" y="1537"/>
                  </a:lnTo>
                  <a:lnTo>
                    <a:pt x="345" y="1520"/>
                  </a:lnTo>
                  <a:lnTo>
                    <a:pt x="374" y="1504"/>
                  </a:lnTo>
                  <a:lnTo>
                    <a:pt x="402" y="1489"/>
                  </a:lnTo>
                  <a:lnTo>
                    <a:pt x="433" y="1477"/>
                  </a:lnTo>
                  <a:lnTo>
                    <a:pt x="463" y="1465"/>
                  </a:lnTo>
                  <a:lnTo>
                    <a:pt x="495" y="1454"/>
                  </a:lnTo>
                  <a:lnTo>
                    <a:pt x="527" y="1445"/>
                  </a:lnTo>
                  <a:lnTo>
                    <a:pt x="560" y="1438"/>
                  </a:lnTo>
                  <a:lnTo>
                    <a:pt x="593" y="1432"/>
                  </a:lnTo>
                  <a:lnTo>
                    <a:pt x="627" y="1428"/>
                  </a:lnTo>
                  <a:lnTo>
                    <a:pt x="661" y="1426"/>
                  </a:lnTo>
                  <a:lnTo>
                    <a:pt x="653" y="1401"/>
                  </a:lnTo>
                  <a:lnTo>
                    <a:pt x="645" y="1378"/>
                  </a:lnTo>
                  <a:lnTo>
                    <a:pt x="639" y="1354"/>
                  </a:lnTo>
                  <a:lnTo>
                    <a:pt x="634" y="1328"/>
                  </a:lnTo>
                  <a:lnTo>
                    <a:pt x="630" y="1303"/>
                  </a:lnTo>
                  <a:lnTo>
                    <a:pt x="627" y="1277"/>
                  </a:lnTo>
                  <a:lnTo>
                    <a:pt x="625" y="1251"/>
                  </a:lnTo>
                  <a:lnTo>
                    <a:pt x="624" y="1224"/>
                  </a:lnTo>
                  <a:lnTo>
                    <a:pt x="625" y="1196"/>
                  </a:lnTo>
                  <a:lnTo>
                    <a:pt x="627" y="1166"/>
                  </a:lnTo>
                  <a:lnTo>
                    <a:pt x="631" y="1138"/>
                  </a:lnTo>
                  <a:lnTo>
                    <a:pt x="636" y="1110"/>
                  </a:lnTo>
                  <a:lnTo>
                    <a:pt x="642" y="1083"/>
                  </a:lnTo>
                  <a:lnTo>
                    <a:pt x="650" y="1056"/>
                  </a:lnTo>
                  <a:lnTo>
                    <a:pt x="659" y="1029"/>
                  </a:lnTo>
                  <a:lnTo>
                    <a:pt x="669" y="1004"/>
                  </a:lnTo>
                  <a:lnTo>
                    <a:pt x="680" y="978"/>
                  </a:lnTo>
                  <a:lnTo>
                    <a:pt x="693" y="954"/>
                  </a:lnTo>
                  <a:lnTo>
                    <a:pt x="707" y="930"/>
                  </a:lnTo>
                  <a:lnTo>
                    <a:pt x="722" y="907"/>
                  </a:lnTo>
                  <a:lnTo>
                    <a:pt x="737" y="885"/>
                  </a:lnTo>
                  <a:lnTo>
                    <a:pt x="754" y="863"/>
                  </a:lnTo>
                  <a:lnTo>
                    <a:pt x="772" y="843"/>
                  </a:lnTo>
                  <a:lnTo>
                    <a:pt x="791" y="824"/>
                  </a:lnTo>
                  <a:lnTo>
                    <a:pt x="810" y="804"/>
                  </a:lnTo>
                  <a:lnTo>
                    <a:pt x="831" y="787"/>
                  </a:lnTo>
                  <a:lnTo>
                    <a:pt x="853" y="770"/>
                  </a:lnTo>
                  <a:lnTo>
                    <a:pt x="875" y="753"/>
                  </a:lnTo>
                  <a:lnTo>
                    <a:pt x="898" y="739"/>
                  </a:lnTo>
                  <a:lnTo>
                    <a:pt x="921" y="725"/>
                  </a:lnTo>
                  <a:lnTo>
                    <a:pt x="946" y="713"/>
                  </a:lnTo>
                  <a:lnTo>
                    <a:pt x="971" y="701"/>
                  </a:lnTo>
                  <a:lnTo>
                    <a:pt x="998" y="691"/>
                  </a:lnTo>
                  <a:lnTo>
                    <a:pt x="1023" y="682"/>
                  </a:lnTo>
                  <a:lnTo>
                    <a:pt x="1051" y="675"/>
                  </a:lnTo>
                  <a:lnTo>
                    <a:pt x="1078" y="668"/>
                  </a:lnTo>
                  <a:lnTo>
                    <a:pt x="1106" y="664"/>
                  </a:lnTo>
                  <a:lnTo>
                    <a:pt x="1134" y="660"/>
                  </a:lnTo>
                  <a:lnTo>
                    <a:pt x="1164" y="658"/>
                  </a:lnTo>
                  <a:lnTo>
                    <a:pt x="1192" y="657"/>
                  </a:lnTo>
                  <a:lnTo>
                    <a:pt x="1225" y="658"/>
                  </a:lnTo>
                  <a:lnTo>
                    <a:pt x="1257" y="661"/>
                  </a:lnTo>
                  <a:lnTo>
                    <a:pt x="1289" y="665"/>
                  </a:lnTo>
                  <a:lnTo>
                    <a:pt x="1319" y="671"/>
                  </a:lnTo>
                  <a:lnTo>
                    <a:pt x="1350" y="679"/>
                  </a:lnTo>
                  <a:lnTo>
                    <a:pt x="1379" y="688"/>
                  </a:lnTo>
                  <a:lnTo>
                    <a:pt x="1408" y="699"/>
                  </a:lnTo>
                  <a:lnTo>
                    <a:pt x="1435" y="712"/>
                  </a:lnTo>
                  <a:lnTo>
                    <a:pt x="1463" y="725"/>
                  </a:lnTo>
                  <a:lnTo>
                    <a:pt x="1489" y="740"/>
                  </a:lnTo>
                  <a:lnTo>
                    <a:pt x="1515" y="757"/>
                  </a:lnTo>
                  <a:lnTo>
                    <a:pt x="1539" y="775"/>
                  </a:lnTo>
                  <a:lnTo>
                    <a:pt x="1563" y="794"/>
                  </a:lnTo>
                  <a:lnTo>
                    <a:pt x="1585" y="814"/>
                  </a:lnTo>
                  <a:lnTo>
                    <a:pt x="1606" y="836"/>
                  </a:lnTo>
                  <a:lnTo>
                    <a:pt x="1627" y="858"/>
                  </a:lnTo>
                  <a:lnTo>
                    <a:pt x="1638" y="812"/>
                  </a:lnTo>
                  <a:lnTo>
                    <a:pt x="1651" y="768"/>
                  </a:lnTo>
                  <a:lnTo>
                    <a:pt x="1665" y="724"/>
                  </a:lnTo>
                  <a:lnTo>
                    <a:pt x="1683" y="681"/>
                  </a:lnTo>
                  <a:lnTo>
                    <a:pt x="1701" y="638"/>
                  </a:lnTo>
                  <a:lnTo>
                    <a:pt x="1721" y="597"/>
                  </a:lnTo>
                  <a:lnTo>
                    <a:pt x="1743" y="557"/>
                  </a:lnTo>
                  <a:lnTo>
                    <a:pt x="1766" y="517"/>
                  </a:lnTo>
                  <a:lnTo>
                    <a:pt x="1792" y="480"/>
                  </a:lnTo>
                  <a:lnTo>
                    <a:pt x="1818" y="442"/>
                  </a:lnTo>
                  <a:lnTo>
                    <a:pt x="1846" y="406"/>
                  </a:lnTo>
                  <a:lnTo>
                    <a:pt x="1875" y="372"/>
                  </a:lnTo>
                  <a:lnTo>
                    <a:pt x="1906" y="338"/>
                  </a:lnTo>
                  <a:lnTo>
                    <a:pt x="1938" y="306"/>
                  </a:lnTo>
                  <a:lnTo>
                    <a:pt x="1972" y="275"/>
                  </a:lnTo>
                  <a:lnTo>
                    <a:pt x="2006" y="246"/>
                  </a:lnTo>
                  <a:lnTo>
                    <a:pt x="2042" y="218"/>
                  </a:lnTo>
                  <a:lnTo>
                    <a:pt x="2080" y="192"/>
                  </a:lnTo>
                  <a:lnTo>
                    <a:pt x="2117" y="166"/>
                  </a:lnTo>
                  <a:lnTo>
                    <a:pt x="2157" y="143"/>
                  </a:lnTo>
                  <a:lnTo>
                    <a:pt x="2197" y="121"/>
                  </a:lnTo>
                  <a:lnTo>
                    <a:pt x="2239" y="101"/>
                  </a:lnTo>
                  <a:lnTo>
                    <a:pt x="2281" y="83"/>
                  </a:lnTo>
                  <a:lnTo>
                    <a:pt x="2324" y="66"/>
                  </a:lnTo>
                  <a:lnTo>
                    <a:pt x="2368" y="51"/>
                  </a:lnTo>
                  <a:lnTo>
                    <a:pt x="2413" y="38"/>
                  </a:lnTo>
                  <a:lnTo>
                    <a:pt x="2458" y="27"/>
                  </a:lnTo>
                  <a:lnTo>
                    <a:pt x="2505" y="18"/>
                  </a:lnTo>
                  <a:lnTo>
                    <a:pt x="2552" y="11"/>
                  </a:lnTo>
                  <a:lnTo>
                    <a:pt x="2600" y="5"/>
                  </a:lnTo>
                  <a:lnTo>
                    <a:pt x="2648" y="2"/>
                  </a:lnTo>
                  <a:lnTo>
                    <a:pt x="2697" y="0"/>
                  </a:lnTo>
                  <a:lnTo>
                    <a:pt x="2754" y="2"/>
                  </a:lnTo>
                  <a:lnTo>
                    <a:pt x="2809" y="6"/>
                  </a:lnTo>
                  <a:lnTo>
                    <a:pt x="2864" y="14"/>
                  </a:lnTo>
                  <a:lnTo>
                    <a:pt x="2918" y="23"/>
                  </a:lnTo>
                  <a:lnTo>
                    <a:pt x="2970" y="35"/>
                  </a:lnTo>
                  <a:lnTo>
                    <a:pt x="3023" y="50"/>
                  </a:lnTo>
                  <a:lnTo>
                    <a:pt x="3074" y="68"/>
                  </a:lnTo>
                  <a:lnTo>
                    <a:pt x="3124" y="87"/>
                  </a:lnTo>
                  <a:lnTo>
                    <a:pt x="3172" y="109"/>
                  </a:lnTo>
                  <a:lnTo>
                    <a:pt x="3220" y="133"/>
                  </a:lnTo>
                  <a:lnTo>
                    <a:pt x="3266" y="159"/>
                  </a:lnTo>
                  <a:lnTo>
                    <a:pt x="3309" y="188"/>
                  </a:lnTo>
                  <a:lnTo>
                    <a:pt x="3353" y="218"/>
                  </a:lnTo>
                  <a:lnTo>
                    <a:pt x="3394" y="251"/>
                  </a:lnTo>
                  <a:lnTo>
                    <a:pt x="3434" y="285"/>
                  </a:lnTo>
                  <a:lnTo>
                    <a:pt x="3472" y="322"/>
                  </a:lnTo>
                  <a:lnTo>
                    <a:pt x="3509" y="360"/>
                  </a:lnTo>
                  <a:lnTo>
                    <a:pt x="3543" y="399"/>
                  </a:lnTo>
                  <a:lnTo>
                    <a:pt x="3575" y="441"/>
                  </a:lnTo>
                  <a:lnTo>
                    <a:pt x="3606" y="484"/>
                  </a:lnTo>
                  <a:lnTo>
                    <a:pt x="3634" y="528"/>
                  </a:lnTo>
                  <a:lnTo>
                    <a:pt x="3661" y="574"/>
                  </a:lnTo>
                  <a:lnTo>
                    <a:pt x="3685" y="622"/>
                  </a:lnTo>
                  <a:lnTo>
                    <a:pt x="3707" y="670"/>
                  </a:lnTo>
                  <a:lnTo>
                    <a:pt x="3727" y="720"/>
                  </a:lnTo>
                  <a:lnTo>
                    <a:pt x="3744" y="771"/>
                  </a:lnTo>
                  <a:lnTo>
                    <a:pt x="3758" y="823"/>
                  </a:lnTo>
                  <a:lnTo>
                    <a:pt x="3771" y="875"/>
                  </a:lnTo>
                  <a:lnTo>
                    <a:pt x="3781" y="929"/>
                  </a:lnTo>
                  <a:lnTo>
                    <a:pt x="3788" y="984"/>
                  </a:lnTo>
                  <a:lnTo>
                    <a:pt x="3792" y="1040"/>
                  </a:lnTo>
                  <a:lnTo>
                    <a:pt x="3793" y="1096"/>
                  </a:lnTo>
                  <a:lnTo>
                    <a:pt x="3793" y="1117"/>
                  </a:lnTo>
                  <a:lnTo>
                    <a:pt x="3793" y="1136"/>
                  </a:lnTo>
                  <a:lnTo>
                    <a:pt x="3792" y="1155"/>
                  </a:lnTo>
                  <a:lnTo>
                    <a:pt x="3791" y="1175"/>
                  </a:lnTo>
                  <a:lnTo>
                    <a:pt x="3789" y="1194"/>
                  </a:lnTo>
                  <a:lnTo>
                    <a:pt x="3787" y="1213"/>
                  </a:lnTo>
                  <a:lnTo>
                    <a:pt x="3785" y="1232"/>
                  </a:lnTo>
                  <a:lnTo>
                    <a:pt x="3783" y="125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lang="en-US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66" name="任意多边形: 形状 165">
              <a:extLst>
                <a:ext uri="{FF2B5EF4-FFF2-40B4-BE49-F238E27FC236}">
                  <a16:creationId xmlns:a16="http://schemas.microsoft.com/office/drawing/2014/main" id="{C6C0F671-70F1-40C5-9EBD-2CC5E0A58381}"/>
                </a:ext>
              </a:extLst>
            </p:cNvPr>
            <p:cNvSpPr/>
            <p:nvPr/>
          </p:nvSpPr>
          <p:spPr>
            <a:xfrm>
              <a:off x="6014314" y="1351567"/>
              <a:ext cx="292677" cy="291878"/>
            </a:xfrm>
            <a:custGeom>
              <a:avLst/>
              <a:gdLst>
                <a:gd name="connsiteX0" fmla="*/ 192644 w 609559"/>
                <a:gd name="connsiteY0" fmla="*/ 366986 h 607896"/>
                <a:gd name="connsiteX1" fmla="*/ 241758 w 609559"/>
                <a:gd name="connsiteY1" fmla="*/ 416064 h 607896"/>
                <a:gd name="connsiteX2" fmla="*/ 192644 w 609559"/>
                <a:gd name="connsiteY2" fmla="*/ 465142 h 607896"/>
                <a:gd name="connsiteX3" fmla="*/ 143530 w 609559"/>
                <a:gd name="connsiteY3" fmla="*/ 416064 h 607896"/>
                <a:gd name="connsiteX4" fmla="*/ 192644 w 609559"/>
                <a:gd name="connsiteY4" fmla="*/ 366986 h 607896"/>
                <a:gd name="connsiteX5" fmla="*/ 192532 w 609559"/>
                <a:gd name="connsiteY5" fmla="*/ 333107 h 607896"/>
                <a:gd name="connsiteX6" fmla="*/ 133833 w 609559"/>
                <a:gd name="connsiteY6" fmla="*/ 357465 h 607896"/>
                <a:gd name="connsiteX7" fmla="*/ 133927 w 609559"/>
                <a:gd name="connsiteY7" fmla="*/ 474744 h 607896"/>
                <a:gd name="connsiteX8" fmla="*/ 251394 w 609559"/>
                <a:gd name="connsiteY8" fmla="*/ 474557 h 607896"/>
                <a:gd name="connsiteX9" fmla="*/ 251300 w 609559"/>
                <a:gd name="connsiteY9" fmla="*/ 357279 h 607896"/>
                <a:gd name="connsiteX10" fmla="*/ 192532 w 609559"/>
                <a:gd name="connsiteY10" fmla="*/ 333107 h 607896"/>
                <a:gd name="connsiteX11" fmla="*/ 173862 w 609559"/>
                <a:gd name="connsiteY11" fmla="*/ 225714 h 607896"/>
                <a:gd name="connsiteX12" fmla="*/ 191538 w 609559"/>
                <a:gd name="connsiteY12" fmla="*/ 225714 h 607896"/>
                <a:gd name="connsiteX13" fmla="*/ 209214 w 609559"/>
                <a:gd name="connsiteY13" fmla="*/ 225714 h 607896"/>
                <a:gd name="connsiteX14" fmla="*/ 222682 w 609559"/>
                <a:gd name="connsiteY14" fmla="*/ 237012 h 607896"/>
                <a:gd name="connsiteX15" fmla="*/ 228854 w 609559"/>
                <a:gd name="connsiteY15" fmla="*/ 272681 h 607896"/>
                <a:gd name="connsiteX16" fmla="*/ 267386 w 609559"/>
                <a:gd name="connsiteY16" fmla="*/ 288555 h 607896"/>
                <a:gd name="connsiteX17" fmla="*/ 296753 w 609559"/>
                <a:gd name="connsiteY17" fmla="*/ 267639 h 607896"/>
                <a:gd name="connsiteX18" fmla="*/ 314336 w 609559"/>
                <a:gd name="connsiteY18" fmla="*/ 268760 h 607896"/>
                <a:gd name="connsiteX19" fmla="*/ 326962 w 609559"/>
                <a:gd name="connsiteY19" fmla="*/ 281365 h 607896"/>
                <a:gd name="connsiteX20" fmla="*/ 339588 w 609559"/>
                <a:gd name="connsiteY20" fmla="*/ 293971 h 607896"/>
                <a:gd name="connsiteX21" fmla="*/ 341084 w 609559"/>
                <a:gd name="connsiteY21" fmla="*/ 311619 h 607896"/>
                <a:gd name="connsiteX22" fmla="*/ 320135 w 609559"/>
                <a:gd name="connsiteY22" fmla="*/ 341032 h 607896"/>
                <a:gd name="connsiteX23" fmla="*/ 336034 w 609559"/>
                <a:gd name="connsiteY23" fmla="*/ 379502 h 607896"/>
                <a:gd name="connsiteX24" fmla="*/ 371760 w 609559"/>
                <a:gd name="connsiteY24" fmla="*/ 385478 h 607896"/>
                <a:gd name="connsiteX25" fmla="*/ 383077 w 609559"/>
                <a:gd name="connsiteY25" fmla="*/ 398924 h 607896"/>
                <a:gd name="connsiteX26" fmla="*/ 383170 w 609559"/>
                <a:gd name="connsiteY26" fmla="*/ 416572 h 607896"/>
                <a:gd name="connsiteX27" fmla="*/ 383170 w 609559"/>
                <a:gd name="connsiteY27" fmla="*/ 434219 h 607896"/>
                <a:gd name="connsiteX28" fmla="*/ 371854 w 609559"/>
                <a:gd name="connsiteY28" fmla="*/ 447665 h 607896"/>
                <a:gd name="connsiteX29" fmla="*/ 336221 w 609559"/>
                <a:gd name="connsiteY29" fmla="*/ 453828 h 607896"/>
                <a:gd name="connsiteX30" fmla="*/ 320228 w 609559"/>
                <a:gd name="connsiteY30" fmla="*/ 492298 h 607896"/>
                <a:gd name="connsiteX31" fmla="*/ 341178 w 609559"/>
                <a:gd name="connsiteY31" fmla="*/ 521618 h 607896"/>
                <a:gd name="connsiteX32" fmla="*/ 339681 w 609559"/>
                <a:gd name="connsiteY32" fmla="*/ 539359 h 607896"/>
                <a:gd name="connsiteX33" fmla="*/ 326962 w 609559"/>
                <a:gd name="connsiteY33" fmla="*/ 552058 h 607896"/>
                <a:gd name="connsiteX34" fmla="*/ 314336 w 609559"/>
                <a:gd name="connsiteY34" fmla="*/ 564570 h 607896"/>
                <a:gd name="connsiteX35" fmla="*/ 296660 w 609559"/>
                <a:gd name="connsiteY35" fmla="*/ 566064 h 607896"/>
                <a:gd name="connsiteX36" fmla="*/ 267199 w 609559"/>
                <a:gd name="connsiteY36" fmla="*/ 545148 h 607896"/>
                <a:gd name="connsiteX37" fmla="*/ 229790 w 609559"/>
                <a:gd name="connsiteY37" fmla="*/ 560742 h 607896"/>
                <a:gd name="connsiteX38" fmla="*/ 223804 w 609559"/>
                <a:gd name="connsiteY38" fmla="*/ 596598 h 607896"/>
                <a:gd name="connsiteX39" fmla="*/ 210337 w 609559"/>
                <a:gd name="connsiteY39" fmla="*/ 607896 h 607896"/>
                <a:gd name="connsiteX40" fmla="*/ 192660 w 609559"/>
                <a:gd name="connsiteY40" fmla="*/ 607896 h 607896"/>
                <a:gd name="connsiteX41" fmla="*/ 174984 w 609559"/>
                <a:gd name="connsiteY41" fmla="*/ 607896 h 607896"/>
                <a:gd name="connsiteX42" fmla="*/ 161517 w 609559"/>
                <a:gd name="connsiteY42" fmla="*/ 596598 h 607896"/>
                <a:gd name="connsiteX43" fmla="*/ 155531 w 609559"/>
                <a:gd name="connsiteY43" fmla="*/ 561395 h 607896"/>
                <a:gd name="connsiteX44" fmla="*/ 116999 w 609559"/>
                <a:gd name="connsiteY44" fmla="*/ 545709 h 607896"/>
                <a:gd name="connsiteX45" fmla="*/ 87258 w 609559"/>
                <a:gd name="connsiteY45" fmla="*/ 566718 h 607896"/>
                <a:gd name="connsiteX46" fmla="*/ 69582 w 609559"/>
                <a:gd name="connsiteY46" fmla="*/ 565224 h 607896"/>
                <a:gd name="connsiteX47" fmla="*/ 56956 w 609559"/>
                <a:gd name="connsiteY47" fmla="*/ 552618 h 607896"/>
                <a:gd name="connsiteX48" fmla="*/ 44424 w 609559"/>
                <a:gd name="connsiteY48" fmla="*/ 540106 h 607896"/>
                <a:gd name="connsiteX49" fmla="*/ 42928 w 609559"/>
                <a:gd name="connsiteY49" fmla="*/ 522365 h 607896"/>
                <a:gd name="connsiteX50" fmla="*/ 63503 w 609559"/>
                <a:gd name="connsiteY50" fmla="*/ 493232 h 607896"/>
                <a:gd name="connsiteX51" fmla="*/ 47230 w 609559"/>
                <a:gd name="connsiteY51" fmla="*/ 455042 h 607896"/>
                <a:gd name="connsiteX52" fmla="*/ 11316 w 609559"/>
                <a:gd name="connsiteY52" fmla="*/ 449066 h 607896"/>
                <a:gd name="connsiteX53" fmla="*/ 0 w 609559"/>
                <a:gd name="connsiteY53" fmla="*/ 435620 h 607896"/>
                <a:gd name="connsiteX54" fmla="*/ 0 w 609559"/>
                <a:gd name="connsiteY54" fmla="*/ 417972 h 607896"/>
                <a:gd name="connsiteX55" fmla="*/ 0 w 609559"/>
                <a:gd name="connsiteY55" fmla="*/ 400231 h 607896"/>
                <a:gd name="connsiteX56" fmla="*/ 11316 w 609559"/>
                <a:gd name="connsiteY56" fmla="*/ 386785 h 607896"/>
                <a:gd name="connsiteX57" fmla="*/ 46762 w 609559"/>
                <a:gd name="connsiteY57" fmla="*/ 381183 h 607896"/>
                <a:gd name="connsiteX58" fmla="*/ 62474 w 609559"/>
                <a:gd name="connsiteY58" fmla="*/ 342712 h 607896"/>
                <a:gd name="connsiteX59" fmla="*/ 41431 w 609559"/>
                <a:gd name="connsiteY59" fmla="*/ 313113 h 607896"/>
                <a:gd name="connsiteX60" fmla="*/ 42928 w 609559"/>
                <a:gd name="connsiteY60" fmla="*/ 295465 h 607896"/>
                <a:gd name="connsiteX61" fmla="*/ 55460 w 609559"/>
                <a:gd name="connsiteY61" fmla="*/ 282859 h 607896"/>
                <a:gd name="connsiteX62" fmla="*/ 68179 w 609559"/>
                <a:gd name="connsiteY62" fmla="*/ 270067 h 607896"/>
                <a:gd name="connsiteX63" fmla="*/ 85949 w 609559"/>
                <a:gd name="connsiteY63" fmla="*/ 268573 h 607896"/>
                <a:gd name="connsiteX64" fmla="*/ 115129 w 609559"/>
                <a:gd name="connsiteY64" fmla="*/ 289209 h 607896"/>
                <a:gd name="connsiteX65" fmla="*/ 154409 w 609559"/>
                <a:gd name="connsiteY65" fmla="*/ 272681 h 607896"/>
                <a:gd name="connsiteX66" fmla="*/ 160394 w 609559"/>
                <a:gd name="connsiteY66" fmla="*/ 237012 h 607896"/>
                <a:gd name="connsiteX67" fmla="*/ 173862 w 609559"/>
                <a:gd name="connsiteY67" fmla="*/ 225714 h 607896"/>
                <a:gd name="connsiteX68" fmla="*/ 455182 w 609559"/>
                <a:gd name="connsiteY68" fmla="*/ 95256 h 607896"/>
                <a:gd name="connsiteX69" fmla="*/ 432124 w 609559"/>
                <a:gd name="connsiteY69" fmla="*/ 99926 h 607896"/>
                <a:gd name="connsiteX70" fmla="*/ 400702 w 609559"/>
                <a:gd name="connsiteY70" fmla="*/ 177523 h 607896"/>
                <a:gd name="connsiteX71" fmla="*/ 478415 w 609559"/>
                <a:gd name="connsiteY71" fmla="*/ 208897 h 607896"/>
                <a:gd name="connsiteX72" fmla="*/ 509837 w 609559"/>
                <a:gd name="connsiteY72" fmla="*/ 131301 h 607896"/>
                <a:gd name="connsiteX73" fmla="*/ 455182 w 609559"/>
                <a:gd name="connsiteY73" fmla="*/ 95256 h 607896"/>
                <a:gd name="connsiteX74" fmla="*/ 500579 w 609559"/>
                <a:gd name="connsiteY74" fmla="*/ 853 h 607896"/>
                <a:gd name="connsiteX75" fmla="*/ 514420 w 609559"/>
                <a:gd name="connsiteY75" fmla="*/ 6455 h 607896"/>
                <a:gd name="connsiteX76" fmla="*/ 528260 w 609559"/>
                <a:gd name="connsiteY76" fmla="*/ 11965 h 607896"/>
                <a:gd name="connsiteX77" fmla="*/ 535181 w 609559"/>
                <a:gd name="connsiteY77" fmla="*/ 25037 h 607896"/>
                <a:gd name="connsiteX78" fmla="*/ 528634 w 609559"/>
                <a:gd name="connsiteY78" fmla="*/ 54545 h 607896"/>
                <a:gd name="connsiteX79" fmla="*/ 553510 w 609559"/>
                <a:gd name="connsiteY79" fmla="*/ 78916 h 607896"/>
                <a:gd name="connsiteX80" fmla="*/ 582875 w 609559"/>
                <a:gd name="connsiteY80" fmla="*/ 71913 h 607896"/>
                <a:gd name="connsiteX81" fmla="*/ 596154 w 609559"/>
                <a:gd name="connsiteY81" fmla="*/ 78263 h 607896"/>
                <a:gd name="connsiteX82" fmla="*/ 601952 w 609559"/>
                <a:gd name="connsiteY82" fmla="*/ 92082 h 607896"/>
                <a:gd name="connsiteX83" fmla="*/ 607844 w 609559"/>
                <a:gd name="connsiteY83" fmla="*/ 105902 h 607896"/>
                <a:gd name="connsiteX84" fmla="*/ 603449 w 609559"/>
                <a:gd name="connsiteY84" fmla="*/ 120096 h 607896"/>
                <a:gd name="connsiteX85" fmla="*/ 577918 w 609559"/>
                <a:gd name="connsiteY85" fmla="*/ 136343 h 607896"/>
                <a:gd name="connsiteX86" fmla="*/ 578199 w 609559"/>
                <a:gd name="connsiteY86" fmla="*/ 171173 h 607896"/>
                <a:gd name="connsiteX87" fmla="*/ 604010 w 609559"/>
                <a:gd name="connsiteY87" fmla="*/ 187141 h 607896"/>
                <a:gd name="connsiteX88" fmla="*/ 608873 w 609559"/>
                <a:gd name="connsiteY88" fmla="*/ 201054 h 607896"/>
                <a:gd name="connsiteX89" fmla="*/ 603262 w 609559"/>
                <a:gd name="connsiteY89" fmla="*/ 214874 h 607896"/>
                <a:gd name="connsiteX90" fmla="*/ 597651 w 609559"/>
                <a:gd name="connsiteY90" fmla="*/ 228693 h 607896"/>
                <a:gd name="connsiteX91" fmla="*/ 584558 w 609559"/>
                <a:gd name="connsiteY91" fmla="*/ 235510 h 607896"/>
                <a:gd name="connsiteX92" fmla="*/ 555006 w 609559"/>
                <a:gd name="connsiteY92" fmla="*/ 229067 h 607896"/>
                <a:gd name="connsiteX93" fmla="*/ 530505 w 609559"/>
                <a:gd name="connsiteY93" fmla="*/ 253812 h 607896"/>
                <a:gd name="connsiteX94" fmla="*/ 537519 w 609559"/>
                <a:gd name="connsiteY94" fmla="*/ 283226 h 607896"/>
                <a:gd name="connsiteX95" fmla="*/ 530785 w 609559"/>
                <a:gd name="connsiteY95" fmla="*/ 296392 h 607896"/>
                <a:gd name="connsiteX96" fmla="*/ 516945 w 609559"/>
                <a:gd name="connsiteY96" fmla="*/ 302275 h 607896"/>
                <a:gd name="connsiteX97" fmla="*/ 503104 w 609559"/>
                <a:gd name="connsiteY97" fmla="*/ 308158 h 607896"/>
                <a:gd name="connsiteX98" fmla="*/ 488889 w 609559"/>
                <a:gd name="connsiteY98" fmla="*/ 303769 h 607896"/>
                <a:gd name="connsiteX99" fmla="*/ 472711 w 609559"/>
                <a:gd name="connsiteY99" fmla="*/ 278277 h 607896"/>
                <a:gd name="connsiteX100" fmla="*/ 438670 w 609559"/>
                <a:gd name="connsiteY100" fmla="*/ 278650 h 607896"/>
                <a:gd name="connsiteX101" fmla="*/ 422679 w 609559"/>
                <a:gd name="connsiteY101" fmla="*/ 304516 h 607896"/>
                <a:gd name="connsiteX102" fmla="*/ 408744 w 609559"/>
                <a:gd name="connsiteY102" fmla="*/ 309091 h 607896"/>
                <a:gd name="connsiteX103" fmla="*/ 394904 w 609559"/>
                <a:gd name="connsiteY103" fmla="*/ 303489 h 607896"/>
                <a:gd name="connsiteX104" fmla="*/ 381063 w 609559"/>
                <a:gd name="connsiteY104" fmla="*/ 297886 h 607896"/>
                <a:gd name="connsiteX105" fmla="*/ 374143 w 609559"/>
                <a:gd name="connsiteY105" fmla="*/ 284813 h 607896"/>
                <a:gd name="connsiteX106" fmla="*/ 380689 w 609559"/>
                <a:gd name="connsiteY106" fmla="*/ 255586 h 607896"/>
                <a:gd name="connsiteX107" fmla="*/ 355720 w 609559"/>
                <a:gd name="connsiteY107" fmla="*/ 231308 h 607896"/>
                <a:gd name="connsiteX108" fmla="*/ 326075 w 609559"/>
                <a:gd name="connsiteY108" fmla="*/ 238311 h 607896"/>
                <a:gd name="connsiteX109" fmla="*/ 312795 w 609559"/>
                <a:gd name="connsiteY109" fmla="*/ 231588 h 607896"/>
                <a:gd name="connsiteX110" fmla="*/ 306997 w 609559"/>
                <a:gd name="connsiteY110" fmla="*/ 217768 h 607896"/>
                <a:gd name="connsiteX111" fmla="*/ 301105 w 609559"/>
                <a:gd name="connsiteY111" fmla="*/ 203948 h 607896"/>
                <a:gd name="connsiteX112" fmla="*/ 305501 w 609559"/>
                <a:gd name="connsiteY112" fmla="*/ 189755 h 607896"/>
                <a:gd name="connsiteX113" fmla="*/ 330750 w 609559"/>
                <a:gd name="connsiteY113" fmla="*/ 173694 h 607896"/>
                <a:gd name="connsiteX114" fmla="*/ 330283 w 609559"/>
                <a:gd name="connsiteY114" fmla="*/ 138958 h 607896"/>
                <a:gd name="connsiteX115" fmla="*/ 304378 w 609559"/>
                <a:gd name="connsiteY115" fmla="*/ 122990 h 607896"/>
                <a:gd name="connsiteX116" fmla="*/ 299703 w 609559"/>
                <a:gd name="connsiteY116" fmla="*/ 109077 h 607896"/>
                <a:gd name="connsiteX117" fmla="*/ 304940 w 609559"/>
                <a:gd name="connsiteY117" fmla="*/ 95351 h 607896"/>
                <a:gd name="connsiteX118" fmla="*/ 310551 w 609559"/>
                <a:gd name="connsiteY118" fmla="*/ 81531 h 607896"/>
                <a:gd name="connsiteX119" fmla="*/ 323643 w 609559"/>
                <a:gd name="connsiteY119" fmla="*/ 74714 h 607896"/>
                <a:gd name="connsiteX120" fmla="*/ 353008 w 609559"/>
                <a:gd name="connsiteY120" fmla="*/ 81531 h 607896"/>
                <a:gd name="connsiteX121" fmla="*/ 377322 w 609559"/>
                <a:gd name="connsiteY121" fmla="*/ 56599 h 607896"/>
                <a:gd name="connsiteX122" fmla="*/ 370309 w 609559"/>
                <a:gd name="connsiteY122" fmla="*/ 26998 h 607896"/>
                <a:gd name="connsiteX123" fmla="*/ 377042 w 609559"/>
                <a:gd name="connsiteY123" fmla="*/ 13832 h 607896"/>
                <a:gd name="connsiteX124" fmla="*/ 390882 w 609559"/>
                <a:gd name="connsiteY124" fmla="*/ 7949 h 607896"/>
                <a:gd name="connsiteX125" fmla="*/ 404723 w 609559"/>
                <a:gd name="connsiteY125" fmla="*/ 2067 h 607896"/>
                <a:gd name="connsiteX126" fmla="*/ 418938 w 609559"/>
                <a:gd name="connsiteY126" fmla="*/ 6455 h 607896"/>
                <a:gd name="connsiteX127" fmla="*/ 435023 w 609559"/>
                <a:gd name="connsiteY127" fmla="*/ 31761 h 607896"/>
                <a:gd name="connsiteX128" fmla="*/ 470653 w 609559"/>
                <a:gd name="connsiteY128" fmla="*/ 31200 h 607896"/>
                <a:gd name="connsiteX129" fmla="*/ 486645 w 609559"/>
                <a:gd name="connsiteY129" fmla="*/ 5428 h 607896"/>
                <a:gd name="connsiteX130" fmla="*/ 500579 w 609559"/>
                <a:gd name="connsiteY130" fmla="*/ 853 h 60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609559" h="607896">
                  <a:moveTo>
                    <a:pt x="192644" y="366986"/>
                  </a:moveTo>
                  <a:cubicBezTo>
                    <a:pt x="219769" y="366986"/>
                    <a:pt x="241758" y="388959"/>
                    <a:pt x="241758" y="416064"/>
                  </a:cubicBezTo>
                  <a:cubicBezTo>
                    <a:pt x="241758" y="443169"/>
                    <a:pt x="219769" y="465142"/>
                    <a:pt x="192644" y="465142"/>
                  </a:cubicBezTo>
                  <a:cubicBezTo>
                    <a:pt x="165519" y="465142"/>
                    <a:pt x="143530" y="443169"/>
                    <a:pt x="143530" y="416064"/>
                  </a:cubicBezTo>
                  <a:cubicBezTo>
                    <a:pt x="143530" y="388959"/>
                    <a:pt x="165519" y="366986"/>
                    <a:pt x="192644" y="366986"/>
                  </a:cubicBezTo>
                  <a:close/>
                  <a:moveTo>
                    <a:pt x="192532" y="333107"/>
                  </a:moveTo>
                  <a:cubicBezTo>
                    <a:pt x="171267" y="333142"/>
                    <a:pt x="150013" y="341265"/>
                    <a:pt x="133833" y="357465"/>
                  </a:cubicBezTo>
                  <a:cubicBezTo>
                    <a:pt x="101380" y="389773"/>
                    <a:pt x="101474" y="442343"/>
                    <a:pt x="133927" y="474744"/>
                  </a:cubicBezTo>
                  <a:cubicBezTo>
                    <a:pt x="166380" y="507051"/>
                    <a:pt x="218941" y="506958"/>
                    <a:pt x="251394" y="474557"/>
                  </a:cubicBezTo>
                  <a:cubicBezTo>
                    <a:pt x="283847" y="442250"/>
                    <a:pt x="283847" y="389680"/>
                    <a:pt x="251300" y="357279"/>
                  </a:cubicBezTo>
                  <a:cubicBezTo>
                    <a:pt x="235074" y="341125"/>
                    <a:pt x="213797" y="333071"/>
                    <a:pt x="192532" y="333107"/>
                  </a:cubicBezTo>
                  <a:close/>
                  <a:moveTo>
                    <a:pt x="173862" y="225714"/>
                  </a:moveTo>
                  <a:lnTo>
                    <a:pt x="191538" y="225714"/>
                  </a:lnTo>
                  <a:lnTo>
                    <a:pt x="209214" y="225714"/>
                  </a:lnTo>
                  <a:cubicBezTo>
                    <a:pt x="215854" y="225714"/>
                    <a:pt x="221559" y="230476"/>
                    <a:pt x="222682" y="237012"/>
                  </a:cubicBezTo>
                  <a:lnTo>
                    <a:pt x="228854" y="272681"/>
                  </a:lnTo>
                  <a:cubicBezTo>
                    <a:pt x="242322" y="276136"/>
                    <a:pt x="255135" y="281459"/>
                    <a:pt x="267386" y="288555"/>
                  </a:cubicBezTo>
                  <a:lnTo>
                    <a:pt x="296753" y="267639"/>
                  </a:lnTo>
                  <a:cubicBezTo>
                    <a:pt x="302178" y="263904"/>
                    <a:pt x="309660" y="264464"/>
                    <a:pt x="314336" y="268760"/>
                  </a:cubicBezTo>
                  <a:lnTo>
                    <a:pt x="326962" y="281365"/>
                  </a:lnTo>
                  <a:lnTo>
                    <a:pt x="339588" y="293971"/>
                  </a:lnTo>
                  <a:cubicBezTo>
                    <a:pt x="344264" y="298826"/>
                    <a:pt x="344919" y="306109"/>
                    <a:pt x="341084" y="311619"/>
                  </a:cubicBezTo>
                  <a:lnTo>
                    <a:pt x="320135" y="341032"/>
                  </a:lnTo>
                  <a:cubicBezTo>
                    <a:pt x="327336" y="353170"/>
                    <a:pt x="332667" y="366056"/>
                    <a:pt x="336034" y="379502"/>
                  </a:cubicBezTo>
                  <a:lnTo>
                    <a:pt x="371760" y="385478"/>
                  </a:lnTo>
                  <a:cubicBezTo>
                    <a:pt x="378307" y="386598"/>
                    <a:pt x="383077" y="392294"/>
                    <a:pt x="383077" y="398924"/>
                  </a:cubicBezTo>
                  <a:lnTo>
                    <a:pt x="383170" y="416572"/>
                  </a:lnTo>
                  <a:lnTo>
                    <a:pt x="383170" y="434219"/>
                  </a:lnTo>
                  <a:cubicBezTo>
                    <a:pt x="383170" y="440849"/>
                    <a:pt x="378494" y="446545"/>
                    <a:pt x="371854" y="447665"/>
                  </a:cubicBezTo>
                  <a:lnTo>
                    <a:pt x="336221" y="453828"/>
                  </a:lnTo>
                  <a:cubicBezTo>
                    <a:pt x="332667" y="467274"/>
                    <a:pt x="327336" y="480066"/>
                    <a:pt x="320228" y="492298"/>
                  </a:cubicBezTo>
                  <a:lnTo>
                    <a:pt x="341178" y="521618"/>
                  </a:lnTo>
                  <a:cubicBezTo>
                    <a:pt x="345012" y="527127"/>
                    <a:pt x="344264" y="534690"/>
                    <a:pt x="339681" y="539359"/>
                  </a:cubicBezTo>
                  <a:lnTo>
                    <a:pt x="326962" y="552058"/>
                  </a:lnTo>
                  <a:lnTo>
                    <a:pt x="314336" y="564570"/>
                  </a:lnTo>
                  <a:cubicBezTo>
                    <a:pt x="309473" y="569332"/>
                    <a:pt x="302178" y="569986"/>
                    <a:pt x="296660" y="566064"/>
                  </a:cubicBezTo>
                  <a:lnTo>
                    <a:pt x="267199" y="545148"/>
                  </a:lnTo>
                  <a:cubicBezTo>
                    <a:pt x="255509" y="552058"/>
                    <a:pt x="242790" y="557380"/>
                    <a:pt x="229790" y="560742"/>
                  </a:cubicBezTo>
                  <a:lnTo>
                    <a:pt x="223804" y="596598"/>
                  </a:lnTo>
                  <a:cubicBezTo>
                    <a:pt x="222682" y="603227"/>
                    <a:pt x="216977" y="607896"/>
                    <a:pt x="210337" y="607896"/>
                  </a:cubicBezTo>
                  <a:lnTo>
                    <a:pt x="192660" y="607896"/>
                  </a:lnTo>
                  <a:lnTo>
                    <a:pt x="174984" y="607896"/>
                  </a:lnTo>
                  <a:cubicBezTo>
                    <a:pt x="168344" y="607896"/>
                    <a:pt x="162639" y="603227"/>
                    <a:pt x="161517" y="596598"/>
                  </a:cubicBezTo>
                  <a:lnTo>
                    <a:pt x="155531" y="561395"/>
                  </a:lnTo>
                  <a:cubicBezTo>
                    <a:pt x="142251" y="557847"/>
                    <a:pt x="129157" y="552805"/>
                    <a:pt x="116999" y="545709"/>
                  </a:cubicBezTo>
                  <a:lnTo>
                    <a:pt x="87258" y="566718"/>
                  </a:lnTo>
                  <a:cubicBezTo>
                    <a:pt x="81834" y="570546"/>
                    <a:pt x="74165" y="569799"/>
                    <a:pt x="69582" y="565224"/>
                  </a:cubicBezTo>
                  <a:lnTo>
                    <a:pt x="56956" y="552618"/>
                  </a:lnTo>
                  <a:lnTo>
                    <a:pt x="44424" y="540106"/>
                  </a:lnTo>
                  <a:cubicBezTo>
                    <a:pt x="39654" y="535251"/>
                    <a:pt x="39000" y="527874"/>
                    <a:pt x="42928" y="522365"/>
                  </a:cubicBezTo>
                  <a:lnTo>
                    <a:pt x="63503" y="493232"/>
                  </a:lnTo>
                  <a:cubicBezTo>
                    <a:pt x="56115" y="481187"/>
                    <a:pt x="50784" y="468394"/>
                    <a:pt x="47230" y="455042"/>
                  </a:cubicBezTo>
                  <a:lnTo>
                    <a:pt x="11316" y="449066"/>
                  </a:lnTo>
                  <a:cubicBezTo>
                    <a:pt x="4770" y="447945"/>
                    <a:pt x="0" y="442250"/>
                    <a:pt x="0" y="435620"/>
                  </a:cubicBezTo>
                  <a:lnTo>
                    <a:pt x="0" y="417972"/>
                  </a:lnTo>
                  <a:lnTo>
                    <a:pt x="0" y="400231"/>
                  </a:lnTo>
                  <a:cubicBezTo>
                    <a:pt x="0" y="393695"/>
                    <a:pt x="4770" y="387906"/>
                    <a:pt x="11316" y="386785"/>
                  </a:cubicBezTo>
                  <a:lnTo>
                    <a:pt x="46762" y="381183"/>
                  </a:lnTo>
                  <a:cubicBezTo>
                    <a:pt x="50223" y="368017"/>
                    <a:pt x="55366" y="354944"/>
                    <a:pt x="62474" y="342712"/>
                  </a:cubicBezTo>
                  <a:lnTo>
                    <a:pt x="41431" y="313113"/>
                  </a:lnTo>
                  <a:cubicBezTo>
                    <a:pt x="37503" y="307603"/>
                    <a:pt x="38251" y="300040"/>
                    <a:pt x="42928" y="295465"/>
                  </a:cubicBezTo>
                  <a:lnTo>
                    <a:pt x="55460" y="282859"/>
                  </a:lnTo>
                  <a:lnTo>
                    <a:pt x="68179" y="270067"/>
                  </a:lnTo>
                  <a:cubicBezTo>
                    <a:pt x="73043" y="265305"/>
                    <a:pt x="80431" y="264651"/>
                    <a:pt x="85949" y="268573"/>
                  </a:cubicBezTo>
                  <a:lnTo>
                    <a:pt x="115129" y="289209"/>
                  </a:lnTo>
                  <a:cubicBezTo>
                    <a:pt x="127567" y="281459"/>
                    <a:pt x="140661" y="276043"/>
                    <a:pt x="154409" y="272681"/>
                  </a:cubicBezTo>
                  <a:lnTo>
                    <a:pt x="160394" y="237012"/>
                  </a:lnTo>
                  <a:cubicBezTo>
                    <a:pt x="161517" y="230476"/>
                    <a:pt x="167222" y="225714"/>
                    <a:pt x="173862" y="225714"/>
                  </a:cubicBezTo>
                  <a:close/>
                  <a:moveTo>
                    <a:pt x="455182" y="95256"/>
                  </a:moveTo>
                  <a:cubicBezTo>
                    <a:pt x="447478" y="95251"/>
                    <a:pt x="439652" y="96751"/>
                    <a:pt x="432124" y="99926"/>
                  </a:cubicBezTo>
                  <a:cubicBezTo>
                    <a:pt x="402105" y="112625"/>
                    <a:pt x="387983" y="147362"/>
                    <a:pt x="400702" y="177523"/>
                  </a:cubicBezTo>
                  <a:cubicBezTo>
                    <a:pt x="413420" y="207497"/>
                    <a:pt x="448209" y="221597"/>
                    <a:pt x="478415" y="208897"/>
                  </a:cubicBezTo>
                  <a:cubicBezTo>
                    <a:pt x="508622" y="196198"/>
                    <a:pt x="522649" y="161462"/>
                    <a:pt x="509837" y="131301"/>
                  </a:cubicBezTo>
                  <a:cubicBezTo>
                    <a:pt x="500298" y="108821"/>
                    <a:pt x="478293" y="95269"/>
                    <a:pt x="455182" y="95256"/>
                  </a:cubicBezTo>
                  <a:close/>
                  <a:moveTo>
                    <a:pt x="500579" y="853"/>
                  </a:moveTo>
                  <a:lnTo>
                    <a:pt x="514420" y="6455"/>
                  </a:lnTo>
                  <a:lnTo>
                    <a:pt x="528260" y="11965"/>
                  </a:lnTo>
                  <a:cubicBezTo>
                    <a:pt x="533404" y="14019"/>
                    <a:pt x="536396" y="19528"/>
                    <a:pt x="535181" y="25037"/>
                  </a:cubicBezTo>
                  <a:lnTo>
                    <a:pt x="528634" y="54545"/>
                  </a:lnTo>
                  <a:cubicBezTo>
                    <a:pt x="537986" y="61361"/>
                    <a:pt x="546216" y="69578"/>
                    <a:pt x="553510" y="78916"/>
                  </a:cubicBezTo>
                  <a:lnTo>
                    <a:pt x="582875" y="71913"/>
                  </a:lnTo>
                  <a:cubicBezTo>
                    <a:pt x="588112" y="70699"/>
                    <a:pt x="593723" y="73407"/>
                    <a:pt x="596154" y="78263"/>
                  </a:cubicBezTo>
                  <a:lnTo>
                    <a:pt x="601952" y="92082"/>
                  </a:lnTo>
                  <a:lnTo>
                    <a:pt x="607844" y="105902"/>
                  </a:lnTo>
                  <a:cubicBezTo>
                    <a:pt x="610089" y="111131"/>
                    <a:pt x="608218" y="117107"/>
                    <a:pt x="603449" y="120096"/>
                  </a:cubicBezTo>
                  <a:lnTo>
                    <a:pt x="577918" y="136343"/>
                  </a:lnTo>
                  <a:cubicBezTo>
                    <a:pt x="579695" y="148015"/>
                    <a:pt x="579789" y="159688"/>
                    <a:pt x="578199" y="171173"/>
                  </a:cubicBezTo>
                  <a:lnTo>
                    <a:pt x="604010" y="187141"/>
                  </a:lnTo>
                  <a:cubicBezTo>
                    <a:pt x="608686" y="190129"/>
                    <a:pt x="610743" y="195918"/>
                    <a:pt x="608873" y="201054"/>
                  </a:cubicBezTo>
                  <a:lnTo>
                    <a:pt x="603262" y="214874"/>
                  </a:lnTo>
                  <a:lnTo>
                    <a:pt x="597651" y="228693"/>
                  </a:lnTo>
                  <a:cubicBezTo>
                    <a:pt x="595500" y="233829"/>
                    <a:pt x="589982" y="236817"/>
                    <a:pt x="584558" y="235510"/>
                  </a:cubicBezTo>
                  <a:lnTo>
                    <a:pt x="555006" y="229067"/>
                  </a:lnTo>
                  <a:cubicBezTo>
                    <a:pt x="548086" y="238405"/>
                    <a:pt x="539857" y="246622"/>
                    <a:pt x="530505" y="253812"/>
                  </a:cubicBezTo>
                  <a:lnTo>
                    <a:pt x="537519" y="283226"/>
                  </a:lnTo>
                  <a:cubicBezTo>
                    <a:pt x="538734" y="288735"/>
                    <a:pt x="535929" y="294338"/>
                    <a:pt x="530785" y="296392"/>
                  </a:cubicBezTo>
                  <a:lnTo>
                    <a:pt x="516945" y="302275"/>
                  </a:lnTo>
                  <a:lnTo>
                    <a:pt x="503104" y="308158"/>
                  </a:lnTo>
                  <a:cubicBezTo>
                    <a:pt x="497867" y="310399"/>
                    <a:pt x="491882" y="308531"/>
                    <a:pt x="488889" y="303769"/>
                  </a:cubicBezTo>
                  <a:lnTo>
                    <a:pt x="472711" y="278277"/>
                  </a:lnTo>
                  <a:cubicBezTo>
                    <a:pt x="461301" y="279958"/>
                    <a:pt x="449705" y="279958"/>
                    <a:pt x="438670" y="278650"/>
                  </a:cubicBezTo>
                  <a:lnTo>
                    <a:pt x="422679" y="304516"/>
                  </a:lnTo>
                  <a:cubicBezTo>
                    <a:pt x="419780" y="309278"/>
                    <a:pt x="413794" y="311239"/>
                    <a:pt x="408744" y="309091"/>
                  </a:cubicBezTo>
                  <a:lnTo>
                    <a:pt x="394904" y="303489"/>
                  </a:lnTo>
                  <a:lnTo>
                    <a:pt x="381063" y="297886"/>
                  </a:lnTo>
                  <a:cubicBezTo>
                    <a:pt x="375920" y="295832"/>
                    <a:pt x="372927" y="290322"/>
                    <a:pt x="374143" y="284813"/>
                  </a:cubicBezTo>
                  <a:lnTo>
                    <a:pt x="380689" y="255586"/>
                  </a:lnTo>
                  <a:cubicBezTo>
                    <a:pt x="371431" y="248770"/>
                    <a:pt x="362921" y="240646"/>
                    <a:pt x="355720" y="231308"/>
                  </a:cubicBezTo>
                  <a:lnTo>
                    <a:pt x="326075" y="238311"/>
                  </a:lnTo>
                  <a:cubicBezTo>
                    <a:pt x="320557" y="239525"/>
                    <a:pt x="314946" y="236631"/>
                    <a:pt x="312795" y="231588"/>
                  </a:cubicBezTo>
                  <a:lnTo>
                    <a:pt x="306997" y="217768"/>
                  </a:lnTo>
                  <a:lnTo>
                    <a:pt x="301105" y="203948"/>
                  </a:lnTo>
                  <a:cubicBezTo>
                    <a:pt x="298861" y="198719"/>
                    <a:pt x="300731" y="192743"/>
                    <a:pt x="305501" y="189755"/>
                  </a:cubicBezTo>
                  <a:lnTo>
                    <a:pt x="330750" y="173694"/>
                  </a:lnTo>
                  <a:cubicBezTo>
                    <a:pt x="328880" y="162115"/>
                    <a:pt x="328787" y="150350"/>
                    <a:pt x="330283" y="138958"/>
                  </a:cubicBezTo>
                  <a:lnTo>
                    <a:pt x="304378" y="122990"/>
                  </a:lnTo>
                  <a:cubicBezTo>
                    <a:pt x="299609" y="120096"/>
                    <a:pt x="297645" y="114119"/>
                    <a:pt x="299703" y="109077"/>
                  </a:cubicBezTo>
                  <a:lnTo>
                    <a:pt x="304940" y="95351"/>
                  </a:lnTo>
                  <a:lnTo>
                    <a:pt x="310551" y="81531"/>
                  </a:lnTo>
                  <a:cubicBezTo>
                    <a:pt x="312702" y="76395"/>
                    <a:pt x="318219" y="73407"/>
                    <a:pt x="323643" y="74714"/>
                  </a:cubicBezTo>
                  <a:lnTo>
                    <a:pt x="353008" y="81531"/>
                  </a:lnTo>
                  <a:cubicBezTo>
                    <a:pt x="359835" y="72286"/>
                    <a:pt x="367971" y="63882"/>
                    <a:pt x="377322" y="56599"/>
                  </a:cubicBezTo>
                  <a:lnTo>
                    <a:pt x="370309" y="26998"/>
                  </a:lnTo>
                  <a:cubicBezTo>
                    <a:pt x="369093" y="21489"/>
                    <a:pt x="371898" y="15886"/>
                    <a:pt x="377042" y="13832"/>
                  </a:cubicBezTo>
                  <a:lnTo>
                    <a:pt x="390882" y="7949"/>
                  </a:lnTo>
                  <a:lnTo>
                    <a:pt x="404723" y="2067"/>
                  </a:lnTo>
                  <a:cubicBezTo>
                    <a:pt x="409960" y="-174"/>
                    <a:pt x="415945" y="1693"/>
                    <a:pt x="418938" y="6455"/>
                  </a:cubicBezTo>
                  <a:lnTo>
                    <a:pt x="435023" y="31761"/>
                  </a:lnTo>
                  <a:cubicBezTo>
                    <a:pt x="446993" y="29613"/>
                    <a:pt x="458964" y="29613"/>
                    <a:pt x="470653" y="31200"/>
                  </a:cubicBezTo>
                  <a:lnTo>
                    <a:pt x="486645" y="5428"/>
                  </a:lnTo>
                  <a:cubicBezTo>
                    <a:pt x="489544" y="759"/>
                    <a:pt x="495529" y="-1295"/>
                    <a:pt x="500579" y="85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/>
            </a:p>
          </p:txBody>
        </p:sp>
      </p:grpSp>
      <p:grpSp>
        <p:nvGrpSpPr>
          <p:cNvPr id="162" name="组合 161">
            <a:extLst>
              <a:ext uri="{FF2B5EF4-FFF2-40B4-BE49-F238E27FC236}">
                <a16:creationId xmlns:a16="http://schemas.microsoft.com/office/drawing/2014/main" id="{1A3FCA8C-C7B0-4EB0-B831-2431CE1419E0}"/>
              </a:ext>
            </a:extLst>
          </p:cNvPr>
          <p:cNvGrpSpPr/>
          <p:nvPr/>
        </p:nvGrpSpPr>
        <p:grpSpPr>
          <a:xfrm>
            <a:off x="4548332" y="1668303"/>
            <a:ext cx="3095336" cy="1086937"/>
            <a:chOff x="673100" y="2835564"/>
            <a:chExt cx="3206173" cy="1086937"/>
          </a:xfrm>
          <a:noFill/>
        </p:grpSpPr>
        <p:sp>
          <p:nvSpPr>
            <p:cNvPr id="163" name="矩形 162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673100" y="3290745"/>
              <a:ext cx="3206173" cy="6317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164" name="文本框 163">
              <a:extLst>
                <a:ext uri="{FF2B5EF4-FFF2-40B4-BE49-F238E27FC236}">
                  <a16:creationId xmlns:a16="http://schemas.microsoft.com/office/drawing/2014/main" id="{3495B739-E5A7-4F4A-95FD-24BDFE4B18B1}"/>
                </a:ext>
              </a:extLst>
            </p:cNvPr>
            <p:cNvSpPr txBox="1"/>
            <p:nvPr/>
          </p:nvSpPr>
          <p:spPr bwMode="auto">
            <a:xfrm>
              <a:off x="673100" y="2835564"/>
              <a:ext cx="3206173" cy="45518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  <a:spcBef>
                  <a:spcPct val="0"/>
                </a:spcBef>
              </a:pPr>
              <a:r>
                <a:rPr lang="en-US" altLang="zh-CN" sz="2000" b="1" dirty="0"/>
                <a:t>Text here</a:t>
              </a:r>
            </a:p>
          </p:txBody>
        </p:sp>
      </p:grpSp>
      <p:grpSp>
        <p:nvGrpSpPr>
          <p:cNvPr id="155" name="组合 154">
            <a:extLst>
              <a:ext uri="{FF2B5EF4-FFF2-40B4-BE49-F238E27FC236}">
                <a16:creationId xmlns:a16="http://schemas.microsoft.com/office/drawing/2014/main" id="{BE93DDE7-E589-45D6-B36A-30B826834B28}"/>
              </a:ext>
            </a:extLst>
          </p:cNvPr>
          <p:cNvGrpSpPr/>
          <p:nvPr/>
        </p:nvGrpSpPr>
        <p:grpSpPr>
          <a:xfrm>
            <a:off x="3218797" y="2424959"/>
            <a:ext cx="909954" cy="510396"/>
            <a:chOff x="673101" y="2297561"/>
            <a:chExt cx="909954" cy="510396"/>
          </a:xfrm>
        </p:grpSpPr>
        <p:sp>
          <p:nvSpPr>
            <p:cNvPr id="159" name="任意多边形: 形状 158">
              <a:extLst>
                <a:ext uri="{FF2B5EF4-FFF2-40B4-BE49-F238E27FC236}">
                  <a16:creationId xmlns:a16="http://schemas.microsoft.com/office/drawing/2014/main" id="{7E563AB9-CE77-4D45-8ECB-6CA7ABEE8544}"/>
                </a:ext>
              </a:extLst>
            </p:cNvPr>
            <p:cNvSpPr/>
            <p:nvPr/>
          </p:nvSpPr>
          <p:spPr bwMode="auto">
            <a:xfrm>
              <a:off x="673101" y="2297561"/>
              <a:ext cx="909954" cy="510396"/>
            </a:xfrm>
            <a:custGeom>
              <a:avLst/>
              <a:gdLst>
                <a:gd name="T0" fmla="*/ 3938 w 4545"/>
                <a:gd name="T1" fmla="*/ 1277 h 2801"/>
                <a:gd name="T2" fmla="*/ 4116 w 4545"/>
                <a:gd name="T3" fmla="*/ 1349 h 2801"/>
                <a:gd name="T4" fmla="*/ 4270 w 4545"/>
                <a:gd name="T5" fmla="*/ 1457 h 2801"/>
                <a:gd name="T6" fmla="*/ 4396 w 4545"/>
                <a:gd name="T7" fmla="*/ 1599 h 2801"/>
                <a:gd name="T8" fmla="*/ 4486 w 4545"/>
                <a:gd name="T9" fmla="*/ 1765 h 2801"/>
                <a:gd name="T10" fmla="*/ 4537 w 4545"/>
                <a:gd name="T11" fmla="*/ 1953 h 2801"/>
                <a:gd name="T12" fmla="*/ 4543 w 4545"/>
                <a:gd name="T13" fmla="*/ 2131 h 2801"/>
                <a:gd name="T14" fmla="*/ 4521 w 4545"/>
                <a:gd name="T15" fmla="*/ 2272 h 2801"/>
                <a:gd name="T16" fmla="*/ 4476 w 4545"/>
                <a:gd name="T17" fmla="*/ 2405 h 2801"/>
                <a:gd name="T18" fmla="*/ 4409 w 4545"/>
                <a:gd name="T19" fmla="*/ 2526 h 2801"/>
                <a:gd name="T20" fmla="*/ 4324 w 4545"/>
                <a:gd name="T21" fmla="*/ 2634 h 2801"/>
                <a:gd name="T22" fmla="*/ 4224 w 4545"/>
                <a:gd name="T23" fmla="*/ 2726 h 2801"/>
                <a:gd name="T24" fmla="*/ 4107 w 4545"/>
                <a:gd name="T25" fmla="*/ 2801 h 2801"/>
                <a:gd name="T26" fmla="*/ 548 w 4545"/>
                <a:gd name="T27" fmla="*/ 2801 h 2801"/>
                <a:gd name="T28" fmla="*/ 407 w 4545"/>
                <a:gd name="T29" fmla="*/ 2754 h 2801"/>
                <a:gd name="T30" fmla="*/ 282 w 4545"/>
                <a:gd name="T31" fmla="*/ 2679 h 2801"/>
                <a:gd name="T32" fmla="*/ 175 w 4545"/>
                <a:gd name="T33" fmla="*/ 2582 h 2801"/>
                <a:gd name="T34" fmla="*/ 91 w 4545"/>
                <a:gd name="T35" fmla="*/ 2464 h 2801"/>
                <a:gd name="T36" fmla="*/ 33 w 4545"/>
                <a:gd name="T37" fmla="*/ 2329 h 2801"/>
                <a:gd name="T38" fmla="*/ 3 w 4545"/>
                <a:gd name="T39" fmla="*/ 2182 h 2801"/>
                <a:gd name="T40" fmla="*/ 8 w 4545"/>
                <a:gd name="T41" fmla="*/ 2018 h 2801"/>
                <a:gd name="T42" fmla="*/ 52 w 4545"/>
                <a:gd name="T43" fmla="*/ 1857 h 2801"/>
                <a:gd name="T44" fmla="*/ 130 w 4545"/>
                <a:gd name="T45" fmla="*/ 1715 h 2801"/>
                <a:gd name="T46" fmla="*/ 239 w 4545"/>
                <a:gd name="T47" fmla="*/ 1596 h 2801"/>
                <a:gd name="T48" fmla="*/ 374 w 4545"/>
                <a:gd name="T49" fmla="*/ 1504 h 2801"/>
                <a:gd name="T50" fmla="*/ 527 w 4545"/>
                <a:gd name="T51" fmla="*/ 1445 h 2801"/>
                <a:gd name="T52" fmla="*/ 653 w 4545"/>
                <a:gd name="T53" fmla="*/ 1401 h 2801"/>
                <a:gd name="T54" fmla="*/ 627 w 4545"/>
                <a:gd name="T55" fmla="*/ 1277 h 2801"/>
                <a:gd name="T56" fmla="*/ 631 w 4545"/>
                <a:gd name="T57" fmla="*/ 1138 h 2801"/>
                <a:gd name="T58" fmla="*/ 669 w 4545"/>
                <a:gd name="T59" fmla="*/ 1004 h 2801"/>
                <a:gd name="T60" fmla="*/ 737 w 4545"/>
                <a:gd name="T61" fmla="*/ 885 h 2801"/>
                <a:gd name="T62" fmla="*/ 831 w 4545"/>
                <a:gd name="T63" fmla="*/ 787 h 2801"/>
                <a:gd name="T64" fmla="*/ 946 w 4545"/>
                <a:gd name="T65" fmla="*/ 713 h 2801"/>
                <a:gd name="T66" fmla="*/ 1078 w 4545"/>
                <a:gd name="T67" fmla="*/ 668 h 2801"/>
                <a:gd name="T68" fmla="*/ 1225 w 4545"/>
                <a:gd name="T69" fmla="*/ 658 h 2801"/>
                <a:gd name="T70" fmla="*/ 1379 w 4545"/>
                <a:gd name="T71" fmla="*/ 688 h 2801"/>
                <a:gd name="T72" fmla="*/ 1515 w 4545"/>
                <a:gd name="T73" fmla="*/ 757 h 2801"/>
                <a:gd name="T74" fmla="*/ 1627 w 4545"/>
                <a:gd name="T75" fmla="*/ 858 h 2801"/>
                <a:gd name="T76" fmla="*/ 1701 w 4545"/>
                <a:gd name="T77" fmla="*/ 638 h 2801"/>
                <a:gd name="T78" fmla="*/ 1818 w 4545"/>
                <a:gd name="T79" fmla="*/ 442 h 2801"/>
                <a:gd name="T80" fmla="*/ 1972 w 4545"/>
                <a:gd name="T81" fmla="*/ 275 h 2801"/>
                <a:gd name="T82" fmla="*/ 2157 w 4545"/>
                <a:gd name="T83" fmla="*/ 143 h 2801"/>
                <a:gd name="T84" fmla="*/ 2368 w 4545"/>
                <a:gd name="T85" fmla="*/ 51 h 2801"/>
                <a:gd name="T86" fmla="*/ 2600 w 4545"/>
                <a:gd name="T87" fmla="*/ 5 h 2801"/>
                <a:gd name="T88" fmla="*/ 2864 w 4545"/>
                <a:gd name="T89" fmla="*/ 14 h 2801"/>
                <a:gd name="T90" fmla="*/ 3124 w 4545"/>
                <a:gd name="T91" fmla="*/ 87 h 2801"/>
                <a:gd name="T92" fmla="*/ 3353 w 4545"/>
                <a:gd name="T93" fmla="*/ 218 h 2801"/>
                <a:gd name="T94" fmla="*/ 3543 w 4545"/>
                <a:gd name="T95" fmla="*/ 399 h 2801"/>
                <a:gd name="T96" fmla="*/ 3685 w 4545"/>
                <a:gd name="T97" fmla="*/ 622 h 2801"/>
                <a:gd name="T98" fmla="*/ 3771 w 4545"/>
                <a:gd name="T99" fmla="*/ 875 h 2801"/>
                <a:gd name="T100" fmla="*/ 3793 w 4545"/>
                <a:gd name="T101" fmla="*/ 1117 h 2801"/>
                <a:gd name="T102" fmla="*/ 3787 w 4545"/>
                <a:gd name="T103" fmla="*/ 1213 h 2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545" h="2801">
                  <a:moveTo>
                    <a:pt x="3783" y="1251"/>
                  </a:moveTo>
                  <a:lnTo>
                    <a:pt x="3822" y="1255"/>
                  </a:lnTo>
                  <a:lnTo>
                    <a:pt x="3861" y="1260"/>
                  </a:lnTo>
                  <a:lnTo>
                    <a:pt x="3900" y="1268"/>
                  </a:lnTo>
                  <a:lnTo>
                    <a:pt x="3938" y="1277"/>
                  </a:lnTo>
                  <a:lnTo>
                    <a:pt x="3975" y="1289"/>
                  </a:lnTo>
                  <a:lnTo>
                    <a:pt x="4011" y="1301"/>
                  </a:lnTo>
                  <a:lnTo>
                    <a:pt x="4046" y="1315"/>
                  </a:lnTo>
                  <a:lnTo>
                    <a:pt x="4082" y="1331"/>
                  </a:lnTo>
                  <a:lnTo>
                    <a:pt x="4116" y="1349"/>
                  </a:lnTo>
                  <a:lnTo>
                    <a:pt x="4148" y="1368"/>
                  </a:lnTo>
                  <a:lnTo>
                    <a:pt x="4181" y="1388"/>
                  </a:lnTo>
                  <a:lnTo>
                    <a:pt x="4211" y="1410"/>
                  </a:lnTo>
                  <a:lnTo>
                    <a:pt x="4241" y="1433"/>
                  </a:lnTo>
                  <a:lnTo>
                    <a:pt x="4270" y="1457"/>
                  </a:lnTo>
                  <a:lnTo>
                    <a:pt x="4298" y="1484"/>
                  </a:lnTo>
                  <a:lnTo>
                    <a:pt x="4324" y="1510"/>
                  </a:lnTo>
                  <a:lnTo>
                    <a:pt x="4349" y="1539"/>
                  </a:lnTo>
                  <a:lnTo>
                    <a:pt x="4373" y="1568"/>
                  </a:lnTo>
                  <a:lnTo>
                    <a:pt x="4396" y="1599"/>
                  </a:lnTo>
                  <a:lnTo>
                    <a:pt x="4417" y="1629"/>
                  </a:lnTo>
                  <a:lnTo>
                    <a:pt x="4436" y="1662"/>
                  </a:lnTo>
                  <a:lnTo>
                    <a:pt x="4455" y="1696"/>
                  </a:lnTo>
                  <a:lnTo>
                    <a:pt x="4471" y="1730"/>
                  </a:lnTo>
                  <a:lnTo>
                    <a:pt x="4486" y="1765"/>
                  </a:lnTo>
                  <a:lnTo>
                    <a:pt x="4499" y="1801"/>
                  </a:lnTo>
                  <a:lnTo>
                    <a:pt x="4512" y="1838"/>
                  </a:lnTo>
                  <a:lnTo>
                    <a:pt x="4522" y="1876"/>
                  </a:lnTo>
                  <a:lnTo>
                    <a:pt x="4530" y="1913"/>
                  </a:lnTo>
                  <a:lnTo>
                    <a:pt x="4537" y="1953"/>
                  </a:lnTo>
                  <a:lnTo>
                    <a:pt x="4541" y="1992"/>
                  </a:lnTo>
                  <a:lnTo>
                    <a:pt x="4544" y="2032"/>
                  </a:lnTo>
                  <a:lnTo>
                    <a:pt x="4545" y="2072"/>
                  </a:lnTo>
                  <a:lnTo>
                    <a:pt x="4545" y="2102"/>
                  </a:lnTo>
                  <a:lnTo>
                    <a:pt x="4543" y="2131"/>
                  </a:lnTo>
                  <a:lnTo>
                    <a:pt x="4541" y="2160"/>
                  </a:lnTo>
                  <a:lnTo>
                    <a:pt x="4537" y="2189"/>
                  </a:lnTo>
                  <a:lnTo>
                    <a:pt x="4533" y="2216"/>
                  </a:lnTo>
                  <a:lnTo>
                    <a:pt x="4527" y="2245"/>
                  </a:lnTo>
                  <a:lnTo>
                    <a:pt x="4521" y="2272"/>
                  </a:lnTo>
                  <a:lnTo>
                    <a:pt x="4514" y="2300"/>
                  </a:lnTo>
                  <a:lnTo>
                    <a:pt x="4506" y="2326"/>
                  </a:lnTo>
                  <a:lnTo>
                    <a:pt x="4496" y="2353"/>
                  </a:lnTo>
                  <a:lnTo>
                    <a:pt x="4486" y="2379"/>
                  </a:lnTo>
                  <a:lnTo>
                    <a:pt x="4476" y="2405"/>
                  </a:lnTo>
                  <a:lnTo>
                    <a:pt x="4464" y="2430"/>
                  </a:lnTo>
                  <a:lnTo>
                    <a:pt x="4452" y="2455"/>
                  </a:lnTo>
                  <a:lnTo>
                    <a:pt x="4438" y="2479"/>
                  </a:lnTo>
                  <a:lnTo>
                    <a:pt x="4424" y="2502"/>
                  </a:lnTo>
                  <a:lnTo>
                    <a:pt x="4409" y="2526"/>
                  </a:lnTo>
                  <a:lnTo>
                    <a:pt x="4394" y="2548"/>
                  </a:lnTo>
                  <a:lnTo>
                    <a:pt x="4377" y="2571"/>
                  </a:lnTo>
                  <a:lnTo>
                    <a:pt x="4361" y="2592"/>
                  </a:lnTo>
                  <a:lnTo>
                    <a:pt x="4343" y="2613"/>
                  </a:lnTo>
                  <a:lnTo>
                    <a:pt x="4324" y="2634"/>
                  </a:lnTo>
                  <a:lnTo>
                    <a:pt x="4305" y="2653"/>
                  </a:lnTo>
                  <a:lnTo>
                    <a:pt x="4286" y="2672"/>
                  </a:lnTo>
                  <a:lnTo>
                    <a:pt x="4265" y="2691"/>
                  </a:lnTo>
                  <a:lnTo>
                    <a:pt x="4245" y="2709"/>
                  </a:lnTo>
                  <a:lnTo>
                    <a:pt x="4224" y="2726"/>
                  </a:lnTo>
                  <a:lnTo>
                    <a:pt x="4201" y="2743"/>
                  </a:lnTo>
                  <a:lnTo>
                    <a:pt x="4179" y="2758"/>
                  </a:lnTo>
                  <a:lnTo>
                    <a:pt x="4155" y="2773"/>
                  </a:lnTo>
                  <a:lnTo>
                    <a:pt x="4132" y="2787"/>
                  </a:lnTo>
                  <a:lnTo>
                    <a:pt x="4107" y="2801"/>
                  </a:lnTo>
                  <a:lnTo>
                    <a:pt x="3335" y="2801"/>
                  </a:lnTo>
                  <a:lnTo>
                    <a:pt x="3335" y="2801"/>
                  </a:lnTo>
                  <a:lnTo>
                    <a:pt x="846" y="2801"/>
                  </a:lnTo>
                  <a:lnTo>
                    <a:pt x="845" y="2801"/>
                  </a:lnTo>
                  <a:lnTo>
                    <a:pt x="548" y="2801"/>
                  </a:lnTo>
                  <a:lnTo>
                    <a:pt x="518" y="2793"/>
                  </a:lnTo>
                  <a:lnTo>
                    <a:pt x="490" y="2785"/>
                  </a:lnTo>
                  <a:lnTo>
                    <a:pt x="462" y="2776"/>
                  </a:lnTo>
                  <a:lnTo>
                    <a:pt x="435" y="2765"/>
                  </a:lnTo>
                  <a:lnTo>
                    <a:pt x="407" y="2754"/>
                  </a:lnTo>
                  <a:lnTo>
                    <a:pt x="381" y="2741"/>
                  </a:lnTo>
                  <a:lnTo>
                    <a:pt x="355" y="2727"/>
                  </a:lnTo>
                  <a:lnTo>
                    <a:pt x="330" y="2712"/>
                  </a:lnTo>
                  <a:lnTo>
                    <a:pt x="306" y="2697"/>
                  </a:lnTo>
                  <a:lnTo>
                    <a:pt x="282" y="2679"/>
                  </a:lnTo>
                  <a:lnTo>
                    <a:pt x="259" y="2662"/>
                  </a:lnTo>
                  <a:lnTo>
                    <a:pt x="237" y="2643"/>
                  </a:lnTo>
                  <a:lnTo>
                    <a:pt x="216" y="2623"/>
                  </a:lnTo>
                  <a:lnTo>
                    <a:pt x="196" y="2603"/>
                  </a:lnTo>
                  <a:lnTo>
                    <a:pt x="175" y="2582"/>
                  </a:lnTo>
                  <a:lnTo>
                    <a:pt x="157" y="2559"/>
                  </a:lnTo>
                  <a:lnTo>
                    <a:pt x="139" y="2537"/>
                  </a:lnTo>
                  <a:lnTo>
                    <a:pt x="122" y="2514"/>
                  </a:lnTo>
                  <a:lnTo>
                    <a:pt x="106" y="2489"/>
                  </a:lnTo>
                  <a:lnTo>
                    <a:pt x="91" y="2464"/>
                  </a:lnTo>
                  <a:lnTo>
                    <a:pt x="77" y="2438"/>
                  </a:lnTo>
                  <a:lnTo>
                    <a:pt x="64" y="2412"/>
                  </a:lnTo>
                  <a:lnTo>
                    <a:pt x="52" y="2385"/>
                  </a:lnTo>
                  <a:lnTo>
                    <a:pt x="42" y="2358"/>
                  </a:lnTo>
                  <a:lnTo>
                    <a:pt x="33" y="2329"/>
                  </a:lnTo>
                  <a:lnTo>
                    <a:pt x="24" y="2301"/>
                  </a:lnTo>
                  <a:lnTo>
                    <a:pt x="16" y="2272"/>
                  </a:lnTo>
                  <a:lnTo>
                    <a:pt x="11" y="2243"/>
                  </a:lnTo>
                  <a:lnTo>
                    <a:pt x="6" y="2212"/>
                  </a:lnTo>
                  <a:lnTo>
                    <a:pt x="3" y="2182"/>
                  </a:lnTo>
                  <a:lnTo>
                    <a:pt x="1" y="2151"/>
                  </a:lnTo>
                  <a:lnTo>
                    <a:pt x="0" y="2121"/>
                  </a:lnTo>
                  <a:lnTo>
                    <a:pt x="1" y="2086"/>
                  </a:lnTo>
                  <a:lnTo>
                    <a:pt x="4" y="2052"/>
                  </a:lnTo>
                  <a:lnTo>
                    <a:pt x="8" y="2018"/>
                  </a:lnTo>
                  <a:lnTo>
                    <a:pt x="13" y="1985"/>
                  </a:lnTo>
                  <a:lnTo>
                    <a:pt x="20" y="1952"/>
                  </a:lnTo>
                  <a:lnTo>
                    <a:pt x="30" y="1919"/>
                  </a:lnTo>
                  <a:lnTo>
                    <a:pt x="40" y="1888"/>
                  </a:lnTo>
                  <a:lnTo>
                    <a:pt x="52" y="1857"/>
                  </a:lnTo>
                  <a:lnTo>
                    <a:pt x="65" y="1827"/>
                  </a:lnTo>
                  <a:lnTo>
                    <a:pt x="80" y="1798"/>
                  </a:lnTo>
                  <a:lnTo>
                    <a:pt x="95" y="1770"/>
                  </a:lnTo>
                  <a:lnTo>
                    <a:pt x="112" y="1741"/>
                  </a:lnTo>
                  <a:lnTo>
                    <a:pt x="130" y="1715"/>
                  </a:lnTo>
                  <a:lnTo>
                    <a:pt x="150" y="1689"/>
                  </a:lnTo>
                  <a:lnTo>
                    <a:pt x="171" y="1664"/>
                  </a:lnTo>
                  <a:lnTo>
                    <a:pt x="193" y="1641"/>
                  </a:lnTo>
                  <a:lnTo>
                    <a:pt x="216" y="1617"/>
                  </a:lnTo>
                  <a:lnTo>
                    <a:pt x="239" y="1596"/>
                  </a:lnTo>
                  <a:lnTo>
                    <a:pt x="265" y="1574"/>
                  </a:lnTo>
                  <a:lnTo>
                    <a:pt x="290" y="1555"/>
                  </a:lnTo>
                  <a:lnTo>
                    <a:pt x="317" y="1537"/>
                  </a:lnTo>
                  <a:lnTo>
                    <a:pt x="345" y="1520"/>
                  </a:lnTo>
                  <a:lnTo>
                    <a:pt x="374" y="1504"/>
                  </a:lnTo>
                  <a:lnTo>
                    <a:pt x="402" y="1489"/>
                  </a:lnTo>
                  <a:lnTo>
                    <a:pt x="433" y="1477"/>
                  </a:lnTo>
                  <a:lnTo>
                    <a:pt x="463" y="1465"/>
                  </a:lnTo>
                  <a:lnTo>
                    <a:pt x="495" y="1454"/>
                  </a:lnTo>
                  <a:lnTo>
                    <a:pt x="527" y="1445"/>
                  </a:lnTo>
                  <a:lnTo>
                    <a:pt x="560" y="1438"/>
                  </a:lnTo>
                  <a:lnTo>
                    <a:pt x="593" y="1432"/>
                  </a:lnTo>
                  <a:lnTo>
                    <a:pt x="627" y="1428"/>
                  </a:lnTo>
                  <a:lnTo>
                    <a:pt x="661" y="1426"/>
                  </a:lnTo>
                  <a:lnTo>
                    <a:pt x="653" y="1401"/>
                  </a:lnTo>
                  <a:lnTo>
                    <a:pt x="645" y="1378"/>
                  </a:lnTo>
                  <a:lnTo>
                    <a:pt x="639" y="1354"/>
                  </a:lnTo>
                  <a:lnTo>
                    <a:pt x="634" y="1328"/>
                  </a:lnTo>
                  <a:lnTo>
                    <a:pt x="630" y="1303"/>
                  </a:lnTo>
                  <a:lnTo>
                    <a:pt x="627" y="1277"/>
                  </a:lnTo>
                  <a:lnTo>
                    <a:pt x="625" y="1251"/>
                  </a:lnTo>
                  <a:lnTo>
                    <a:pt x="624" y="1224"/>
                  </a:lnTo>
                  <a:lnTo>
                    <a:pt x="625" y="1196"/>
                  </a:lnTo>
                  <a:lnTo>
                    <a:pt x="627" y="1166"/>
                  </a:lnTo>
                  <a:lnTo>
                    <a:pt x="631" y="1138"/>
                  </a:lnTo>
                  <a:lnTo>
                    <a:pt x="636" y="1110"/>
                  </a:lnTo>
                  <a:lnTo>
                    <a:pt x="642" y="1083"/>
                  </a:lnTo>
                  <a:lnTo>
                    <a:pt x="650" y="1056"/>
                  </a:lnTo>
                  <a:lnTo>
                    <a:pt x="659" y="1029"/>
                  </a:lnTo>
                  <a:lnTo>
                    <a:pt x="669" y="1004"/>
                  </a:lnTo>
                  <a:lnTo>
                    <a:pt x="680" y="978"/>
                  </a:lnTo>
                  <a:lnTo>
                    <a:pt x="693" y="954"/>
                  </a:lnTo>
                  <a:lnTo>
                    <a:pt x="707" y="930"/>
                  </a:lnTo>
                  <a:lnTo>
                    <a:pt x="722" y="907"/>
                  </a:lnTo>
                  <a:lnTo>
                    <a:pt x="737" y="885"/>
                  </a:lnTo>
                  <a:lnTo>
                    <a:pt x="754" y="863"/>
                  </a:lnTo>
                  <a:lnTo>
                    <a:pt x="772" y="843"/>
                  </a:lnTo>
                  <a:lnTo>
                    <a:pt x="791" y="824"/>
                  </a:lnTo>
                  <a:lnTo>
                    <a:pt x="810" y="804"/>
                  </a:lnTo>
                  <a:lnTo>
                    <a:pt x="831" y="787"/>
                  </a:lnTo>
                  <a:lnTo>
                    <a:pt x="853" y="770"/>
                  </a:lnTo>
                  <a:lnTo>
                    <a:pt x="875" y="753"/>
                  </a:lnTo>
                  <a:lnTo>
                    <a:pt x="898" y="739"/>
                  </a:lnTo>
                  <a:lnTo>
                    <a:pt x="921" y="725"/>
                  </a:lnTo>
                  <a:lnTo>
                    <a:pt x="946" y="713"/>
                  </a:lnTo>
                  <a:lnTo>
                    <a:pt x="971" y="701"/>
                  </a:lnTo>
                  <a:lnTo>
                    <a:pt x="998" y="691"/>
                  </a:lnTo>
                  <a:lnTo>
                    <a:pt x="1023" y="682"/>
                  </a:lnTo>
                  <a:lnTo>
                    <a:pt x="1051" y="675"/>
                  </a:lnTo>
                  <a:lnTo>
                    <a:pt x="1078" y="668"/>
                  </a:lnTo>
                  <a:lnTo>
                    <a:pt x="1106" y="664"/>
                  </a:lnTo>
                  <a:lnTo>
                    <a:pt x="1134" y="660"/>
                  </a:lnTo>
                  <a:lnTo>
                    <a:pt x="1164" y="658"/>
                  </a:lnTo>
                  <a:lnTo>
                    <a:pt x="1192" y="657"/>
                  </a:lnTo>
                  <a:lnTo>
                    <a:pt x="1225" y="658"/>
                  </a:lnTo>
                  <a:lnTo>
                    <a:pt x="1257" y="661"/>
                  </a:lnTo>
                  <a:lnTo>
                    <a:pt x="1289" y="665"/>
                  </a:lnTo>
                  <a:lnTo>
                    <a:pt x="1319" y="671"/>
                  </a:lnTo>
                  <a:lnTo>
                    <a:pt x="1350" y="679"/>
                  </a:lnTo>
                  <a:lnTo>
                    <a:pt x="1379" y="688"/>
                  </a:lnTo>
                  <a:lnTo>
                    <a:pt x="1408" y="699"/>
                  </a:lnTo>
                  <a:lnTo>
                    <a:pt x="1435" y="712"/>
                  </a:lnTo>
                  <a:lnTo>
                    <a:pt x="1463" y="725"/>
                  </a:lnTo>
                  <a:lnTo>
                    <a:pt x="1489" y="740"/>
                  </a:lnTo>
                  <a:lnTo>
                    <a:pt x="1515" y="757"/>
                  </a:lnTo>
                  <a:lnTo>
                    <a:pt x="1539" y="775"/>
                  </a:lnTo>
                  <a:lnTo>
                    <a:pt x="1563" y="794"/>
                  </a:lnTo>
                  <a:lnTo>
                    <a:pt x="1585" y="814"/>
                  </a:lnTo>
                  <a:lnTo>
                    <a:pt x="1606" y="836"/>
                  </a:lnTo>
                  <a:lnTo>
                    <a:pt x="1627" y="858"/>
                  </a:lnTo>
                  <a:lnTo>
                    <a:pt x="1638" y="812"/>
                  </a:lnTo>
                  <a:lnTo>
                    <a:pt x="1651" y="768"/>
                  </a:lnTo>
                  <a:lnTo>
                    <a:pt x="1665" y="724"/>
                  </a:lnTo>
                  <a:lnTo>
                    <a:pt x="1683" y="681"/>
                  </a:lnTo>
                  <a:lnTo>
                    <a:pt x="1701" y="638"/>
                  </a:lnTo>
                  <a:lnTo>
                    <a:pt x="1721" y="597"/>
                  </a:lnTo>
                  <a:lnTo>
                    <a:pt x="1743" y="557"/>
                  </a:lnTo>
                  <a:lnTo>
                    <a:pt x="1766" y="517"/>
                  </a:lnTo>
                  <a:lnTo>
                    <a:pt x="1792" y="480"/>
                  </a:lnTo>
                  <a:lnTo>
                    <a:pt x="1818" y="442"/>
                  </a:lnTo>
                  <a:lnTo>
                    <a:pt x="1846" y="406"/>
                  </a:lnTo>
                  <a:lnTo>
                    <a:pt x="1875" y="372"/>
                  </a:lnTo>
                  <a:lnTo>
                    <a:pt x="1906" y="338"/>
                  </a:lnTo>
                  <a:lnTo>
                    <a:pt x="1938" y="306"/>
                  </a:lnTo>
                  <a:lnTo>
                    <a:pt x="1972" y="275"/>
                  </a:lnTo>
                  <a:lnTo>
                    <a:pt x="2006" y="246"/>
                  </a:lnTo>
                  <a:lnTo>
                    <a:pt x="2042" y="218"/>
                  </a:lnTo>
                  <a:lnTo>
                    <a:pt x="2080" y="192"/>
                  </a:lnTo>
                  <a:lnTo>
                    <a:pt x="2117" y="166"/>
                  </a:lnTo>
                  <a:lnTo>
                    <a:pt x="2157" y="143"/>
                  </a:lnTo>
                  <a:lnTo>
                    <a:pt x="2197" y="121"/>
                  </a:lnTo>
                  <a:lnTo>
                    <a:pt x="2239" y="101"/>
                  </a:lnTo>
                  <a:lnTo>
                    <a:pt x="2281" y="83"/>
                  </a:lnTo>
                  <a:lnTo>
                    <a:pt x="2324" y="66"/>
                  </a:lnTo>
                  <a:lnTo>
                    <a:pt x="2368" y="51"/>
                  </a:lnTo>
                  <a:lnTo>
                    <a:pt x="2413" y="38"/>
                  </a:lnTo>
                  <a:lnTo>
                    <a:pt x="2458" y="27"/>
                  </a:lnTo>
                  <a:lnTo>
                    <a:pt x="2505" y="18"/>
                  </a:lnTo>
                  <a:lnTo>
                    <a:pt x="2552" y="11"/>
                  </a:lnTo>
                  <a:lnTo>
                    <a:pt x="2600" y="5"/>
                  </a:lnTo>
                  <a:lnTo>
                    <a:pt x="2648" y="2"/>
                  </a:lnTo>
                  <a:lnTo>
                    <a:pt x="2697" y="0"/>
                  </a:lnTo>
                  <a:lnTo>
                    <a:pt x="2754" y="2"/>
                  </a:lnTo>
                  <a:lnTo>
                    <a:pt x="2809" y="6"/>
                  </a:lnTo>
                  <a:lnTo>
                    <a:pt x="2864" y="14"/>
                  </a:lnTo>
                  <a:lnTo>
                    <a:pt x="2918" y="23"/>
                  </a:lnTo>
                  <a:lnTo>
                    <a:pt x="2970" y="35"/>
                  </a:lnTo>
                  <a:lnTo>
                    <a:pt x="3023" y="50"/>
                  </a:lnTo>
                  <a:lnTo>
                    <a:pt x="3074" y="68"/>
                  </a:lnTo>
                  <a:lnTo>
                    <a:pt x="3124" y="87"/>
                  </a:lnTo>
                  <a:lnTo>
                    <a:pt x="3172" y="109"/>
                  </a:lnTo>
                  <a:lnTo>
                    <a:pt x="3220" y="133"/>
                  </a:lnTo>
                  <a:lnTo>
                    <a:pt x="3266" y="159"/>
                  </a:lnTo>
                  <a:lnTo>
                    <a:pt x="3309" y="188"/>
                  </a:lnTo>
                  <a:lnTo>
                    <a:pt x="3353" y="218"/>
                  </a:lnTo>
                  <a:lnTo>
                    <a:pt x="3394" y="251"/>
                  </a:lnTo>
                  <a:lnTo>
                    <a:pt x="3434" y="285"/>
                  </a:lnTo>
                  <a:lnTo>
                    <a:pt x="3472" y="322"/>
                  </a:lnTo>
                  <a:lnTo>
                    <a:pt x="3509" y="360"/>
                  </a:lnTo>
                  <a:lnTo>
                    <a:pt x="3543" y="399"/>
                  </a:lnTo>
                  <a:lnTo>
                    <a:pt x="3575" y="441"/>
                  </a:lnTo>
                  <a:lnTo>
                    <a:pt x="3606" y="484"/>
                  </a:lnTo>
                  <a:lnTo>
                    <a:pt x="3634" y="528"/>
                  </a:lnTo>
                  <a:lnTo>
                    <a:pt x="3661" y="574"/>
                  </a:lnTo>
                  <a:lnTo>
                    <a:pt x="3685" y="622"/>
                  </a:lnTo>
                  <a:lnTo>
                    <a:pt x="3707" y="670"/>
                  </a:lnTo>
                  <a:lnTo>
                    <a:pt x="3727" y="720"/>
                  </a:lnTo>
                  <a:lnTo>
                    <a:pt x="3744" y="771"/>
                  </a:lnTo>
                  <a:lnTo>
                    <a:pt x="3758" y="823"/>
                  </a:lnTo>
                  <a:lnTo>
                    <a:pt x="3771" y="875"/>
                  </a:lnTo>
                  <a:lnTo>
                    <a:pt x="3781" y="929"/>
                  </a:lnTo>
                  <a:lnTo>
                    <a:pt x="3788" y="984"/>
                  </a:lnTo>
                  <a:lnTo>
                    <a:pt x="3792" y="1040"/>
                  </a:lnTo>
                  <a:lnTo>
                    <a:pt x="3793" y="1096"/>
                  </a:lnTo>
                  <a:lnTo>
                    <a:pt x="3793" y="1117"/>
                  </a:lnTo>
                  <a:lnTo>
                    <a:pt x="3793" y="1136"/>
                  </a:lnTo>
                  <a:lnTo>
                    <a:pt x="3792" y="1155"/>
                  </a:lnTo>
                  <a:lnTo>
                    <a:pt x="3791" y="1175"/>
                  </a:lnTo>
                  <a:lnTo>
                    <a:pt x="3789" y="1194"/>
                  </a:lnTo>
                  <a:lnTo>
                    <a:pt x="3787" y="1213"/>
                  </a:lnTo>
                  <a:lnTo>
                    <a:pt x="3785" y="1232"/>
                  </a:lnTo>
                  <a:lnTo>
                    <a:pt x="3783" y="125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endParaRPr lang="en-US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60" name="任意多边形: 形状 159">
              <a:extLst>
                <a:ext uri="{FF2B5EF4-FFF2-40B4-BE49-F238E27FC236}">
                  <a16:creationId xmlns:a16="http://schemas.microsoft.com/office/drawing/2014/main" id="{99B1729E-A5D7-4F92-92ED-5C61AC1AE05E}"/>
                </a:ext>
              </a:extLst>
            </p:cNvPr>
            <p:cNvSpPr/>
            <p:nvPr/>
          </p:nvSpPr>
          <p:spPr>
            <a:xfrm>
              <a:off x="1059745" y="2443365"/>
              <a:ext cx="265971" cy="292677"/>
            </a:xfrm>
            <a:custGeom>
              <a:avLst/>
              <a:gdLst>
                <a:gd name="T0" fmla="*/ 462 w 473"/>
                <a:gd name="T1" fmla="*/ 99 h 521"/>
                <a:gd name="T2" fmla="*/ 442 w 473"/>
                <a:gd name="T3" fmla="*/ 82 h 521"/>
                <a:gd name="T4" fmla="*/ 345 w 473"/>
                <a:gd name="T5" fmla="*/ 130 h 521"/>
                <a:gd name="T6" fmla="*/ 379 w 473"/>
                <a:gd name="T7" fmla="*/ 27 h 521"/>
                <a:gd name="T8" fmla="*/ 359 w 473"/>
                <a:gd name="T9" fmla="*/ 10 h 521"/>
                <a:gd name="T10" fmla="*/ 290 w 473"/>
                <a:gd name="T11" fmla="*/ 49 h 521"/>
                <a:gd name="T12" fmla="*/ 242 w 473"/>
                <a:gd name="T13" fmla="*/ 105 h 521"/>
                <a:gd name="T14" fmla="*/ 249 w 473"/>
                <a:gd name="T15" fmla="*/ 209 h 521"/>
                <a:gd name="T16" fmla="*/ 234 w 473"/>
                <a:gd name="T17" fmla="*/ 225 h 521"/>
                <a:gd name="T18" fmla="*/ 132 w 473"/>
                <a:gd name="T19" fmla="*/ 91 h 521"/>
                <a:gd name="T20" fmla="*/ 138 w 473"/>
                <a:gd name="T21" fmla="*/ 58 h 521"/>
                <a:gd name="T22" fmla="*/ 73 w 473"/>
                <a:gd name="T23" fmla="*/ 31 h 521"/>
                <a:gd name="T24" fmla="*/ 50 w 473"/>
                <a:gd name="T25" fmla="*/ 51 h 521"/>
                <a:gd name="T26" fmla="*/ 57 w 473"/>
                <a:gd name="T27" fmla="*/ 115 h 521"/>
                <a:gd name="T28" fmla="*/ 96 w 473"/>
                <a:gd name="T29" fmla="*/ 120 h 521"/>
                <a:gd name="T30" fmla="*/ 194 w 473"/>
                <a:gd name="T31" fmla="*/ 249 h 521"/>
                <a:gd name="T32" fmla="*/ 153 w 473"/>
                <a:gd name="T33" fmla="*/ 262 h 521"/>
                <a:gd name="T34" fmla="*/ 0 w 473"/>
                <a:gd name="T35" fmla="*/ 440 h 521"/>
                <a:gd name="T36" fmla="*/ 58 w 473"/>
                <a:gd name="T37" fmla="*/ 490 h 521"/>
                <a:gd name="T38" fmla="*/ 117 w 473"/>
                <a:gd name="T39" fmla="*/ 486 h 521"/>
                <a:gd name="T40" fmla="*/ 253 w 473"/>
                <a:gd name="T41" fmla="*/ 327 h 521"/>
                <a:gd name="T42" fmla="*/ 287 w 473"/>
                <a:gd name="T43" fmla="*/ 372 h 521"/>
                <a:gd name="T44" fmla="*/ 288 w 473"/>
                <a:gd name="T45" fmla="*/ 423 h 521"/>
                <a:gd name="T46" fmla="*/ 362 w 473"/>
                <a:gd name="T47" fmla="*/ 521 h 521"/>
                <a:gd name="T48" fmla="*/ 417 w 473"/>
                <a:gd name="T49" fmla="*/ 480 h 521"/>
                <a:gd name="T50" fmla="*/ 416 w 473"/>
                <a:gd name="T51" fmla="*/ 429 h 521"/>
                <a:gd name="T52" fmla="*/ 342 w 473"/>
                <a:gd name="T53" fmla="*/ 330 h 521"/>
                <a:gd name="T54" fmla="*/ 324 w 473"/>
                <a:gd name="T55" fmla="*/ 343 h 521"/>
                <a:gd name="T56" fmla="*/ 261 w 473"/>
                <a:gd name="T57" fmla="*/ 261 h 521"/>
                <a:gd name="T58" fmla="*/ 281 w 473"/>
                <a:gd name="T59" fmla="*/ 237 h 521"/>
                <a:gd name="T60" fmla="*/ 385 w 473"/>
                <a:gd name="T61" fmla="*/ 229 h 521"/>
                <a:gd name="T62" fmla="*/ 434 w 473"/>
                <a:gd name="T63" fmla="*/ 172 h 521"/>
                <a:gd name="T64" fmla="*/ 462 w 473"/>
                <a:gd name="T65" fmla="*/ 99 h 521"/>
                <a:gd name="T66" fmla="*/ 109 w 473"/>
                <a:gd name="T67" fmla="*/ 443 h 521"/>
                <a:gd name="T68" fmla="*/ 73 w 473"/>
                <a:gd name="T69" fmla="*/ 446 h 521"/>
                <a:gd name="T70" fmla="*/ 70 w 473"/>
                <a:gd name="T71" fmla="*/ 410 h 521"/>
                <a:gd name="T72" fmla="*/ 106 w 473"/>
                <a:gd name="T73" fmla="*/ 407 h 521"/>
                <a:gd name="T74" fmla="*/ 109 w 473"/>
                <a:gd name="T75" fmla="*/ 443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73" h="521">
                  <a:moveTo>
                    <a:pt x="462" y="99"/>
                  </a:moveTo>
                  <a:lnTo>
                    <a:pt x="442" y="82"/>
                  </a:lnTo>
                  <a:cubicBezTo>
                    <a:pt x="400" y="121"/>
                    <a:pt x="382" y="162"/>
                    <a:pt x="345" y="130"/>
                  </a:cubicBezTo>
                  <a:cubicBezTo>
                    <a:pt x="308" y="98"/>
                    <a:pt x="346" y="75"/>
                    <a:pt x="379" y="27"/>
                  </a:cubicBezTo>
                  <a:cubicBezTo>
                    <a:pt x="379" y="27"/>
                    <a:pt x="370" y="19"/>
                    <a:pt x="359" y="10"/>
                  </a:cubicBezTo>
                  <a:cubicBezTo>
                    <a:pt x="348" y="0"/>
                    <a:pt x="317" y="18"/>
                    <a:pt x="290" y="49"/>
                  </a:cubicBezTo>
                  <a:lnTo>
                    <a:pt x="242" y="105"/>
                  </a:lnTo>
                  <a:cubicBezTo>
                    <a:pt x="215" y="136"/>
                    <a:pt x="218" y="182"/>
                    <a:pt x="249" y="209"/>
                  </a:cubicBezTo>
                  <a:lnTo>
                    <a:pt x="234" y="225"/>
                  </a:lnTo>
                  <a:lnTo>
                    <a:pt x="132" y="91"/>
                  </a:lnTo>
                  <a:cubicBezTo>
                    <a:pt x="137" y="79"/>
                    <a:pt x="150" y="67"/>
                    <a:pt x="138" y="58"/>
                  </a:cubicBezTo>
                  <a:lnTo>
                    <a:pt x="73" y="31"/>
                  </a:lnTo>
                  <a:lnTo>
                    <a:pt x="50" y="51"/>
                  </a:lnTo>
                  <a:cubicBezTo>
                    <a:pt x="50" y="51"/>
                    <a:pt x="57" y="115"/>
                    <a:pt x="57" y="115"/>
                  </a:cubicBezTo>
                  <a:cubicBezTo>
                    <a:pt x="63" y="131"/>
                    <a:pt x="82" y="125"/>
                    <a:pt x="96" y="120"/>
                  </a:cubicBezTo>
                  <a:lnTo>
                    <a:pt x="194" y="249"/>
                  </a:lnTo>
                  <a:cubicBezTo>
                    <a:pt x="179" y="246"/>
                    <a:pt x="164" y="250"/>
                    <a:pt x="153" y="262"/>
                  </a:cubicBezTo>
                  <a:lnTo>
                    <a:pt x="0" y="440"/>
                  </a:lnTo>
                  <a:lnTo>
                    <a:pt x="58" y="490"/>
                  </a:lnTo>
                  <a:cubicBezTo>
                    <a:pt x="75" y="505"/>
                    <a:pt x="102" y="503"/>
                    <a:pt x="117" y="486"/>
                  </a:cubicBezTo>
                  <a:lnTo>
                    <a:pt x="253" y="327"/>
                  </a:lnTo>
                  <a:lnTo>
                    <a:pt x="287" y="372"/>
                  </a:lnTo>
                  <a:cubicBezTo>
                    <a:pt x="271" y="386"/>
                    <a:pt x="274" y="405"/>
                    <a:pt x="288" y="423"/>
                  </a:cubicBezTo>
                  <a:lnTo>
                    <a:pt x="362" y="521"/>
                  </a:lnTo>
                  <a:lnTo>
                    <a:pt x="417" y="480"/>
                  </a:lnTo>
                  <a:cubicBezTo>
                    <a:pt x="435" y="466"/>
                    <a:pt x="430" y="447"/>
                    <a:pt x="416" y="429"/>
                  </a:cubicBezTo>
                  <a:lnTo>
                    <a:pt x="342" y="330"/>
                  </a:lnTo>
                  <a:lnTo>
                    <a:pt x="324" y="343"/>
                  </a:lnTo>
                  <a:lnTo>
                    <a:pt x="261" y="261"/>
                  </a:lnTo>
                  <a:lnTo>
                    <a:pt x="281" y="237"/>
                  </a:lnTo>
                  <a:cubicBezTo>
                    <a:pt x="313" y="263"/>
                    <a:pt x="359" y="259"/>
                    <a:pt x="385" y="229"/>
                  </a:cubicBezTo>
                  <a:lnTo>
                    <a:pt x="434" y="172"/>
                  </a:lnTo>
                  <a:cubicBezTo>
                    <a:pt x="461" y="141"/>
                    <a:pt x="473" y="108"/>
                    <a:pt x="462" y="99"/>
                  </a:cubicBezTo>
                  <a:close/>
                  <a:moveTo>
                    <a:pt x="109" y="443"/>
                  </a:moveTo>
                  <a:cubicBezTo>
                    <a:pt x="100" y="454"/>
                    <a:pt x="84" y="455"/>
                    <a:pt x="73" y="446"/>
                  </a:cubicBezTo>
                  <a:cubicBezTo>
                    <a:pt x="62" y="437"/>
                    <a:pt x="61" y="420"/>
                    <a:pt x="70" y="410"/>
                  </a:cubicBezTo>
                  <a:cubicBezTo>
                    <a:pt x="80" y="399"/>
                    <a:pt x="96" y="398"/>
                    <a:pt x="106" y="407"/>
                  </a:cubicBezTo>
                  <a:cubicBezTo>
                    <a:pt x="117" y="416"/>
                    <a:pt x="118" y="432"/>
                    <a:pt x="109" y="44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r"/>
              <a:endParaRPr lang="zh-CN" altLang="en-US"/>
            </a:p>
          </p:txBody>
        </p:sp>
      </p:grpSp>
      <p:grpSp>
        <p:nvGrpSpPr>
          <p:cNvPr id="156" name="组合 155">
            <a:extLst>
              <a:ext uri="{FF2B5EF4-FFF2-40B4-BE49-F238E27FC236}">
                <a16:creationId xmlns:a16="http://schemas.microsoft.com/office/drawing/2014/main" id="{DAFF8D25-2900-406C-801F-D06FBA8DEDFA}"/>
              </a:ext>
            </a:extLst>
          </p:cNvPr>
          <p:cNvGrpSpPr/>
          <p:nvPr/>
        </p:nvGrpSpPr>
        <p:grpSpPr>
          <a:xfrm>
            <a:off x="673100" y="2962962"/>
            <a:ext cx="3455651" cy="1086937"/>
            <a:chOff x="673100" y="2835564"/>
            <a:chExt cx="3206173" cy="1086937"/>
          </a:xfrm>
          <a:noFill/>
        </p:grpSpPr>
        <p:sp>
          <p:nvSpPr>
            <p:cNvPr id="157" name="矩形 156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673100" y="3290745"/>
              <a:ext cx="3206173" cy="6317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158" name="文本框 157">
              <a:extLst>
                <a:ext uri="{FF2B5EF4-FFF2-40B4-BE49-F238E27FC236}">
                  <a16:creationId xmlns:a16="http://schemas.microsoft.com/office/drawing/2014/main" id="{3495B739-E5A7-4F4A-95FD-24BDFE4B18B1}"/>
                </a:ext>
              </a:extLst>
            </p:cNvPr>
            <p:cNvSpPr txBox="1"/>
            <p:nvPr/>
          </p:nvSpPr>
          <p:spPr bwMode="auto">
            <a:xfrm>
              <a:off x="673100" y="2835564"/>
              <a:ext cx="3206173" cy="45518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20000"/>
                </a:lnSpc>
                <a:spcBef>
                  <a:spcPct val="0"/>
                </a:spcBef>
              </a:pPr>
              <a:r>
                <a:rPr lang="en-US" altLang="zh-CN" sz="2000" b="1" dirty="0"/>
                <a:t>Text here</a:t>
              </a:r>
            </a:p>
          </p:txBody>
        </p:sp>
      </p:grpSp>
      <p:grpSp>
        <p:nvGrpSpPr>
          <p:cNvPr id="149" name="组合 148">
            <a:extLst>
              <a:ext uri="{FF2B5EF4-FFF2-40B4-BE49-F238E27FC236}">
                <a16:creationId xmlns:a16="http://schemas.microsoft.com/office/drawing/2014/main" id="{CF3D35BF-070E-47AB-85E3-0D26B233F626}"/>
              </a:ext>
            </a:extLst>
          </p:cNvPr>
          <p:cNvGrpSpPr/>
          <p:nvPr/>
        </p:nvGrpSpPr>
        <p:grpSpPr>
          <a:xfrm>
            <a:off x="8063249" y="2424959"/>
            <a:ext cx="909954" cy="510396"/>
            <a:chOff x="10608946" y="2297561"/>
            <a:chExt cx="909954" cy="510396"/>
          </a:xfrm>
        </p:grpSpPr>
        <p:sp>
          <p:nvSpPr>
            <p:cNvPr id="153" name="任意多边形: 形状 152">
              <a:extLst>
                <a:ext uri="{FF2B5EF4-FFF2-40B4-BE49-F238E27FC236}">
                  <a16:creationId xmlns:a16="http://schemas.microsoft.com/office/drawing/2014/main" id="{AD2184E5-84DD-44FB-A248-281E4B3B05A8}"/>
                </a:ext>
              </a:extLst>
            </p:cNvPr>
            <p:cNvSpPr/>
            <p:nvPr/>
          </p:nvSpPr>
          <p:spPr bwMode="auto">
            <a:xfrm>
              <a:off x="10608946" y="2297561"/>
              <a:ext cx="909954" cy="510396"/>
            </a:xfrm>
            <a:custGeom>
              <a:avLst/>
              <a:gdLst>
                <a:gd name="T0" fmla="*/ 3938 w 4545"/>
                <a:gd name="T1" fmla="*/ 1277 h 2801"/>
                <a:gd name="T2" fmla="*/ 4116 w 4545"/>
                <a:gd name="T3" fmla="*/ 1349 h 2801"/>
                <a:gd name="T4" fmla="*/ 4270 w 4545"/>
                <a:gd name="T5" fmla="*/ 1457 h 2801"/>
                <a:gd name="T6" fmla="*/ 4396 w 4545"/>
                <a:gd name="T7" fmla="*/ 1599 h 2801"/>
                <a:gd name="T8" fmla="*/ 4486 w 4545"/>
                <a:gd name="T9" fmla="*/ 1765 h 2801"/>
                <a:gd name="T10" fmla="*/ 4537 w 4545"/>
                <a:gd name="T11" fmla="*/ 1953 h 2801"/>
                <a:gd name="T12" fmla="*/ 4543 w 4545"/>
                <a:gd name="T13" fmla="*/ 2131 h 2801"/>
                <a:gd name="T14" fmla="*/ 4521 w 4545"/>
                <a:gd name="T15" fmla="*/ 2272 h 2801"/>
                <a:gd name="T16" fmla="*/ 4476 w 4545"/>
                <a:gd name="T17" fmla="*/ 2405 h 2801"/>
                <a:gd name="T18" fmla="*/ 4409 w 4545"/>
                <a:gd name="T19" fmla="*/ 2526 h 2801"/>
                <a:gd name="T20" fmla="*/ 4324 w 4545"/>
                <a:gd name="T21" fmla="*/ 2634 h 2801"/>
                <a:gd name="T22" fmla="*/ 4224 w 4545"/>
                <a:gd name="T23" fmla="*/ 2726 h 2801"/>
                <a:gd name="T24" fmla="*/ 4107 w 4545"/>
                <a:gd name="T25" fmla="*/ 2801 h 2801"/>
                <a:gd name="T26" fmla="*/ 548 w 4545"/>
                <a:gd name="T27" fmla="*/ 2801 h 2801"/>
                <a:gd name="T28" fmla="*/ 407 w 4545"/>
                <a:gd name="T29" fmla="*/ 2754 h 2801"/>
                <a:gd name="T30" fmla="*/ 282 w 4545"/>
                <a:gd name="T31" fmla="*/ 2679 h 2801"/>
                <a:gd name="T32" fmla="*/ 175 w 4545"/>
                <a:gd name="T33" fmla="*/ 2582 h 2801"/>
                <a:gd name="T34" fmla="*/ 91 w 4545"/>
                <a:gd name="T35" fmla="*/ 2464 h 2801"/>
                <a:gd name="T36" fmla="*/ 33 w 4545"/>
                <a:gd name="T37" fmla="*/ 2329 h 2801"/>
                <a:gd name="T38" fmla="*/ 3 w 4545"/>
                <a:gd name="T39" fmla="*/ 2182 h 2801"/>
                <a:gd name="T40" fmla="*/ 8 w 4545"/>
                <a:gd name="T41" fmla="*/ 2018 h 2801"/>
                <a:gd name="T42" fmla="*/ 52 w 4545"/>
                <a:gd name="T43" fmla="*/ 1857 h 2801"/>
                <a:gd name="T44" fmla="*/ 130 w 4545"/>
                <a:gd name="T45" fmla="*/ 1715 h 2801"/>
                <a:gd name="T46" fmla="*/ 239 w 4545"/>
                <a:gd name="T47" fmla="*/ 1596 h 2801"/>
                <a:gd name="T48" fmla="*/ 374 w 4545"/>
                <a:gd name="T49" fmla="*/ 1504 h 2801"/>
                <a:gd name="T50" fmla="*/ 527 w 4545"/>
                <a:gd name="T51" fmla="*/ 1445 h 2801"/>
                <a:gd name="T52" fmla="*/ 653 w 4545"/>
                <a:gd name="T53" fmla="*/ 1401 h 2801"/>
                <a:gd name="T54" fmla="*/ 627 w 4545"/>
                <a:gd name="T55" fmla="*/ 1277 h 2801"/>
                <a:gd name="T56" fmla="*/ 631 w 4545"/>
                <a:gd name="T57" fmla="*/ 1138 h 2801"/>
                <a:gd name="T58" fmla="*/ 669 w 4545"/>
                <a:gd name="T59" fmla="*/ 1004 h 2801"/>
                <a:gd name="T60" fmla="*/ 737 w 4545"/>
                <a:gd name="T61" fmla="*/ 885 h 2801"/>
                <a:gd name="T62" fmla="*/ 831 w 4545"/>
                <a:gd name="T63" fmla="*/ 787 h 2801"/>
                <a:gd name="T64" fmla="*/ 946 w 4545"/>
                <a:gd name="T65" fmla="*/ 713 h 2801"/>
                <a:gd name="T66" fmla="*/ 1078 w 4545"/>
                <a:gd name="T67" fmla="*/ 668 h 2801"/>
                <a:gd name="T68" fmla="*/ 1225 w 4545"/>
                <a:gd name="T69" fmla="*/ 658 h 2801"/>
                <a:gd name="T70" fmla="*/ 1379 w 4545"/>
                <a:gd name="T71" fmla="*/ 688 h 2801"/>
                <a:gd name="T72" fmla="*/ 1515 w 4545"/>
                <a:gd name="T73" fmla="*/ 757 h 2801"/>
                <a:gd name="T74" fmla="*/ 1627 w 4545"/>
                <a:gd name="T75" fmla="*/ 858 h 2801"/>
                <a:gd name="T76" fmla="*/ 1701 w 4545"/>
                <a:gd name="T77" fmla="*/ 638 h 2801"/>
                <a:gd name="T78" fmla="*/ 1818 w 4545"/>
                <a:gd name="T79" fmla="*/ 442 h 2801"/>
                <a:gd name="T80" fmla="*/ 1972 w 4545"/>
                <a:gd name="T81" fmla="*/ 275 h 2801"/>
                <a:gd name="T82" fmla="*/ 2157 w 4545"/>
                <a:gd name="T83" fmla="*/ 143 h 2801"/>
                <a:gd name="T84" fmla="*/ 2368 w 4545"/>
                <a:gd name="T85" fmla="*/ 51 h 2801"/>
                <a:gd name="T86" fmla="*/ 2600 w 4545"/>
                <a:gd name="T87" fmla="*/ 5 h 2801"/>
                <a:gd name="T88" fmla="*/ 2864 w 4545"/>
                <a:gd name="T89" fmla="*/ 14 h 2801"/>
                <a:gd name="T90" fmla="*/ 3124 w 4545"/>
                <a:gd name="T91" fmla="*/ 87 h 2801"/>
                <a:gd name="T92" fmla="*/ 3353 w 4545"/>
                <a:gd name="T93" fmla="*/ 218 h 2801"/>
                <a:gd name="T94" fmla="*/ 3543 w 4545"/>
                <a:gd name="T95" fmla="*/ 399 h 2801"/>
                <a:gd name="T96" fmla="*/ 3685 w 4545"/>
                <a:gd name="T97" fmla="*/ 622 h 2801"/>
                <a:gd name="T98" fmla="*/ 3771 w 4545"/>
                <a:gd name="T99" fmla="*/ 875 h 2801"/>
                <a:gd name="T100" fmla="*/ 3793 w 4545"/>
                <a:gd name="T101" fmla="*/ 1117 h 2801"/>
                <a:gd name="T102" fmla="*/ 3787 w 4545"/>
                <a:gd name="T103" fmla="*/ 1213 h 28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545" h="2801">
                  <a:moveTo>
                    <a:pt x="3783" y="1251"/>
                  </a:moveTo>
                  <a:lnTo>
                    <a:pt x="3822" y="1255"/>
                  </a:lnTo>
                  <a:lnTo>
                    <a:pt x="3861" y="1260"/>
                  </a:lnTo>
                  <a:lnTo>
                    <a:pt x="3900" y="1268"/>
                  </a:lnTo>
                  <a:lnTo>
                    <a:pt x="3938" y="1277"/>
                  </a:lnTo>
                  <a:lnTo>
                    <a:pt x="3975" y="1289"/>
                  </a:lnTo>
                  <a:lnTo>
                    <a:pt x="4011" y="1301"/>
                  </a:lnTo>
                  <a:lnTo>
                    <a:pt x="4046" y="1315"/>
                  </a:lnTo>
                  <a:lnTo>
                    <a:pt x="4082" y="1331"/>
                  </a:lnTo>
                  <a:lnTo>
                    <a:pt x="4116" y="1349"/>
                  </a:lnTo>
                  <a:lnTo>
                    <a:pt x="4148" y="1368"/>
                  </a:lnTo>
                  <a:lnTo>
                    <a:pt x="4181" y="1388"/>
                  </a:lnTo>
                  <a:lnTo>
                    <a:pt x="4211" y="1410"/>
                  </a:lnTo>
                  <a:lnTo>
                    <a:pt x="4241" y="1433"/>
                  </a:lnTo>
                  <a:lnTo>
                    <a:pt x="4270" y="1457"/>
                  </a:lnTo>
                  <a:lnTo>
                    <a:pt x="4298" y="1484"/>
                  </a:lnTo>
                  <a:lnTo>
                    <a:pt x="4324" y="1510"/>
                  </a:lnTo>
                  <a:lnTo>
                    <a:pt x="4349" y="1539"/>
                  </a:lnTo>
                  <a:lnTo>
                    <a:pt x="4373" y="1568"/>
                  </a:lnTo>
                  <a:lnTo>
                    <a:pt x="4396" y="1599"/>
                  </a:lnTo>
                  <a:lnTo>
                    <a:pt x="4417" y="1629"/>
                  </a:lnTo>
                  <a:lnTo>
                    <a:pt x="4436" y="1662"/>
                  </a:lnTo>
                  <a:lnTo>
                    <a:pt x="4455" y="1696"/>
                  </a:lnTo>
                  <a:lnTo>
                    <a:pt x="4471" y="1730"/>
                  </a:lnTo>
                  <a:lnTo>
                    <a:pt x="4486" y="1765"/>
                  </a:lnTo>
                  <a:lnTo>
                    <a:pt x="4499" y="1801"/>
                  </a:lnTo>
                  <a:lnTo>
                    <a:pt x="4512" y="1838"/>
                  </a:lnTo>
                  <a:lnTo>
                    <a:pt x="4522" y="1876"/>
                  </a:lnTo>
                  <a:lnTo>
                    <a:pt x="4530" y="1913"/>
                  </a:lnTo>
                  <a:lnTo>
                    <a:pt x="4537" y="1953"/>
                  </a:lnTo>
                  <a:lnTo>
                    <a:pt x="4541" y="1992"/>
                  </a:lnTo>
                  <a:lnTo>
                    <a:pt x="4544" y="2032"/>
                  </a:lnTo>
                  <a:lnTo>
                    <a:pt x="4545" y="2072"/>
                  </a:lnTo>
                  <a:lnTo>
                    <a:pt x="4545" y="2102"/>
                  </a:lnTo>
                  <a:lnTo>
                    <a:pt x="4543" y="2131"/>
                  </a:lnTo>
                  <a:lnTo>
                    <a:pt x="4541" y="2160"/>
                  </a:lnTo>
                  <a:lnTo>
                    <a:pt x="4537" y="2189"/>
                  </a:lnTo>
                  <a:lnTo>
                    <a:pt x="4533" y="2216"/>
                  </a:lnTo>
                  <a:lnTo>
                    <a:pt x="4527" y="2245"/>
                  </a:lnTo>
                  <a:lnTo>
                    <a:pt x="4521" y="2272"/>
                  </a:lnTo>
                  <a:lnTo>
                    <a:pt x="4514" y="2300"/>
                  </a:lnTo>
                  <a:lnTo>
                    <a:pt x="4506" y="2326"/>
                  </a:lnTo>
                  <a:lnTo>
                    <a:pt x="4496" y="2353"/>
                  </a:lnTo>
                  <a:lnTo>
                    <a:pt x="4486" y="2379"/>
                  </a:lnTo>
                  <a:lnTo>
                    <a:pt x="4476" y="2405"/>
                  </a:lnTo>
                  <a:lnTo>
                    <a:pt x="4464" y="2430"/>
                  </a:lnTo>
                  <a:lnTo>
                    <a:pt x="4452" y="2455"/>
                  </a:lnTo>
                  <a:lnTo>
                    <a:pt x="4438" y="2479"/>
                  </a:lnTo>
                  <a:lnTo>
                    <a:pt x="4424" y="2502"/>
                  </a:lnTo>
                  <a:lnTo>
                    <a:pt x="4409" y="2526"/>
                  </a:lnTo>
                  <a:lnTo>
                    <a:pt x="4394" y="2548"/>
                  </a:lnTo>
                  <a:lnTo>
                    <a:pt x="4377" y="2571"/>
                  </a:lnTo>
                  <a:lnTo>
                    <a:pt x="4361" y="2592"/>
                  </a:lnTo>
                  <a:lnTo>
                    <a:pt x="4343" y="2613"/>
                  </a:lnTo>
                  <a:lnTo>
                    <a:pt x="4324" y="2634"/>
                  </a:lnTo>
                  <a:lnTo>
                    <a:pt x="4305" y="2653"/>
                  </a:lnTo>
                  <a:lnTo>
                    <a:pt x="4286" y="2672"/>
                  </a:lnTo>
                  <a:lnTo>
                    <a:pt x="4265" y="2691"/>
                  </a:lnTo>
                  <a:lnTo>
                    <a:pt x="4245" y="2709"/>
                  </a:lnTo>
                  <a:lnTo>
                    <a:pt x="4224" y="2726"/>
                  </a:lnTo>
                  <a:lnTo>
                    <a:pt x="4201" y="2743"/>
                  </a:lnTo>
                  <a:lnTo>
                    <a:pt x="4179" y="2758"/>
                  </a:lnTo>
                  <a:lnTo>
                    <a:pt x="4155" y="2773"/>
                  </a:lnTo>
                  <a:lnTo>
                    <a:pt x="4132" y="2787"/>
                  </a:lnTo>
                  <a:lnTo>
                    <a:pt x="4107" y="2801"/>
                  </a:lnTo>
                  <a:lnTo>
                    <a:pt x="3335" y="2801"/>
                  </a:lnTo>
                  <a:lnTo>
                    <a:pt x="3335" y="2801"/>
                  </a:lnTo>
                  <a:lnTo>
                    <a:pt x="846" y="2801"/>
                  </a:lnTo>
                  <a:lnTo>
                    <a:pt x="845" y="2801"/>
                  </a:lnTo>
                  <a:lnTo>
                    <a:pt x="548" y="2801"/>
                  </a:lnTo>
                  <a:lnTo>
                    <a:pt x="518" y="2793"/>
                  </a:lnTo>
                  <a:lnTo>
                    <a:pt x="490" y="2785"/>
                  </a:lnTo>
                  <a:lnTo>
                    <a:pt x="462" y="2776"/>
                  </a:lnTo>
                  <a:lnTo>
                    <a:pt x="435" y="2765"/>
                  </a:lnTo>
                  <a:lnTo>
                    <a:pt x="407" y="2754"/>
                  </a:lnTo>
                  <a:lnTo>
                    <a:pt x="381" y="2741"/>
                  </a:lnTo>
                  <a:lnTo>
                    <a:pt x="355" y="2727"/>
                  </a:lnTo>
                  <a:lnTo>
                    <a:pt x="330" y="2712"/>
                  </a:lnTo>
                  <a:lnTo>
                    <a:pt x="306" y="2697"/>
                  </a:lnTo>
                  <a:lnTo>
                    <a:pt x="282" y="2679"/>
                  </a:lnTo>
                  <a:lnTo>
                    <a:pt x="259" y="2662"/>
                  </a:lnTo>
                  <a:lnTo>
                    <a:pt x="237" y="2643"/>
                  </a:lnTo>
                  <a:lnTo>
                    <a:pt x="216" y="2623"/>
                  </a:lnTo>
                  <a:lnTo>
                    <a:pt x="196" y="2603"/>
                  </a:lnTo>
                  <a:lnTo>
                    <a:pt x="175" y="2582"/>
                  </a:lnTo>
                  <a:lnTo>
                    <a:pt x="157" y="2559"/>
                  </a:lnTo>
                  <a:lnTo>
                    <a:pt x="139" y="2537"/>
                  </a:lnTo>
                  <a:lnTo>
                    <a:pt x="122" y="2514"/>
                  </a:lnTo>
                  <a:lnTo>
                    <a:pt x="106" y="2489"/>
                  </a:lnTo>
                  <a:lnTo>
                    <a:pt x="91" y="2464"/>
                  </a:lnTo>
                  <a:lnTo>
                    <a:pt x="77" y="2438"/>
                  </a:lnTo>
                  <a:lnTo>
                    <a:pt x="64" y="2412"/>
                  </a:lnTo>
                  <a:lnTo>
                    <a:pt x="52" y="2385"/>
                  </a:lnTo>
                  <a:lnTo>
                    <a:pt x="42" y="2358"/>
                  </a:lnTo>
                  <a:lnTo>
                    <a:pt x="33" y="2329"/>
                  </a:lnTo>
                  <a:lnTo>
                    <a:pt x="24" y="2301"/>
                  </a:lnTo>
                  <a:lnTo>
                    <a:pt x="16" y="2272"/>
                  </a:lnTo>
                  <a:lnTo>
                    <a:pt x="11" y="2243"/>
                  </a:lnTo>
                  <a:lnTo>
                    <a:pt x="6" y="2212"/>
                  </a:lnTo>
                  <a:lnTo>
                    <a:pt x="3" y="2182"/>
                  </a:lnTo>
                  <a:lnTo>
                    <a:pt x="1" y="2151"/>
                  </a:lnTo>
                  <a:lnTo>
                    <a:pt x="0" y="2121"/>
                  </a:lnTo>
                  <a:lnTo>
                    <a:pt x="1" y="2086"/>
                  </a:lnTo>
                  <a:lnTo>
                    <a:pt x="4" y="2052"/>
                  </a:lnTo>
                  <a:lnTo>
                    <a:pt x="8" y="2018"/>
                  </a:lnTo>
                  <a:lnTo>
                    <a:pt x="13" y="1985"/>
                  </a:lnTo>
                  <a:lnTo>
                    <a:pt x="20" y="1952"/>
                  </a:lnTo>
                  <a:lnTo>
                    <a:pt x="30" y="1919"/>
                  </a:lnTo>
                  <a:lnTo>
                    <a:pt x="40" y="1888"/>
                  </a:lnTo>
                  <a:lnTo>
                    <a:pt x="52" y="1857"/>
                  </a:lnTo>
                  <a:lnTo>
                    <a:pt x="65" y="1827"/>
                  </a:lnTo>
                  <a:lnTo>
                    <a:pt x="80" y="1798"/>
                  </a:lnTo>
                  <a:lnTo>
                    <a:pt x="95" y="1770"/>
                  </a:lnTo>
                  <a:lnTo>
                    <a:pt x="112" y="1741"/>
                  </a:lnTo>
                  <a:lnTo>
                    <a:pt x="130" y="1715"/>
                  </a:lnTo>
                  <a:lnTo>
                    <a:pt x="150" y="1689"/>
                  </a:lnTo>
                  <a:lnTo>
                    <a:pt x="171" y="1664"/>
                  </a:lnTo>
                  <a:lnTo>
                    <a:pt x="193" y="1641"/>
                  </a:lnTo>
                  <a:lnTo>
                    <a:pt x="216" y="1617"/>
                  </a:lnTo>
                  <a:lnTo>
                    <a:pt x="239" y="1596"/>
                  </a:lnTo>
                  <a:lnTo>
                    <a:pt x="265" y="1574"/>
                  </a:lnTo>
                  <a:lnTo>
                    <a:pt x="290" y="1555"/>
                  </a:lnTo>
                  <a:lnTo>
                    <a:pt x="317" y="1537"/>
                  </a:lnTo>
                  <a:lnTo>
                    <a:pt x="345" y="1520"/>
                  </a:lnTo>
                  <a:lnTo>
                    <a:pt x="374" y="1504"/>
                  </a:lnTo>
                  <a:lnTo>
                    <a:pt x="402" y="1489"/>
                  </a:lnTo>
                  <a:lnTo>
                    <a:pt x="433" y="1477"/>
                  </a:lnTo>
                  <a:lnTo>
                    <a:pt x="463" y="1465"/>
                  </a:lnTo>
                  <a:lnTo>
                    <a:pt x="495" y="1454"/>
                  </a:lnTo>
                  <a:lnTo>
                    <a:pt x="527" y="1445"/>
                  </a:lnTo>
                  <a:lnTo>
                    <a:pt x="560" y="1438"/>
                  </a:lnTo>
                  <a:lnTo>
                    <a:pt x="593" y="1432"/>
                  </a:lnTo>
                  <a:lnTo>
                    <a:pt x="627" y="1428"/>
                  </a:lnTo>
                  <a:lnTo>
                    <a:pt x="661" y="1426"/>
                  </a:lnTo>
                  <a:lnTo>
                    <a:pt x="653" y="1401"/>
                  </a:lnTo>
                  <a:lnTo>
                    <a:pt x="645" y="1378"/>
                  </a:lnTo>
                  <a:lnTo>
                    <a:pt x="639" y="1354"/>
                  </a:lnTo>
                  <a:lnTo>
                    <a:pt x="634" y="1328"/>
                  </a:lnTo>
                  <a:lnTo>
                    <a:pt x="630" y="1303"/>
                  </a:lnTo>
                  <a:lnTo>
                    <a:pt x="627" y="1277"/>
                  </a:lnTo>
                  <a:lnTo>
                    <a:pt x="625" y="1251"/>
                  </a:lnTo>
                  <a:lnTo>
                    <a:pt x="624" y="1224"/>
                  </a:lnTo>
                  <a:lnTo>
                    <a:pt x="625" y="1196"/>
                  </a:lnTo>
                  <a:lnTo>
                    <a:pt x="627" y="1166"/>
                  </a:lnTo>
                  <a:lnTo>
                    <a:pt x="631" y="1138"/>
                  </a:lnTo>
                  <a:lnTo>
                    <a:pt x="636" y="1110"/>
                  </a:lnTo>
                  <a:lnTo>
                    <a:pt x="642" y="1083"/>
                  </a:lnTo>
                  <a:lnTo>
                    <a:pt x="650" y="1056"/>
                  </a:lnTo>
                  <a:lnTo>
                    <a:pt x="659" y="1029"/>
                  </a:lnTo>
                  <a:lnTo>
                    <a:pt x="669" y="1004"/>
                  </a:lnTo>
                  <a:lnTo>
                    <a:pt x="680" y="978"/>
                  </a:lnTo>
                  <a:lnTo>
                    <a:pt x="693" y="954"/>
                  </a:lnTo>
                  <a:lnTo>
                    <a:pt x="707" y="930"/>
                  </a:lnTo>
                  <a:lnTo>
                    <a:pt x="722" y="907"/>
                  </a:lnTo>
                  <a:lnTo>
                    <a:pt x="737" y="885"/>
                  </a:lnTo>
                  <a:lnTo>
                    <a:pt x="754" y="863"/>
                  </a:lnTo>
                  <a:lnTo>
                    <a:pt x="772" y="843"/>
                  </a:lnTo>
                  <a:lnTo>
                    <a:pt x="791" y="824"/>
                  </a:lnTo>
                  <a:lnTo>
                    <a:pt x="810" y="804"/>
                  </a:lnTo>
                  <a:lnTo>
                    <a:pt x="831" y="787"/>
                  </a:lnTo>
                  <a:lnTo>
                    <a:pt x="853" y="770"/>
                  </a:lnTo>
                  <a:lnTo>
                    <a:pt x="875" y="753"/>
                  </a:lnTo>
                  <a:lnTo>
                    <a:pt x="898" y="739"/>
                  </a:lnTo>
                  <a:lnTo>
                    <a:pt x="921" y="725"/>
                  </a:lnTo>
                  <a:lnTo>
                    <a:pt x="946" y="713"/>
                  </a:lnTo>
                  <a:lnTo>
                    <a:pt x="971" y="701"/>
                  </a:lnTo>
                  <a:lnTo>
                    <a:pt x="998" y="691"/>
                  </a:lnTo>
                  <a:lnTo>
                    <a:pt x="1023" y="682"/>
                  </a:lnTo>
                  <a:lnTo>
                    <a:pt x="1051" y="675"/>
                  </a:lnTo>
                  <a:lnTo>
                    <a:pt x="1078" y="668"/>
                  </a:lnTo>
                  <a:lnTo>
                    <a:pt x="1106" y="664"/>
                  </a:lnTo>
                  <a:lnTo>
                    <a:pt x="1134" y="660"/>
                  </a:lnTo>
                  <a:lnTo>
                    <a:pt x="1164" y="658"/>
                  </a:lnTo>
                  <a:lnTo>
                    <a:pt x="1192" y="657"/>
                  </a:lnTo>
                  <a:lnTo>
                    <a:pt x="1225" y="658"/>
                  </a:lnTo>
                  <a:lnTo>
                    <a:pt x="1257" y="661"/>
                  </a:lnTo>
                  <a:lnTo>
                    <a:pt x="1289" y="665"/>
                  </a:lnTo>
                  <a:lnTo>
                    <a:pt x="1319" y="671"/>
                  </a:lnTo>
                  <a:lnTo>
                    <a:pt x="1350" y="679"/>
                  </a:lnTo>
                  <a:lnTo>
                    <a:pt x="1379" y="688"/>
                  </a:lnTo>
                  <a:lnTo>
                    <a:pt x="1408" y="699"/>
                  </a:lnTo>
                  <a:lnTo>
                    <a:pt x="1435" y="712"/>
                  </a:lnTo>
                  <a:lnTo>
                    <a:pt x="1463" y="725"/>
                  </a:lnTo>
                  <a:lnTo>
                    <a:pt x="1489" y="740"/>
                  </a:lnTo>
                  <a:lnTo>
                    <a:pt x="1515" y="757"/>
                  </a:lnTo>
                  <a:lnTo>
                    <a:pt x="1539" y="775"/>
                  </a:lnTo>
                  <a:lnTo>
                    <a:pt x="1563" y="794"/>
                  </a:lnTo>
                  <a:lnTo>
                    <a:pt x="1585" y="814"/>
                  </a:lnTo>
                  <a:lnTo>
                    <a:pt x="1606" y="836"/>
                  </a:lnTo>
                  <a:lnTo>
                    <a:pt x="1627" y="858"/>
                  </a:lnTo>
                  <a:lnTo>
                    <a:pt x="1638" y="812"/>
                  </a:lnTo>
                  <a:lnTo>
                    <a:pt x="1651" y="768"/>
                  </a:lnTo>
                  <a:lnTo>
                    <a:pt x="1665" y="724"/>
                  </a:lnTo>
                  <a:lnTo>
                    <a:pt x="1683" y="681"/>
                  </a:lnTo>
                  <a:lnTo>
                    <a:pt x="1701" y="638"/>
                  </a:lnTo>
                  <a:lnTo>
                    <a:pt x="1721" y="597"/>
                  </a:lnTo>
                  <a:lnTo>
                    <a:pt x="1743" y="557"/>
                  </a:lnTo>
                  <a:lnTo>
                    <a:pt x="1766" y="517"/>
                  </a:lnTo>
                  <a:lnTo>
                    <a:pt x="1792" y="480"/>
                  </a:lnTo>
                  <a:lnTo>
                    <a:pt x="1818" y="442"/>
                  </a:lnTo>
                  <a:lnTo>
                    <a:pt x="1846" y="406"/>
                  </a:lnTo>
                  <a:lnTo>
                    <a:pt x="1875" y="372"/>
                  </a:lnTo>
                  <a:lnTo>
                    <a:pt x="1906" y="338"/>
                  </a:lnTo>
                  <a:lnTo>
                    <a:pt x="1938" y="306"/>
                  </a:lnTo>
                  <a:lnTo>
                    <a:pt x="1972" y="275"/>
                  </a:lnTo>
                  <a:lnTo>
                    <a:pt x="2006" y="246"/>
                  </a:lnTo>
                  <a:lnTo>
                    <a:pt x="2042" y="218"/>
                  </a:lnTo>
                  <a:lnTo>
                    <a:pt x="2080" y="192"/>
                  </a:lnTo>
                  <a:lnTo>
                    <a:pt x="2117" y="166"/>
                  </a:lnTo>
                  <a:lnTo>
                    <a:pt x="2157" y="143"/>
                  </a:lnTo>
                  <a:lnTo>
                    <a:pt x="2197" y="121"/>
                  </a:lnTo>
                  <a:lnTo>
                    <a:pt x="2239" y="101"/>
                  </a:lnTo>
                  <a:lnTo>
                    <a:pt x="2281" y="83"/>
                  </a:lnTo>
                  <a:lnTo>
                    <a:pt x="2324" y="66"/>
                  </a:lnTo>
                  <a:lnTo>
                    <a:pt x="2368" y="51"/>
                  </a:lnTo>
                  <a:lnTo>
                    <a:pt x="2413" y="38"/>
                  </a:lnTo>
                  <a:lnTo>
                    <a:pt x="2458" y="27"/>
                  </a:lnTo>
                  <a:lnTo>
                    <a:pt x="2505" y="18"/>
                  </a:lnTo>
                  <a:lnTo>
                    <a:pt x="2552" y="11"/>
                  </a:lnTo>
                  <a:lnTo>
                    <a:pt x="2600" y="5"/>
                  </a:lnTo>
                  <a:lnTo>
                    <a:pt x="2648" y="2"/>
                  </a:lnTo>
                  <a:lnTo>
                    <a:pt x="2697" y="0"/>
                  </a:lnTo>
                  <a:lnTo>
                    <a:pt x="2754" y="2"/>
                  </a:lnTo>
                  <a:lnTo>
                    <a:pt x="2809" y="6"/>
                  </a:lnTo>
                  <a:lnTo>
                    <a:pt x="2864" y="14"/>
                  </a:lnTo>
                  <a:lnTo>
                    <a:pt x="2918" y="23"/>
                  </a:lnTo>
                  <a:lnTo>
                    <a:pt x="2970" y="35"/>
                  </a:lnTo>
                  <a:lnTo>
                    <a:pt x="3023" y="50"/>
                  </a:lnTo>
                  <a:lnTo>
                    <a:pt x="3074" y="68"/>
                  </a:lnTo>
                  <a:lnTo>
                    <a:pt x="3124" y="87"/>
                  </a:lnTo>
                  <a:lnTo>
                    <a:pt x="3172" y="109"/>
                  </a:lnTo>
                  <a:lnTo>
                    <a:pt x="3220" y="133"/>
                  </a:lnTo>
                  <a:lnTo>
                    <a:pt x="3266" y="159"/>
                  </a:lnTo>
                  <a:lnTo>
                    <a:pt x="3309" y="188"/>
                  </a:lnTo>
                  <a:lnTo>
                    <a:pt x="3353" y="218"/>
                  </a:lnTo>
                  <a:lnTo>
                    <a:pt x="3394" y="251"/>
                  </a:lnTo>
                  <a:lnTo>
                    <a:pt x="3434" y="285"/>
                  </a:lnTo>
                  <a:lnTo>
                    <a:pt x="3472" y="322"/>
                  </a:lnTo>
                  <a:lnTo>
                    <a:pt x="3509" y="360"/>
                  </a:lnTo>
                  <a:lnTo>
                    <a:pt x="3543" y="399"/>
                  </a:lnTo>
                  <a:lnTo>
                    <a:pt x="3575" y="441"/>
                  </a:lnTo>
                  <a:lnTo>
                    <a:pt x="3606" y="484"/>
                  </a:lnTo>
                  <a:lnTo>
                    <a:pt x="3634" y="528"/>
                  </a:lnTo>
                  <a:lnTo>
                    <a:pt x="3661" y="574"/>
                  </a:lnTo>
                  <a:lnTo>
                    <a:pt x="3685" y="622"/>
                  </a:lnTo>
                  <a:lnTo>
                    <a:pt x="3707" y="670"/>
                  </a:lnTo>
                  <a:lnTo>
                    <a:pt x="3727" y="720"/>
                  </a:lnTo>
                  <a:lnTo>
                    <a:pt x="3744" y="771"/>
                  </a:lnTo>
                  <a:lnTo>
                    <a:pt x="3758" y="823"/>
                  </a:lnTo>
                  <a:lnTo>
                    <a:pt x="3771" y="875"/>
                  </a:lnTo>
                  <a:lnTo>
                    <a:pt x="3781" y="929"/>
                  </a:lnTo>
                  <a:lnTo>
                    <a:pt x="3788" y="984"/>
                  </a:lnTo>
                  <a:lnTo>
                    <a:pt x="3792" y="1040"/>
                  </a:lnTo>
                  <a:lnTo>
                    <a:pt x="3793" y="1096"/>
                  </a:lnTo>
                  <a:lnTo>
                    <a:pt x="3793" y="1117"/>
                  </a:lnTo>
                  <a:lnTo>
                    <a:pt x="3793" y="1136"/>
                  </a:lnTo>
                  <a:lnTo>
                    <a:pt x="3792" y="1155"/>
                  </a:lnTo>
                  <a:lnTo>
                    <a:pt x="3791" y="1175"/>
                  </a:lnTo>
                  <a:lnTo>
                    <a:pt x="3789" y="1194"/>
                  </a:lnTo>
                  <a:lnTo>
                    <a:pt x="3787" y="1213"/>
                  </a:lnTo>
                  <a:lnTo>
                    <a:pt x="3785" y="1232"/>
                  </a:lnTo>
                  <a:lnTo>
                    <a:pt x="3783" y="125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endParaRPr lang="en-US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  <p:sp>
          <p:nvSpPr>
            <p:cNvPr id="154" name="任意多边形: 形状 153">
              <a:extLst>
                <a:ext uri="{FF2B5EF4-FFF2-40B4-BE49-F238E27FC236}">
                  <a16:creationId xmlns:a16="http://schemas.microsoft.com/office/drawing/2014/main" id="{C70A9A61-596D-4510-9FEB-2D64C77F7061}"/>
                </a:ext>
              </a:extLst>
            </p:cNvPr>
            <p:cNvSpPr/>
            <p:nvPr/>
          </p:nvSpPr>
          <p:spPr>
            <a:xfrm>
              <a:off x="10982237" y="2465342"/>
              <a:ext cx="292677" cy="248722"/>
            </a:xfrm>
            <a:custGeom>
              <a:avLst/>
              <a:gdLst>
                <a:gd name="connsiteX0" fmla="*/ 306059 w 608918"/>
                <a:gd name="connsiteY0" fmla="*/ 242406 h 517470"/>
                <a:gd name="connsiteX1" fmla="*/ 432216 w 608918"/>
                <a:gd name="connsiteY1" fmla="*/ 517470 h 517470"/>
                <a:gd name="connsiteX2" fmla="*/ 193493 w 608918"/>
                <a:gd name="connsiteY2" fmla="*/ 517470 h 517470"/>
                <a:gd name="connsiteX3" fmla="*/ 305728 w 608918"/>
                <a:gd name="connsiteY3" fmla="*/ 150812 h 517470"/>
                <a:gd name="connsiteX4" fmla="*/ 344292 w 608918"/>
                <a:gd name="connsiteY4" fmla="*/ 189341 h 517470"/>
                <a:gd name="connsiteX5" fmla="*/ 305728 w 608918"/>
                <a:gd name="connsiteY5" fmla="*/ 227870 h 517470"/>
                <a:gd name="connsiteX6" fmla="*/ 267164 w 608918"/>
                <a:gd name="connsiteY6" fmla="*/ 189341 h 517470"/>
                <a:gd name="connsiteX7" fmla="*/ 305728 w 608918"/>
                <a:gd name="connsiteY7" fmla="*/ 150812 h 517470"/>
                <a:gd name="connsiteX8" fmla="*/ 373592 w 608918"/>
                <a:gd name="connsiteY8" fmla="*/ 111934 h 517470"/>
                <a:gd name="connsiteX9" fmla="*/ 388972 w 608918"/>
                <a:gd name="connsiteY9" fmla="*/ 112531 h 517470"/>
                <a:gd name="connsiteX10" fmla="*/ 389741 w 608918"/>
                <a:gd name="connsiteY10" fmla="*/ 269879 h 517470"/>
                <a:gd name="connsiteX11" fmla="*/ 380941 w 608918"/>
                <a:gd name="connsiteY11" fmla="*/ 274231 h 517470"/>
                <a:gd name="connsiteX12" fmla="*/ 374447 w 608918"/>
                <a:gd name="connsiteY12" fmla="*/ 272098 h 517470"/>
                <a:gd name="connsiteX13" fmla="*/ 372225 w 608918"/>
                <a:gd name="connsiteY13" fmla="*/ 256824 h 517470"/>
                <a:gd name="connsiteX14" fmla="*/ 372994 w 608918"/>
                <a:gd name="connsiteY14" fmla="*/ 127293 h 517470"/>
                <a:gd name="connsiteX15" fmla="*/ 373592 w 608918"/>
                <a:gd name="connsiteY15" fmla="*/ 111934 h 517470"/>
                <a:gd name="connsiteX16" fmla="*/ 235403 w 608918"/>
                <a:gd name="connsiteY16" fmla="*/ 111934 h 517470"/>
                <a:gd name="connsiteX17" fmla="*/ 236002 w 608918"/>
                <a:gd name="connsiteY17" fmla="*/ 127293 h 517470"/>
                <a:gd name="connsiteX18" fmla="*/ 236686 w 608918"/>
                <a:gd name="connsiteY18" fmla="*/ 256824 h 517470"/>
                <a:gd name="connsiteX19" fmla="*/ 234463 w 608918"/>
                <a:gd name="connsiteY19" fmla="*/ 272098 h 517470"/>
                <a:gd name="connsiteX20" fmla="*/ 227964 w 608918"/>
                <a:gd name="connsiteY20" fmla="*/ 274231 h 517470"/>
                <a:gd name="connsiteX21" fmla="*/ 219241 w 608918"/>
                <a:gd name="connsiteY21" fmla="*/ 269879 h 517470"/>
                <a:gd name="connsiteX22" fmla="*/ 219925 w 608918"/>
                <a:gd name="connsiteY22" fmla="*/ 112531 h 517470"/>
                <a:gd name="connsiteX23" fmla="*/ 235403 w 608918"/>
                <a:gd name="connsiteY23" fmla="*/ 111934 h 517470"/>
                <a:gd name="connsiteX24" fmla="*/ 448816 w 608918"/>
                <a:gd name="connsiteY24" fmla="*/ 56257 h 517470"/>
                <a:gd name="connsiteX25" fmla="*/ 464199 w 608918"/>
                <a:gd name="connsiteY25" fmla="*/ 56854 h 517470"/>
                <a:gd name="connsiteX26" fmla="*/ 464968 w 608918"/>
                <a:gd name="connsiteY26" fmla="*/ 325625 h 517470"/>
                <a:gd name="connsiteX27" fmla="*/ 456251 w 608918"/>
                <a:gd name="connsiteY27" fmla="*/ 329977 h 517470"/>
                <a:gd name="connsiteX28" fmla="*/ 449756 w 608918"/>
                <a:gd name="connsiteY28" fmla="*/ 327844 h 517470"/>
                <a:gd name="connsiteX29" fmla="*/ 447534 w 608918"/>
                <a:gd name="connsiteY29" fmla="*/ 312571 h 517470"/>
                <a:gd name="connsiteX30" fmla="*/ 448217 w 608918"/>
                <a:gd name="connsiteY30" fmla="*/ 71615 h 517470"/>
                <a:gd name="connsiteX31" fmla="*/ 448816 w 608918"/>
                <a:gd name="connsiteY31" fmla="*/ 56257 h 517470"/>
                <a:gd name="connsiteX32" fmla="*/ 160096 w 608918"/>
                <a:gd name="connsiteY32" fmla="*/ 56257 h 517470"/>
                <a:gd name="connsiteX33" fmla="*/ 160695 w 608918"/>
                <a:gd name="connsiteY33" fmla="*/ 71615 h 517470"/>
                <a:gd name="connsiteX34" fmla="*/ 161464 w 608918"/>
                <a:gd name="connsiteY34" fmla="*/ 312571 h 517470"/>
                <a:gd name="connsiteX35" fmla="*/ 159241 w 608918"/>
                <a:gd name="connsiteY35" fmla="*/ 327844 h 517470"/>
                <a:gd name="connsiteX36" fmla="*/ 152744 w 608918"/>
                <a:gd name="connsiteY36" fmla="*/ 329977 h 517470"/>
                <a:gd name="connsiteX37" fmla="*/ 144024 w 608918"/>
                <a:gd name="connsiteY37" fmla="*/ 325625 h 517470"/>
                <a:gd name="connsiteX38" fmla="*/ 102645 w 608918"/>
                <a:gd name="connsiteY38" fmla="*/ 135779 h 517470"/>
                <a:gd name="connsiteX39" fmla="*/ 144708 w 608918"/>
                <a:gd name="connsiteY39" fmla="*/ 56854 h 517470"/>
                <a:gd name="connsiteX40" fmla="*/ 160096 w 608918"/>
                <a:gd name="connsiteY40" fmla="*/ 56257 h 517470"/>
                <a:gd name="connsiteX41" fmla="*/ 524534 w 608918"/>
                <a:gd name="connsiteY41" fmla="*/ 2910 h 517470"/>
                <a:gd name="connsiteX42" fmla="*/ 539919 w 608918"/>
                <a:gd name="connsiteY42" fmla="*/ 3507 h 517470"/>
                <a:gd name="connsiteX43" fmla="*/ 540603 w 608918"/>
                <a:gd name="connsiteY43" fmla="*/ 378973 h 517470"/>
                <a:gd name="connsiteX44" fmla="*/ 531885 w 608918"/>
                <a:gd name="connsiteY44" fmla="*/ 383325 h 517470"/>
                <a:gd name="connsiteX45" fmla="*/ 525388 w 608918"/>
                <a:gd name="connsiteY45" fmla="*/ 381192 h 517470"/>
                <a:gd name="connsiteX46" fmla="*/ 523166 w 608918"/>
                <a:gd name="connsiteY46" fmla="*/ 365917 h 517470"/>
                <a:gd name="connsiteX47" fmla="*/ 523935 w 608918"/>
                <a:gd name="connsiteY47" fmla="*/ 18270 h 517470"/>
                <a:gd name="connsiteX48" fmla="*/ 524534 w 608918"/>
                <a:gd name="connsiteY48" fmla="*/ 2910 h 517470"/>
                <a:gd name="connsiteX49" fmla="*/ 84467 w 608918"/>
                <a:gd name="connsiteY49" fmla="*/ 2910 h 517470"/>
                <a:gd name="connsiteX50" fmla="*/ 85065 w 608918"/>
                <a:gd name="connsiteY50" fmla="*/ 18270 h 517470"/>
                <a:gd name="connsiteX51" fmla="*/ 85749 w 608918"/>
                <a:gd name="connsiteY51" fmla="*/ 366002 h 517470"/>
                <a:gd name="connsiteX52" fmla="*/ 83527 w 608918"/>
                <a:gd name="connsiteY52" fmla="*/ 381192 h 517470"/>
                <a:gd name="connsiteX53" fmla="*/ 77030 w 608918"/>
                <a:gd name="connsiteY53" fmla="*/ 383325 h 517470"/>
                <a:gd name="connsiteX54" fmla="*/ 68312 w 608918"/>
                <a:gd name="connsiteY54" fmla="*/ 378973 h 517470"/>
                <a:gd name="connsiteX55" fmla="*/ 69081 w 608918"/>
                <a:gd name="connsiteY55" fmla="*/ 3507 h 517470"/>
                <a:gd name="connsiteX56" fmla="*/ 84467 w 608918"/>
                <a:gd name="connsiteY56" fmla="*/ 2910 h 517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608918" h="517470">
                  <a:moveTo>
                    <a:pt x="306059" y="242406"/>
                  </a:moveTo>
                  <a:lnTo>
                    <a:pt x="432216" y="517470"/>
                  </a:lnTo>
                  <a:lnTo>
                    <a:pt x="193493" y="517470"/>
                  </a:lnTo>
                  <a:close/>
                  <a:moveTo>
                    <a:pt x="305728" y="150812"/>
                  </a:moveTo>
                  <a:cubicBezTo>
                    <a:pt x="327026" y="150812"/>
                    <a:pt x="344292" y="168062"/>
                    <a:pt x="344292" y="189341"/>
                  </a:cubicBezTo>
                  <a:cubicBezTo>
                    <a:pt x="344292" y="210620"/>
                    <a:pt x="327026" y="227870"/>
                    <a:pt x="305728" y="227870"/>
                  </a:cubicBezTo>
                  <a:cubicBezTo>
                    <a:pt x="284430" y="227870"/>
                    <a:pt x="267164" y="210620"/>
                    <a:pt x="267164" y="189341"/>
                  </a:cubicBezTo>
                  <a:cubicBezTo>
                    <a:pt x="267164" y="168062"/>
                    <a:pt x="284430" y="150812"/>
                    <a:pt x="305728" y="150812"/>
                  </a:cubicBezTo>
                  <a:close/>
                  <a:moveTo>
                    <a:pt x="373592" y="111934"/>
                  </a:moveTo>
                  <a:cubicBezTo>
                    <a:pt x="378036" y="107838"/>
                    <a:pt x="384871" y="108094"/>
                    <a:pt x="388972" y="112531"/>
                  </a:cubicBezTo>
                  <a:cubicBezTo>
                    <a:pt x="389656" y="113214"/>
                    <a:pt x="453739" y="184208"/>
                    <a:pt x="389741" y="269879"/>
                  </a:cubicBezTo>
                  <a:cubicBezTo>
                    <a:pt x="387605" y="272695"/>
                    <a:pt x="384273" y="274231"/>
                    <a:pt x="380941" y="274231"/>
                  </a:cubicBezTo>
                  <a:cubicBezTo>
                    <a:pt x="378719" y="274231"/>
                    <a:pt x="376412" y="273548"/>
                    <a:pt x="374447" y="272098"/>
                  </a:cubicBezTo>
                  <a:cubicBezTo>
                    <a:pt x="369662" y="268514"/>
                    <a:pt x="368637" y="261688"/>
                    <a:pt x="372225" y="256824"/>
                  </a:cubicBezTo>
                  <a:cubicBezTo>
                    <a:pt x="425542" y="185488"/>
                    <a:pt x="375130" y="129597"/>
                    <a:pt x="372994" y="127293"/>
                  </a:cubicBezTo>
                  <a:cubicBezTo>
                    <a:pt x="368893" y="122856"/>
                    <a:pt x="369149" y="116030"/>
                    <a:pt x="373592" y="111934"/>
                  </a:cubicBezTo>
                  <a:close/>
                  <a:moveTo>
                    <a:pt x="235403" y="111934"/>
                  </a:moveTo>
                  <a:cubicBezTo>
                    <a:pt x="239765" y="116030"/>
                    <a:pt x="240021" y="122856"/>
                    <a:pt x="236002" y="127293"/>
                  </a:cubicBezTo>
                  <a:cubicBezTo>
                    <a:pt x="233779" y="129682"/>
                    <a:pt x="183667" y="185915"/>
                    <a:pt x="236686" y="256824"/>
                  </a:cubicBezTo>
                  <a:cubicBezTo>
                    <a:pt x="240278" y="261688"/>
                    <a:pt x="239337" y="268514"/>
                    <a:pt x="234463" y="272098"/>
                  </a:cubicBezTo>
                  <a:cubicBezTo>
                    <a:pt x="232496" y="273548"/>
                    <a:pt x="230273" y="274231"/>
                    <a:pt x="227964" y="274231"/>
                  </a:cubicBezTo>
                  <a:cubicBezTo>
                    <a:pt x="224629" y="274231"/>
                    <a:pt x="221379" y="272695"/>
                    <a:pt x="219241" y="269879"/>
                  </a:cubicBezTo>
                  <a:cubicBezTo>
                    <a:pt x="155106" y="184208"/>
                    <a:pt x="219327" y="113214"/>
                    <a:pt x="219925" y="112531"/>
                  </a:cubicBezTo>
                  <a:cubicBezTo>
                    <a:pt x="224030" y="108094"/>
                    <a:pt x="230957" y="107838"/>
                    <a:pt x="235403" y="111934"/>
                  </a:cubicBezTo>
                  <a:close/>
                  <a:moveTo>
                    <a:pt x="448816" y="56257"/>
                  </a:moveTo>
                  <a:cubicBezTo>
                    <a:pt x="453260" y="52161"/>
                    <a:pt x="460097" y="52417"/>
                    <a:pt x="464199" y="56854"/>
                  </a:cubicBezTo>
                  <a:cubicBezTo>
                    <a:pt x="465310" y="58048"/>
                    <a:pt x="574617" y="178953"/>
                    <a:pt x="464968" y="325625"/>
                  </a:cubicBezTo>
                  <a:cubicBezTo>
                    <a:pt x="462831" y="328441"/>
                    <a:pt x="459584" y="329977"/>
                    <a:pt x="456251" y="329977"/>
                  </a:cubicBezTo>
                  <a:cubicBezTo>
                    <a:pt x="453943" y="329977"/>
                    <a:pt x="451636" y="329294"/>
                    <a:pt x="449756" y="327844"/>
                  </a:cubicBezTo>
                  <a:cubicBezTo>
                    <a:pt x="444884" y="324175"/>
                    <a:pt x="443859" y="317434"/>
                    <a:pt x="447534" y="312571"/>
                  </a:cubicBezTo>
                  <a:cubicBezTo>
                    <a:pt x="546415" y="180233"/>
                    <a:pt x="449243" y="72724"/>
                    <a:pt x="448217" y="71615"/>
                  </a:cubicBezTo>
                  <a:cubicBezTo>
                    <a:pt x="444115" y="67263"/>
                    <a:pt x="444457" y="60352"/>
                    <a:pt x="448816" y="56257"/>
                  </a:cubicBezTo>
                  <a:close/>
                  <a:moveTo>
                    <a:pt x="160096" y="56257"/>
                  </a:moveTo>
                  <a:cubicBezTo>
                    <a:pt x="164542" y="60352"/>
                    <a:pt x="164798" y="67178"/>
                    <a:pt x="160695" y="71615"/>
                  </a:cubicBezTo>
                  <a:cubicBezTo>
                    <a:pt x="156676" y="76052"/>
                    <a:pt x="62806" y="180659"/>
                    <a:pt x="161464" y="312571"/>
                  </a:cubicBezTo>
                  <a:cubicBezTo>
                    <a:pt x="165055" y="317434"/>
                    <a:pt x="164029" y="324260"/>
                    <a:pt x="159241" y="327844"/>
                  </a:cubicBezTo>
                  <a:cubicBezTo>
                    <a:pt x="157275" y="329294"/>
                    <a:pt x="154967" y="329977"/>
                    <a:pt x="152744" y="329977"/>
                  </a:cubicBezTo>
                  <a:cubicBezTo>
                    <a:pt x="149410" y="329977"/>
                    <a:pt x="146161" y="328441"/>
                    <a:pt x="144024" y="325625"/>
                  </a:cubicBezTo>
                  <a:cubicBezTo>
                    <a:pt x="86829" y="249175"/>
                    <a:pt x="89992" y="180147"/>
                    <a:pt x="102645" y="135779"/>
                  </a:cubicBezTo>
                  <a:cubicBezTo>
                    <a:pt x="116410" y="87741"/>
                    <a:pt x="143596" y="58134"/>
                    <a:pt x="144708" y="56854"/>
                  </a:cubicBezTo>
                  <a:cubicBezTo>
                    <a:pt x="148811" y="52417"/>
                    <a:pt x="155651" y="52161"/>
                    <a:pt x="160096" y="56257"/>
                  </a:cubicBezTo>
                  <a:close/>
                  <a:moveTo>
                    <a:pt x="524534" y="2910"/>
                  </a:moveTo>
                  <a:cubicBezTo>
                    <a:pt x="528978" y="-1186"/>
                    <a:pt x="535816" y="-930"/>
                    <a:pt x="539919" y="3507"/>
                  </a:cubicBezTo>
                  <a:cubicBezTo>
                    <a:pt x="541458" y="5129"/>
                    <a:pt x="693943" y="173832"/>
                    <a:pt x="540603" y="378973"/>
                  </a:cubicBezTo>
                  <a:cubicBezTo>
                    <a:pt x="538466" y="381789"/>
                    <a:pt x="535218" y="383325"/>
                    <a:pt x="531885" y="383325"/>
                  </a:cubicBezTo>
                  <a:cubicBezTo>
                    <a:pt x="529662" y="383325"/>
                    <a:pt x="527354" y="382642"/>
                    <a:pt x="525388" y="381192"/>
                  </a:cubicBezTo>
                  <a:cubicBezTo>
                    <a:pt x="520602" y="377608"/>
                    <a:pt x="519576" y="370781"/>
                    <a:pt x="523166" y="365917"/>
                  </a:cubicBezTo>
                  <a:cubicBezTo>
                    <a:pt x="665480" y="175624"/>
                    <a:pt x="529748" y="24585"/>
                    <a:pt x="523935" y="18270"/>
                  </a:cubicBezTo>
                  <a:cubicBezTo>
                    <a:pt x="519833" y="13833"/>
                    <a:pt x="520089" y="7006"/>
                    <a:pt x="524534" y="2910"/>
                  </a:cubicBezTo>
                  <a:close/>
                  <a:moveTo>
                    <a:pt x="84467" y="2910"/>
                  </a:moveTo>
                  <a:cubicBezTo>
                    <a:pt x="88826" y="7006"/>
                    <a:pt x="89168" y="13833"/>
                    <a:pt x="85065" y="18270"/>
                  </a:cubicBezTo>
                  <a:cubicBezTo>
                    <a:pt x="79167" y="24585"/>
                    <a:pt x="-56480" y="175624"/>
                    <a:pt x="85749" y="366002"/>
                  </a:cubicBezTo>
                  <a:cubicBezTo>
                    <a:pt x="89339" y="370781"/>
                    <a:pt x="88399" y="377608"/>
                    <a:pt x="83527" y="381192"/>
                  </a:cubicBezTo>
                  <a:cubicBezTo>
                    <a:pt x="81561" y="382642"/>
                    <a:pt x="79338" y="383325"/>
                    <a:pt x="77030" y="383325"/>
                  </a:cubicBezTo>
                  <a:cubicBezTo>
                    <a:pt x="73697" y="383325"/>
                    <a:pt x="70449" y="381789"/>
                    <a:pt x="68312" y="378973"/>
                  </a:cubicBezTo>
                  <a:cubicBezTo>
                    <a:pt x="-85028" y="173918"/>
                    <a:pt x="67457" y="5129"/>
                    <a:pt x="69081" y="3507"/>
                  </a:cubicBezTo>
                  <a:cubicBezTo>
                    <a:pt x="73184" y="-930"/>
                    <a:pt x="80022" y="-1186"/>
                    <a:pt x="84467" y="29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6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/>
            </a:p>
          </p:txBody>
        </p:sp>
      </p:grpSp>
      <p:grpSp>
        <p:nvGrpSpPr>
          <p:cNvPr id="150" name="组合 149">
            <a:extLst>
              <a:ext uri="{FF2B5EF4-FFF2-40B4-BE49-F238E27FC236}">
                <a16:creationId xmlns:a16="http://schemas.microsoft.com/office/drawing/2014/main" id="{E45AC0CD-E07F-4666-83EA-D500E2E281EB}"/>
              </a:ext>
            </a:extLst>
          </p:cNvPr>
          <p:cNvGrpSpPr/>
          <p:nvPr/>
        </p:nvGrpSpPr>
        <p:grpSpPr>
          <a:xfrm>
            <a:off x="8063249" y="2962962"/>
            <a:ext cx="3455651" cy="1086937"/>
            <a:chOff x="673100" y="2835564"/>
            <a:chExt cx="3206173" cy="1086937"/>
          </a:xfrm>
          <a:noFill/>
        </p:grpSpPr>
        <p:sp>
          <p:nvSpPr>
            <p:cNvPr id="151" name="矩形 150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673100" y="3290745"/>
              <a:ext cx="3206173" cy="6317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/>
                <a:t>Copy paste fonts. Choose the only option to retain text……</a:t>
              </a:r>
            </a:p>
          </p:txBody>
        </p:sp>
        <p:sp>
          <p:nvSpPr>
            <p:cNvPr id="152" name="文本框 151">
              <a:extLst>
                <a:ext uri="{FF2B5EF4-FFF2-40B4-BE49-F238E27FC236}">
                  <a16:creationId xmlns:a16="http://schemas.microsoft.com/office/drawing/2014/main" id="{3495B739-E5A7-4F4A-95FD-24BDFE4B18B1}"/>
                </a:ext>
              </a:extLst>
            </p:cNvPr>
            <p:cNvSpPr txBox="1"/>
            <p:nvPr/>
          </p:nvSpPr>
          <p:spPr bwMode="auto">
            <a:xfrm>
              <a:off x="673100" y="2835564"/>
              <a:ext cx="3206173" cy="45518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  <a:spcBef>
                  <a:spcPct val="0"/>
                </a:spcBef>
              </a:pPr>
              <a:r>
                <a:rPr lang="en-US" altLang="zh-CN" sz="2000" b="1" dirty="0"/>
                <a:t>Text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71983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/>
              <a:t>Section Header Here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/>
              <a:t>Supporting text here.</a:t>
            </a:r>
          </a:p>
          <a:p>
            <a:pPr lvl="0"/>
            <a:r>
              <a:rPr lang="en-US" altLang="zh-CN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683554" y="2759231"/>
            <a:ext cx="97032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02</a:t>
            </a:r>
            <a:endParaRPr lang="zh-CN" altLang="en-US" spc="100" dirty="0">
              <a:solidFill>
                <a:schemeClr val="bg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07705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31064b5a-bc9d-4a88-a0ca-32d10f620cd7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BE1F1E"/>
      </a:accent1>
      <a:accent2>
        <a:srgbClr val="414141"/>
      </a:accent2>
      <a:accent3>
        <a:srgbClr val="797979"/>
      </a:accent3>
      <a:accent4>
        <a:srgbClr val="606060"/>
      </a:accent4>
      <a:accent5>
        <a:srgbClr val="666666"/>
      </a:accent5>
      <a:accent6>
        <a:srgbClr val="4C4C4C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BE1F1E"/>
    </a:accent1>
    <a:accent2>
      <a:srgbClr val="414141"/>
    </a:accent2>
    <a:accent3>
      <a:srgbClr val="797979"/>
    </a:accent3>
    <a:accent4>
      <a:srgbClr val="606060"/>
    </a:accent4>
    <a:accent5>
      <a:srgbClr val="666666"/>
    </a:accent5>
    <a:accent6>
      <a:srgbClr val="4C4C4C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BE1F1E"/>
    </a:accent1>
    <a:accent2>
      <a:srgbClr val="414141"/>
    </a:accent2>
    <a:accent3>
      <a:srgbClr val="797979"/>
    </a:accent3>
    <a:accent4>
      <a:srgbClr val="606060"/>
    </a:accent4>
    <a:accent5>
      <a:srgbClr val="666666"/>
    </a:accent5>
    <a:accent6>
      <a:srgbClr val="4C4C4C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BE1F1E"/>
    </a:accent1>
    <a:accent2>
      <a:srgbClr val="414141"/>
    </a:accent2>
    <a:accent3>
      <a:srgbClr val="797979"/>
    </a:accent3>
    <a:accent4>
      <a:srgbClr val="606060"/>
    </a:accent4>
    <a:accent5>
      <a:srgbClr val="666666"/>
    </a:accent5>
    <a:accent6>
      <a:srgbClr val="4C4C4C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BE1F1E"/>
    </a:accent1>
    <a:accent2>
      <a:srgbClr val="414141"/>
    </a:accent2>
    <a:accent3>
      <a:srgbClr val="797979"/>
    </a:accent3>
    <a:accent4>
      <a:srgbClr val="606060"/>
    </a:accent4>
    <a:accent5>
      <a:srgbClr val="666666"/>
    </a:accent5>
    <a:accent6>
      <a:srgbClr val="4C4C4C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BE1F1E"/>
    </a:accent1>
    <a:accent2>
      <a:srgbClr val="414141"/>
    </a:accent2>
    <a:accent3>
      <a:srgbClr val="797979"/>
    </a:accent3>
    <a:accent4>
      <a:srgbClr val="606060"/>
    </a:accent4>
    <a:accent5>
      <a:srgbClr val="666666"/>
    </a:accent5>
    <a:accent6>
      <a:srgbClr val="4C4C4C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BE1F1E"/>
    </a:accent1>
    <a:accent2>
      <a:srgbClr val="414141"/>
    </a:accent2>
    <a:accent3>
      <a:srgbClr val="797979"/>
    </a:accent3>
    <a:accent4>
      <a:srgbClr val="606060"/>
    </a:accent4>
    <a:accent5>
      <a:srgbClr val="666666"/>
    </a:accent5>
    <a:accent6>
      <a:srgbClr val="4C4C4C"/>
    </a:accent6>
    <a:hlink>
      <a:srgbClr val="4276AA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BE1F1E"/>
    </a:accent1>
    <a:accent2>
      <a:srgbClr val="414141"/>
    </a:accent2>
    <a:accent3>
      <a:srgbClr val="797979"/>
    </a:accent3>
    <a:accent4>
      <a:srgbClr val="606060"/>
    </a:accent4>
    <a:accent5>
      <a:srgbClr val="666666"/>
    </a:accent5>
    <a:accent6>
      <a:srgbClr val="4C4C4C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</TotalTime>
  <Words>1834</Words>
  <Application>Microsoft Office PowerPoint</Application>
  <PresentationFormat>宽屏</PresentationFormat>
  <Paragraphs>449</Paragraphs>
  <Slides>3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2</vt:i4>
      </vt:variant>
    </vt:vector>
  </HeadingPairs>
  <TitlesOfParts>
    <vt:vector size="39" baseType="lpstr">
      <vt:lpstr>等线</vt:lpstr>
      <vt:lpstr>Arial</vt:lpstr>
      <vt:lpstr>Calibri</vt:lpstr>
      <vt:lpstr>Impact</vt:lpstr>
      <vt:lpstr>Wingdings</vt:lpstr>
      <vt:lpstr>主题5</vt:lpstr>
      <vt:lpstr>think-cell Slide</vt:lpstr>
      <vt:lpstr>简约简洁风主题模板</vt:lpstr>
      <vt:lpstr>PowerPoint 演示文稿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张 紫怡</cp:lastModifiedBy>
  <cp:revision>2</cp:revision>
  <cp:lastPrinted>2019-09-10T16:00:00Z</cp:lastPrinted>
  <dcterms:created xsi:type="dcterms:W3CDTF">2019-09-10T16:00:00Z</dcterms:created>
  <dcterms:modified xsi:type="dcterms:W3CDTF">2022-09-13T06:38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